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2"/>
  </p:notesMasterIdLst>
  <p:sldIdLst>
    <p:sldId id="256" r:id="rId2"/>
    <p:sldId id="265" r:id="rId3"/>
    <p:sldId id="271" r:id="rId4"/>
    <p:sldId id="258" r:id="rId5"/>
    <p:sldId id="272" r:id="rId6"/>
    <p:sldId id="262" r:id="rId7"/>
    <p:sldId id="273" r:id="rId8"/>
    <p:sldId id="281" r:id="rId9"/>
    <p:sldId id="260" r:id="rId10"/>
    <p:sldId id="287" r:id="rId11"/>
    <p:sldId id="285" r:id="rId12"/>
    <p:sldId id="269" r:id="rId13"/>
    <p:sldId id="274" r:id="rId14"/>
    <p:sldId id="276" r:id="rId15"/>
    <p:sldId id="277" r:id="rId16"/>
    <p:sldId id="278" r:id="rId17"/>
    <p:sldId id="279" r:id="rId18"/>
    <p:sldId id="283" r:id="rId19"/>
    <p:sldId id="284" r:id="rId20"/>
    <p:sldId id="286" r:id="rId21"/>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9436B"/>
    <a:srgbClr val="497DD6"/>
    <a:srgbClr val="1B4A76"/>
    <a:srgbClr val="708FE5"/>
    <a:srgbClr val="5F79C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0941"/>
    <p:restoredTop sz="93228"/>
  </p:normalViewPr>
  <p:slideViewPr>
    <p:cSldViewPr snapToGrid="0" snapToObjects="1">
      <p:cViewPr varScale="1">
        <p:scale>
          <a:sx n="99" d="100"/>
          <a:sy n="99" d="100"/>
        </p:scale>
        <p:origin x="176" y="240"/>
      </p:cViewPr>
      <p:guideLst/>
    </p:cSldViewPr>
  </p:slideViewPr>
  <p:notesTextViewPr>
    <p:cViewPr>
      <p:scale>
        <a:sx n="20" d="100"/>
        <a:sy n="2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6DCB729-012A-134A-B95D-F081AC3D89EE}" type="datetimeFigureOut">
              <a:rPr lang="it-IT" smtClean="0"/>
              <a:t>25/11/20</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7E1B6A8-80A8-9A4E-B9A2-8A8D7A23C259}" type="slidenum">
              <a:rPr lang="it-IT" smtClean="0"/>
              <a:t>‹N›</a:t>
            </a:fld>
            <a:endParaRPr lang="it-IT"/>
          </a:p>
        </p:txBody>
      </p:sp>
    </p:spTree>
    <p:extLst>
      <p:ext uri="{BB962C8B-B14F-4D97-AF65-F5344CB8AC3E}">
        <p14:creationId xmlns:p14="http://schemas.microsoft.com/office/powerpoint/2010/main" val="31208810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E7E1B6A8-80A8-9A4E-B9A2-8A8D7A23C259}" type="slidenum">
              <a:rPr lang="it-IT" smtClean="0"/>
              <a:t>2</a:t>
            </a:fld>
            <a:endParaRPr lang="it-IT"/>
          </a:p>
        </p:txBody>
      </p:sp>
    </p:spTree>
    <p:extLst>
      <p:ext uri="{BB962C8B-B14F-4D97-AF65-F5344CB8AC3E}">
        <p14:creationId xmlns:p14="http://schemas.microsoft.com/office/powerpoint/2010/main" val="40926475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4433B2BE-5547-0042-84F2-DEE5C2AAE9FE}"/>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3211382A-59CF-DD44-9A8E-CDA1075F8C4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6929231F-E8DC-0D49-9307-4BCFC22192BC}"/>
              </a:ext>
            </a:extLst>
          </p:cNvPr>
          <p:cNvSpPr>
            <a:spLocks noGrp="1"/>
          </p:cNvSpPr>
          <p:nvPr>
            <p:ph type="dt" sz="half" idx="10"/>
          </p:nvPr>
        </p:nvSpPr>
        <p:spPr/>
        <p:txBody>
          <a:bodyPr/>
          <a:lstStyle/>
          <a:p>
            <a:fld id="{0755DCB3-5937-A041-A1BC-9CDA2AB4878B}" type="datetimeFigureOut">
              <a:rPr lang="it-IT" smtClean="0"/>
              <a:t>25/11/20</a:t>
            </a:fld>
            <a:endParaRPr lang="it-IT"/>
          </a:p>
        </p:txBody>
      </p:sp>
      <p:sp>
        <p:nvSpPr>
          <p:cNvPr id="5" name="Segnaposto piè di pagina 4">
            <a:extLst>
              <a:ext uri="{FF2B5EF4-FFF2-40B4-BE49-F238E27FC236}">
                <a16:creationId xmlns:a16="http://schemas.microsoft.com/office/drawing/2014/main" id="{D7AEA614-2387-3D4F-8CB4-80168C758EFC}"/>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8E0CE029-6357-5A41-8270-2B5A73AF3E2F}"/>
              </a:ext>
            </a:extLst>
          </p:cNvPr>
          <p:cNvSpPr>
            <a:spLocks noGrp="1"/>
          </p:cNvSpPr>
          <p:nvPr>
            <p:ph type="sldNum" sz="quarter" idx="12"/>
          </p:nvPr>
        </p:nvSpPr>
        <p:spPr/>
        <p:txBody>
          <a:bodyPr/>
          <a:lstStyle/>
          <a:p>
            <a:fld id="{0532696B-BF54-DD46-BD9C-1AE0C7760BEA}" type="slidenum">
              <a:rPr lang="it-IT" smtClean="0"/>
              <a:t>‹N›</a:t>
            </a:fld>
            <a:endParaRPr lang="it-IT"/>
          </a:p>
        </p:txBody>
      </p:sp>
    </p:spTree>
    <p:extLst>
      <p:ext uri="{BB962C8B-B14F-4D97-AF65-F5344CB8AC3E}">
        <p14:creationId xmlns:p14="http://schemas.microsoft.com/office/powerpoint/2010/main" val="9030852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EAAADE2-6E58-AF42-A3A8-AABD981ABFCA}"/>
              </a:ext>
            </a:extLst>
          </p:cNvPr>
          <p:cNvSpPr>
            <a:spLocks noGrp="1"/>
          </p:cNvSpPr>
          <p:nvPr>
            <p:ph type="title"/>
          </p:nvPr>
        </p:nvSpPr>
        <p:spPr/>
        <p:txBody>
          <a:bodyPr/>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92F50957-5C3D-8947-ABB4-6AD844DEAC2E}"/>
              </a:ext>
            </a:extLst>
          </p:cNvPr>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270806AC-3E5E-864F-9CDD-63E7E16C858A}"/>
              </a:ext>
            </a:extLst>
          </p:cNvPr>
          <p:cNvSpPr>
            <a:spLocks noGrp="1"/>
          </p:cNvSpPr>
          <p:nvPr>
            <p:ph type="dt" sz="half" idx="10"/>
          </p:nvPr>
        </p:nvSpPr>
        <p:spPr/>
        <p:txBody>
          <a:bodyPr/>
          <a:lstStyle/>
          <a:p>
            <a:fld id="{0755DCB3-5937-A041-A1BC-9CDA2AB4878B}" type="datetimeFigureOut">
              <a:rPr lang="it-IT" smtClean="0"/>
              <a:t>25/11/20</a:t>
            </a:fld>
            <a:endParaRPr lang="it-IT"/>
          </a:p>
        </p:txBody>
      </p:sp>
      <p:sp>
        <p:nvSpPr>
          <p:cNvPr id="5" name="Segnaposto piè di pagina 4">
            <a:extLst>
              <a:ext uri="{FF2B5EF4-FFF2-40B4-BE49-F238E27FC236}">
                <a16:creationId xmlns:a16="http://schemas.microsoft.com/office/drawing/2014/main" id="{9F98C245-8FBD-4A4B-9235-F99686F1D479}"/>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171684B2-9FC4-B44C-A9B7-7B1CD9BF60A4}"/>
              </a:ext>
            </a:extLst>
          </p:cNvPr>
          <p:cNvSpPr>
            <a:spLocks noGrp="1"/>
          </p:cNvSpPr>
          <p:nvPr>
            <p:ph type="sldNum" sz="quarter" idx="12"/>
          </p:nvPr>
        </p:nvSpPr>
        <p:spPr/>
        <p:txBody>
          <a:bodyPr/>
          <a:lstStyle/>
          <a:p>
            <a:fld id="{0532696B-BF54-DD46-BD9C-1AE0C7760BEA}" type="slidenum">
              <a:rPr lang="it-IT" smtClean="0"/>
              <a:t>‹N›</a:t>
            </a:fld>
            <a:endParaRPr lang="it-IT"/>
          </a:p>
        </p:txBody>
      </p:sp>
    </p:spTree>
    <p:extLst>
      <p:ext uri="{BB962C8B-B14F-4D97-AF65-F5344CB8AC3E}">
        <p14:creationId xmlns:p14="http://schemas.microsoft.com/office/powerpoint/2010/main" val="38727197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a:extLst>
              <a:ext uri="{FF2B5EF4-FFF2-40B4-BE49-F238E27FC236}">
                <a16:creationId xmlns:a16="http://schemas.microsoft.com/office/drawing/2014/main" id="{1877A9CC-ED36-8D4D-988D-0EC5CB6C62A4}"/>
              </a:ext>
            </a:extLst>
          </p:cNvPr>
          <p:cNvSpPr>
            <a:spLocks noGrp="1"/>
          </p:cNvSpPr>
          <p:nvPr>
            <p:ph type="title" orient="vert"/>
          </p:nvPr>
        </p:nvSpPr>
        <p:spPr>
          <a:xfrm>
            <a:off x="8724900" y="365125"/>
            <a:ext cx="2628900" cy="5811838"/>
          </a:xfrm>
        </p:spPr>
        <p:txBody>
          <a:bodyPr vert="eaVert"/>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6B95E714-AC1E-8348-A3A2-87185822A0EF}"/>
              </a:ext>
            </a:extLst>
          </p:cNvPr>
          <p:cNvSpPr>
            <a:spLocks noGrp="1"/>
          </p:cNvSpPr>
          <p:nvPr>
            <p:ph type="body" orient="vert" idx="1"/>
          </p:nvPr>
        </p:nvSpPr>
        <p:spPr>
          <a:xfrm>
            <a:off x="838200" y="365125"/>
            <a:ext cx="7734300" cy="5811838"/>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4DEB1585-F5F8-FF47-9D7F-C5832B019E7E}"/>
              </a:ext>
            </a:extLst>
          </p:cNvPr>
          <p:cNvSpPr>
            <a:spLocks noGrp="1"/>
          </p:cNvSpPr>
          <p:nvPr>
            <p:ph type="dt" sz="half" idx="10"/>
          </p:nvPr>
        </p:nvSpPr>
        <p:spPr/>
        <p:txBody>
          <a:bodyPr/>
          <a:lstStyle/>
          <a:p>
            <a:fld id="{0755DCB3-5937-A041-A1BC-9CDA2AB4878B}" type="datetimeFigureOut">
              <a:rPr lang="it-IT" smtClean="0"/>
              <a:t>25/11/20</a:t>
            </a:fld>
            <a:endParaRPr lang="it-IT"/>
          </a:p>
        </p:txBody>
      </p:sp>
      <p:sp>
        <p:nvSpPr>
          <p:cNvPr id="5" name="Segnaposto piè di pagina 4">
            <a:extLst>
              <a:ext uri="{FF2B5EF4-FFF2-40B4-BE49-F238E27FC236}">
                <a16:creationId xmlns:a16="http://schemas.microsoft.com/office/drawing/2014/main" id="{F46258EF-F4C6-9C43-B839-B5D043BE9E6E}"/>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98BF65EE-A791-5247-9B99-754ED7D42E4E}"/>
              </a:ext>
            </a:extLst>
          </p:cNvPr>
          <p:cNvSpPr>
            <a:spLocks noGrp="1"/>
          </p:cNvSpPr>
          <p:nvPr>
            <p:ph type="sldNum" sz="quarter" idx="12"/>
          </p:nvPr>
        </p:nvSpPr>
        <p:spPr/>
        <p:txBody>
          <a:bodyPr/>
          <a:lstStyle/>
          <a:p>
            <a:fld id="{0532696B-BF54-DD46-BD9C-1AE0C7760BEA}" type="slidenum">
              <a:rPr lang="it-IT" smtClean="0"/>
              <a:t>‹N›</a:t>
            </a:fld>
            <a:endParaRPr lang="it-IT"/>
          </a:p>
        </p:txBody>
      </p:sp>
    </p:spTree>
    <p:extLst>
      <p:ext uri="{BB962C8B-B14F-4D97-AF65-F5344CB8AC3E}">
        <p14:creationId xmlns:p14="http://schemas.microsoft.com/office/powerpoint/2010/main" val="20042789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5032C8FE-5EBE-4A41-BE00-A008034A50B7}"/>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1EF5DBEB-A02E-F447-85C7-25923DB7008B}"/>
              </a:ext>
            </a:extLst>
          </p:cNvPr>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BF599DB4-BDCE-1D4A-8C40-DD7567C3451C}"/>
              </a:ext>
            </a:extLst>
          </p:cNvPr>
          <p:cNvSpPr>
            <a:spLocks noGrp="1"/>
          </p:cNvSpPr>
          <p:nvPr>
            <p:ph type="dt" sz="half" idx="10"/>
          </p:nvPr>
        </p:nvSpPr>
        <p:spPr/>
        <p:txBody>
          <a:bodyPr/>
          <a:lstStyle/>
          <a:p>
            <a:fld id="{0755DCB3-5937-A041-A1BC-9CDA2AB4878B}" type="datetimeFigureOut">
              <a:rPr lang="it-IT" smtClean="0"/>
              <a:t>25/11/20</a:t>
            </a:fld>
            <a:endParaRPr lang="it-IT"/>
          </a:p>
        </p:txBody>
      </p:sp>
      <p:sp>
        <p:nvSpPr>
          <p:cNvPr id="5" name="Segnaposto piè di pagina 4">
            <a:extLst>
              <a:ext uri="{FF2B5EF4-FFF2-40B4-BE49-F238E27FC236}">
                <a16:creationId xmlns:a16="http://schemas.microsoft.com/office/drawing/2014/main" id="{E3E96953-1E99-024D-B3F2-2D076508C29D}"/>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AF503E7D-AD00-7445-8393-8E6FE1B055DB}"/>
              </a:ext>
            </a:extLst>
          </p:cNvPr>
          <p:cNvSpPr>
            <a:spLocks noGrp="1"/>
          </p:cNvSpPr>
          <p:nvPr>
            <p:ph type="sldNum" sz="quarter" idx="12"/>
          </p:nvPr>
        </p:nvSpPr>
        <p:spPr/>
        <p:txBody>
          <a:bodyPr/>
          <a:lstStyle/>
          <a:p>
            <a:fld id="{0532696B-BF54-DD46-BD9C-1AE0C7760BEA}" type="slidenum">
              <a:rPr lang="it-IT" smtClean="0"/>
              <a:t>‹N›</a:t>
            </a:fld>
            <a:endParaRPr lang="it-IT"/>
          </a:p>
        </p:txBody>
      </p:sp>
    </p:spTree>
    <p:extLst>
      <p:ext uri="{BB962C8B-B14F-4D97-AF65-F5344CB8AC3E}">
        <p14:creationId xmlns:p14="http://schemas.microsoft.com/office/powerpoint/2010/main" val="21674054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BEA312B-6060-8843-9C4B-253F13599008}"/>
              </a:ext>
            </a:extLst>
          </p:cNvPr>
          <p:cNvSpPr>
            <a:spLocks noGrp="1"/>
          </p:cNvSpPr>
          <p:nvPr>
            <p:ph type="title"/>
          </p:nvPr>
        </p:nvSpPr>
        <p:spPr>
          <a:xfrm>
            <a:off x="831850" y="1709738"/>
            <a:ext cx="10515600" cy="2852737"/>
          </a:xfrm>
        </p:spPr>
        <p:txBody>
          <a:bodyPr anchor="b"/>
          <a:lstStyle>
            <a:lvl1pPr>
              <a:defRPr sz="6000"/>
            </a:lvl1pPr>
          </a:lstStyle>
          <a:p>
            <a:r>
              <a:rPr lang="it-IT"/>
              <a:t>Fare clic per modificare lo stile del titolo dello schema</a:t>
            </a:r>
          </a:p>
        </p:txBody>
      </p:sp>
      <p:sp>
        <p:nvSpPr>
          <p:cNvPr id="3" name="Segnaposto testo 2">
            <a:extLst>
              <a:ext uri="{FF2B5EF4-FFF2-40B4-BE49-F238E27FC236}">
                <a16:creationId xmlns:a16="http://schemas.microsoft.com/office/drawing/2014/main" id="{4D7A0931-4648-8748-A43C-5D030779765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2231A7AD-011C-294F-B1FA-FE755AAEB037}"/>
              </a:ext>
            </a:extLst>
          </p:cNvPr>
          <p:cNvSpPr>
            <a:spLocks noGrp="1"/>
          </p:cNvSpPr>
          <p:nvPr>
            <p:ph type="dt" sz="half" idx="10"/>
          </p:nvPr>
        </p:nvSpPr>
        <p:spPr/>
        <p:txBody>
          <a:bodyPr/>
          <a:lstStyle/>
          <a:p>
            <a:fld id="{0755DCB3-5937-A041-A1BC-9CDA2AB4878B}" type="datetimeFigureOut">
              <a:rPr lang="it-IT" smtClean="0"/>
              <a:t>25/11/20</a:t>
            </a:fld>
            <a:endParaRPr lang="it-IT"/>
          </a:p>
        </p:txBody>
      </p:sp>
      <p:sp>
        <p:nvSpPr>
          <p:cNvPr id="5" name="Segnaposto piè di pagina 4">
            <a:extLst>
              <a:ext uri="{FF2B5EF4-FFF2-40B4-BE49-F238E27FC236}">
                <a16:creationId xmlns:a16="http://schemas.microsoft.com/office/drawing/2014/main" id="{4F8A8570-2876-0747-ACBD-081AA65495FC}"/>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55C7509A-50C4-0643-9BAA-8856E34FA42B}"/>
              </a:ext>
            </a:extLst>
          </p:cNvPr>
          <p:cNvSpPr>
            <a:spLocks noGrp="1"/>
          </p:cNvSpPr>
          <p:nvPr>
            <p:ph type="sldNum" sz="quarter" idx="12"/>
          </p:nvPr>
        </p:nvSpPr>
        <p:spPr/>
        <p:txBody>
          <a:bodyPr/>
          <a:lstStyle/>
          <a:p>
            <a:fld id="{0532696B-BF54-DD46-BD9C-1AE0C7760BEA}" type="slidenum">
              <a:rPr lang="it-IT" smtClean="0"/>
              <a:t>‹N›</a:t>
            </a:fld>
            <a:endParaRPr lang="it-IT"/>
          </a:p>
        </p:txBody>
      </p:sp>
    </p:spTree>
    <p:extLst>
      <p:ext uri="{BB962C8B-B14F-4D97-AF65-F5344CB8AC3E}">
        <p14:creationId xmlns:p14="http://schemas.microsoft.com/office/powerpoint/2010/main" val="38407674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506AAB36-0932-3043-9CDE-09C5CB5CF8B8}"/>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301DC524-9ED7-864F-B911-CAE68D6E9117}"/>
              </a:ext>
            </a:extLst>
          </p:cNvPr>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a:extLst>
              <a:ext uri="{FF2B5EF4-FFF2-40B4-BE49-F238E27FC236}">
                <a16:creationId xmlns:a16="http://schemas.microsoft.com/office/drawing/2014/main" id="{10617A36-9226-244E-9AA7-D981B842B170}"/>
              </a:ext>
            </a:extLst>
          </p:cNvPr>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a:extLst>
              <a:ext uri="{FF2B5EF4-FFF2-40B4-BE49-F238E27FC236}">
                <a16:creationId xmlns:a16="http://schemas.microsoft.com/office/drawing/2014/main" id="{DC3F3838-F334-EF4D-B58F-516CFCF2AC3B}"/>
              </a:ext>
            </a:extLst>
          </p:cNvPr>
          <p:cNvSpPr>
            <a:spLocks noGrp="1"/>
          </p:cNvSpPr>
          <p:nvPr>
            <p:ph type="dt" sz="half" idx="10"/>
          </p:nvPr>
        </p:nvSpPr>
        <p:spPr/>
        <p:txBody>
          <a:bodyPr/>
          <a:lstStyle/>
          <a:p>
            <a:fld id="{0755DCB3-5937-A041-A1BC-9CDA2AB4878B}" type="datetimeFigureOut">
              <a:rPr lang="it-IT" smtClean="0"/>
              <a:t>25/11/20</a:t>
            </a:fld>
            <a:endParaRPr lang="it-IT"/>
          </a:p>
        </p:txBody>
      </p:sp>
      <p:sp>
        <p:nvSpPr>
          <p:cNvPr id="6" name="Segnaposto piè di pagina 5">
            <a:extLst>
              <a:ext uri="{FF2B5EF4-FFF2-40B4-BE49-F238E27FC236}">
                <a16:creationId xmlns:a16="http://schemas.microsoft.com/office/drawing/2014/main" id="{A9F9B530-3E14-B443-907C-670122F09B34}"/>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E2A58FF3-2EE3-EA48-9AB3-6DEFA0C66909}"/>
              </a:ext>
            </a:extLst>
          </p:cNvPr>
          <p:cNvSpPr>
            <a:spLocks noGrp="1"/>
          </p:cNvSpPr>
          <p:nvPr>
            <p:ph type="sldNum" sz="quarter" idx="12"/>
          </p:nvPr>
        </p:nvSpPr>
        <p:spPr/>
        <p:txBody>
          <a:bodyPr/>
          <a:lstStyle/>
          <a:p>
            <a:fld id="{0532696B-BF54-DD46-BD9C-1AE0C7760BEA}" type="slidenum">
              <a:rPr lang="it-IT" smtClean="0"/>
              <a:t>‹N›</a:t>
            </a:fld>
            <a:endParaRPr lang="it-IT"/>
          </a:p>
        </p:txBody>
      </p:sp>
    </p:spTree>
    <p:extLst>
      <p:ext uri="{BB962C8B-B14F-4D97-AF65-F5344CB8AC3E}">
        <p14:creationId xmlns:p14="http://schemas.microsoft.com/office/powerpoint/2010/main" val="7264339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4E8692E5-1926-0B49-8A4F-100C6516D1FF}"/>
              </a:ext>
            </a:extLst>
          </p:cNvPr>
          <p:cNvSpPr>
            <a:spLocks noGrp="1"/>
          </p:cNvSpPr>
          <p:nvPr>
            <p:ph type="title"/>
          </p:nvPr>
        </p:nvSpPr>
        <p:spPr>
          <a:xfrm>
            <a:off x="839788" y="365125"/>
            <a:ext cx="10515600" cy="1325563"/>
          </a:xfrm>
        </p:spPr>
        <p:txBody>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F13A13B9-A05E-1444-943E-BFD4F3922E2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Segnaposto contenuto 3">
            <a:extLst>
              <a:ext uri="{FF2B5EF4-FFF2-40B4-BE49-F238E27FC236}">
                <a16:creationId xmlns:a16="http://schemas.microsoft.com/office/drawing/2014/main" id="{07090DEC-7F4D-604E-A821-427EEE7D1AFA}"/>
              </a:ext>
            </a:extLst>
          </p:cNvPr>
          <p:cNvSpPr>
            <a:spLocks noGrp="1"/>
          </p:cNvSpPr>
          <p:nvPr>
            <p:ph sz="half" idx="2"/>
          </p:nvPr>
        </p:nvSpPr>
        <p:spPr>
          <a:xfrm>
            <a:off x="839788"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a:extLst>
              <a:ext uri="{FF2B5EF4-FFF2-40B4-BE49-F238E27FC236}">
                <a16:creationId xmlns:a16="http://schemas.microsoft.com/office/drawing/2014/main" id="{DDB47BB1-FD9D-EC42-B7FC-77C464659F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Segnaposto contenuto 5">
            <a:extLst>
              <a:ext uri="{FF2B5EF4-FFF2-40B4-BE49-F238E27FC236}">
                <a16:creationId xmlns:a16="http://schemas.microsoft.com/office/drawing/2014/main" id="{2CEE385F-10A4-2F43-9DEB-EDF8C1A20E7A}"/>
              </a:ext>
            </a:extLst>
          </p:cNvPr>
          <p:cNvSpPr>
            <a:spLocks noGrp="1"/>
          </p:cNvSpPr>
          <p:nvPr>
            <p:ph sz="quarter" idx="4"/>
          </p:nvPr>
        </p:nvSpPr>
        <p:spPr>
          <a:xfrm>
            <a:off x="6172200"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a:extLst>
              <a:ext uri="{FF2B5EF4-FFF2-40B4-BE49-F238E27FC236}">
                <a16:creationId xmlns:a16="http://schemas.microsoft.com/office/drawing/2014/main" id="{BD784139-2377-814B-BAAD-3532D8110196}"/>
              </a:ext>
            </a:extLst>
          </p:cNvPr>
          <p:cNvSpPr>
            <a:spLocks noGrp="1"/>
          </p:cNvSpPr>
          <p:nvPr>
            <p:ph type="dt" sz="half" idx="10"/>
          </p:nvPr>
        </p:nvSpPr>
        <p:spPr/>
        <p:txBody>
          <a:bodyPr/>
          <a:lstStyle/>
          <a:p>
            <a:fld id="{0755DCB3-5937-A041-A1BC-9CDA2AB4878B}" type="datetimeFigureOut">
              <a:rPr lang="it-IT" smtClean="0"/>
              <a:t>25/11/20</a:t>
            </a:fld>
            <a:endParaRPr lang="it-IT"/>
          </a:p>
        </p:txBody>
      </p:sp>
      <p:sp>
        <p:nvSpPr>
          <p:cNvPr id="8" name="Segnaposto piè di pagina 7">
            <a:extLst>
              <a:ext uri="{FF2B5EF4-FFF2-40B4-BE49-F238E27FC236}">
                <a16:creationId xmlns:a16="http://schemas.microsoft.com/office/drawing/2014/main" id="{DE3280C3-FCC5-0941-A20D-C872BEF2269E}"/>
              </a:ext>
            </a:extLst>
          </p:cNvPr>
          <p:cNvSpPr>
            <a:spLocks noGrp="1"/>
          </p:cNvSpPr>
          <p:nvPr>
            <p:ph type="ftr" sz="quarter" idx="11"/>
          </p:nvPr>
        </p:nvSpPr>
        <p:spPr/>
        <p:txBody>
          <a:bodyPr/>
          <a:lstStyle/>
          <a:p>
            <a:endParaRPr lang="it-IT"/>
          </a:p>
        </p:txBody>
      </p:sp>
      <p:sp>
        <p:nvSpPr>
          <p:cNvPr id="9" name="Segnaposto numero diapositiva 8">
            <a:extLst>
              <a:ext uri="{FF2B5EF4-FFF2-40B4-BE49-F238E27FC236}">
                <a16:creationId xmlns:a16="http://schemas.microsoft.com/office/drawing/2014/main" id="{BC5B6660-0FE4-5149-A734-BCEC8BBA3771}"/>
              </a:ext>
            </a:extLst>
          </p:cNvPr>
          <p:cNvSpPr>
            <a:spLocks noGrp="1"/>
          </p:cNvSpPr>
          <p:nvPr>
            <p:ph type="sldNum" sz="quarter" idx="12"/>
          </p:nvPr>
        </p:nvSpPr>
        <p:spPr/>
        <p:txBody>
          <a:bodyPr/>
          <a:lstStyle/>
          <a:p>
            <a:fld id="{0532696B-BF54-DD46-BD9C-1AE0C7760BEA}" type="slidenum">
              <a:rPr lang="it-IT" smtClean="0"/>
              <a:t>‹N›</a:t>
            </a:fld>
            <a:endParaRPr lang="it-IT"/>
          </a:p>
        </p:txBody>
      </p:sp>
    </p:spTree>
    <p:extLst>
      <p:ext uri="{BB962C8B-B14F-4D97-AF65-F5344CB8AC3E}">
        <p14:creationId xmlns:p14="http://schemas.microsoft.com/office/powerpoint/2010/main" val="17235722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B05E5B09-1A54-B944-AEB6-BDEF1D32E768}"/>
              </a:ext>
            </a:extLst>
          </p:cNvPr>
          <p:cNvSpPr>
            <a:spLocks noGrp="1"/>
          </p:cNvSpPr>
          <p:nvPr>
            <p:ph type="title"/>
          </p:nvPr>
        </p:nvSpPr>
        <p:spPr/>
        <p:txBody>
          <a:bodyPr/>
          <a:lstStyle/>
          <a:p>
            <a:r>
              <a:rPr lang="it-IT"/>
              <a:t>Fare clic per modificare lo stile del titolo dello schema</a:t>
            </a:r>
          </a:p>
        </p:txBody>
      </p:sp>
      <p:sp>
        <p:nvSpPr>
          <p:cNvPr id="3" name="Segnaposto data 2">
            <a:extLst>
              <a:ext uri="{FF2B5EF4-FFF2-40B4-BE49-F238E27FC236}">
                <a16:creationId xmlns:a16="http://schemas.microsoft.com/office/drawing/2014/main" id="{F6B4CA13-CE5C-8843-88B2-2CF710ADA461}"/>
              </a:ext>
            </a:extLst>
          </p:cNvPr>
          <p:cNvSpPr>
            <a:spLocks noGrp="1"/>
          </p:cNvSpPr>
          <p:nvPr>
            <p:ph type="dt" sz="half" idx="10"/>
          </p:nvPr>
        </p:nvSpPr>
        <p:spPr/>
        <p:txBody>
          <a:bodyPr/>
          <a:lstStyle/>
          <a:p>
            <a:fld id="{0755DCB3-5937-A041-A1BC-9CDA2AB4878B}" type="datetimeFigureOut">
              <a:rPr lang="it-IT" smtClean="0"/>
              <a:t>25/11/20</a:t>
            </a:fld>
            <a:endParaRPr lang="it-IT"/>
          </a:p>
        </p:txBody>
      </p:sp>
      <p:sp>
        <p:nvSpPr>
          <p:cNvPr id="4" name="Segnaposto piè di pagina 3">
            <a:extLst>
              <a:ext uri="{FF2B5EF4-FFF2-40B4-BE49-F238E27FC236}">
                <a16:creationId xmlns:a16="http://schemas.microsoft.com/office/drawing/2014/main" id="{E3857902-B18C-DB44-AC63-B6EA8CDFFBD0}"/>
              </a:ext>
            </a:extLst>
          </p:cNvPr>
          <p:cNvSpPr>
            <a:spLocks noGrp="1"/>
          </p:cNvSpPr>
          <p:nvPr>
            <p:ph type="ftr" sz="quarter" idx="11"/>
          </p:nvPr>
        </p:nvSpPr>
        <p:spPr/>
        <p:txBody>
          <a:bodyPr/>
          <a:lstStyle/>
          <a:p>
            <a:endParaRPr lang="it-IT"/>
          </a:p>
        </p:txBody>
      </p:sp>
      <p:sp>
        <p:nvSpPr>
          <p:cNvPr id="5" name="Segnaposto numero diapositiva 4">
            <a:extLst>
              <a:ext uri="{FF2B5EF4-FFF2-40B4-BE49-F238E27FC236}">
                <a16:creationId xmlns:a16="http://schemas.microsoft.com/office/drawing/2014/main" id="{A09DA873-4656-EB44-88BC-E1DFB4D1767A}"/>
              </a:ext>
            </a:extLst>
          </p:cNvPr>
          <p:cNvSpPr>
            <a:spLocks noGrp="1"/>
          </p:cNvSpPr>
          <p:nvPr>
            <p:ph type="sldNum" sz="quarter" idx="12"/>
          </p:nvPr>
        </p:nvSpPr>
        <p:spPr/>
        <p:txBody>
          <a:bodyPr/>
          <a:lstStyle/>
          <a:p>
            <a:fld id="{0532696B-BF54-DD46-BD9C-1AE0C7760BEA}" type="slidenum">
              <a:rPr lang="it-IT" smtClean="0"/>
              <a:t>‹N›</a:t>
            </a:fld>
            <a:endParaRPr lang="it-IT"/>
          </a:p>
        </p:txBody>
      </p:sp>
    </p:spTree>
    <p:extLst>
      <p:ext uri="{BB962C8B-B14F-4D97-AF65-F5344CB8AC3E}">
        <p14:creationId xmlns:p14="http://schemas.microsoft.com/office/powerpoint/2010/main" val="26332334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A1F6BAC0-8F78-8041-86ED-40242D4F3B42}"/>
              </a:ext>
            </a:extLst>
          </p:cNvPr>
          <p:cNvSpPr>
            <a:spLocks noGrp="1"/>
          </p:cNvSpPr>
          <p:nvPr>
            <p:ph type="dt" sz="half" idx="10"/>
          </p:nvPr>
        </p:nvSpPr>
        <p:spPr/>
        <p:txBody>
          <a:bodyPr/>
          <a:lstStyle/>
          <a:p>
            <a:fld id="{0755DCB3-5937-A041-A1BC-9CDA2AB4878B}" type="datetimeFigureOut">
              <a:rPr lang="it-IT" smtClean="0"/>
              <a:t>25/11/20</a:t>
            </a:fld>
            <a:endParaRPr lang="it-IT"/>
          </a:p>
        </p:txBody>
      </p:sp>
      <p:sp>
        <p:nvSpPr>
          <p:cNvPr id="3" name="Segnaposto piè di pagina 2">
            <a:extLst>
              <a:ext uri="{FF2B5EF4-FFF2-40B4-BE49-F238E27FC236}">
                <a16:creationId xmlns:a16="http://schemas.microsoft.com/office/drawing/2014/main" id="{D7ECAF31-5BF5-0440-AD26-B9DABEFA040C}"/>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D56B6F25-2E37-FC47-96F9-E23471F50109}"/>
              </a:ext>
            </a:extLst>
          </p:cNvPr>
          <p:cNvSpPr>
            <a:spLocks noGrp="1"/>
          </p:cNvSpPr>
          <p:nvPr>
            <p:ph type="sldNum" sz="quarter" idx="12"/>
          </p:nvPr>
        </p:nvSpPr>
        <p:spPr/>
        <p:txBody>
          <a:bodyPr/>
          <a:lstStyle/>
          <a:p>
            <a:fld id="{0532696B-BF54-DD46-BD9C-1AE0C7760BEA}" type="slidenum">
              <a:rPr lang="it-IT" smtClean="0"/>
              <a:t>‹N›</a:t>
            </a:fld>
            <a:endParaRPr lang="it-IT"/>
          </a:p>
        </p:txBody>
      </p:sp>
    </p:spTree>
    <p:extLst>
      <p:ext uri="{BB962C8B-B14F-4D97-AF65-F5344CB8AC3E}">
        <p14:creationId xmlns:p14="http://schemas.microsoft.com/office/powerpoint/2010/main" val="6806952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248A1BD-C582-6D4B-A4E6-4A03F71753BB}"/>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A021961D-DE85-A845-9D77-CA7EC57D03A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a:extLst>
              <a:ext uri="{FF2B5EF4-FFF2-40B4-BE49-F238E27FC236}">
                <a16:creationId xmlns:a16="http://schemas.microsoft.com/office/drawing/2014/main" id="{28E0AEBE-6BAE-6044-AA61-9DE4AC334D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FF987023-4155-884D-AEEC-E669F0EDE2EF}"/>
              </a:ext>
            </a:extLst>
          </p:cNvPr>
          <p:cNvSpPr>
            <a:spLocks noGrp="1"/>
          </p:cNvSpPr>
          <p:nvPr>
            <p:ph type="dt" sz="half" idx="10"/>
          </p:nvPr>
        </p:nvSpPr>
        <p:spPr/>
        <p:txBody>
          <a:bodyPr/>
          <a:lstStyle/>
          <a:p>
            <a:fld id="{0755DCB3-5937-A041-A1BC-9CDA2AB4878B}" type="datetimeFigureOut">
              <a:rPr lang="it-IT" smtClean="0"/>
              <a:t>25/11/20</a:t>
            </a:fld>
            <a:endParaRPr lang="it-IT"/>
          </a:p>
        </p:txBody>
      </p:sp>
      <p:sp>
        <p:nvSpPr>
          <p:cNvPr id="6" name="Segnaposto piè di pagina 5">
            <a:extLst>
              <a:ext uri="{FF2B5EF4-FFF2-40B4-BE49-F238E27FC236}">
                <a16:creationId xmlns:a16="http://schemas.microsoft.com/office/drawing/2014/main" id="{43B11BCA-88AA-864B-B9AD-6AEEE50F1B80}"/>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53259191-E6C5-6442-A9AC-4A9428AF531C}"/>
              </a:ext>
            </a:extLst>
          </p:cNvPr>
          <p:cNvSpPr>
            <a:spLocks noGrp="1"/>
          </p:cNvSpPr>
          <p:nvPr>
            <p:ph type="sldNum" sz="quarter" idx="12"/>
          </p:nvPr>
        </p:nvSpPr>
        <p:spPr/>
        <p:txBody>
          <a:bodyPr/>
          <a:lstStyle/>
          <a:p>
            <a:fld id="{0532696B-BF54-DD46-BD9C-1AE0C7760BEA}" type="slidenum">
              <a:rPr lang="it-IT" smtClean="0"/>
              <a:t>‹N›</a:t>
            </a:fld>
            <a:endParaRPr lang="it-IT"/>
          </a:p>
        </p:txBody>
      </p:sp>
    </p:spTree>
    <p:extLst>
      <p:ext uri="{BB962C8B-B14F-4D97-AF65-F5344CB8AC3E}">
        <p14:creationId xmlns:p14="http://schemas.microsoft.com/office/powerpoint/2010/main" val="12506042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E996FE0-D738-AA42-9818-9A386AE02DF6}"/>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immagine 2">
            <a:extLst>
              <a:ext uri="{FF2B5EF4-FFF2-40B4-BE49-F238E27FC236}">
                <a16:creationId xmlns:a16="http://schemas.microsoft.com/office/drawing/2014/main" id="{37BF8CE7-9653-C448-AE02-84937947AAF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a:extLst>
              <a:ext uri="{FF2B5EF4-FFF2-40B4-BE49-F238E27FC236}">
                <a16:creationId xmlns:a16="http://schemas.microsoft.com/office/drawing/2014/main" id="{D9E5E335-C36E-5D43-B44B-8B850A461EE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C8F0E310-7101-FC48-84AD-B90DD6D3928E}"/>
              </a:ext>
            </a:extLst>
          </p:cNvPr>
          <p:cNvSpPr>
            <a:spLocks noGrp="1"/>
          </p:cNvSpPr>
          <p:nvPr>
            <p:ph type="dt" sz="half" idx="10"/>
          </p:nvPr>
        </p:nvSpPr>
        <p:spPr/>
        <p:txBody>
          <a:bodyPr/>
          <a:lstStyle/>
          <a:p>
            <a:fld id="{0755DCB3-5937-A041-A1BC-9CDA2AB4878B}" type="datetimeFigureOut">
              <a:rPr lang="it-IT" smtClean="0"/>
              <a:t>25/11/20</a:t>
            </a:fld>
            <a:endParaRPr lang="it-IT"/>
          </a:p>
        </p:txBody>
      </p:sp>
      <p:sp>
        <p:nvSpPr>
          <p:cNvPr id="6" name="Segnaposto piè di pagina 5">
            <a:extLst>
              <a:ext uri="{FF2B5EF4-FFF2-40B4-BE49-F238E27FC236}">
                <a16:creationId xmlns:a16="http://schemas.microsoft.com/office/drawing/2014/main" id="{5A4E29F9-58C7-B543-9C3F-65A4593A9B06}"/>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16EA3287-8D76-9C45-8140-0E86DA8A23F4}"/>
              </a:ext>
            </a:extLst>
          </p:cNvPr>
          <p:cNvSpPr>
            <a:spLocks noGrp="1"/>
          </p:cNvSpPr>
          <p:nvPr>
            <p:ph type="sldNum" sz="quarter" idx="12"/>
          </p:nvPr>
        </p:nvSpPr>
        <p:spPr/>
        <p:txBody>
          <a:bodyPr/>
          <a:lstStyle/>
          <a:p>
            <a:fld id="{0532696B-BF54-DD46-BD9C-1AE0C7760BEA}" type="slidenum">
              <a:rPr lang="it-IT" smtClean="0"/>
              <a:t>‹N›</a:t>
            </a:fld>
            <a:endParaRPr lang="it-IT"/>
          </a:p>
        </p:txBody>
      </p:sp>
    </p:spTree>
    <p:extLst>
      <p:ext uri="{BB962C8B-B14F-4D97-AF65-F5344CB8AC3E}">
        <p14:creationId xmlns:p14="http://schemas.microsoft.com/office/powerpoint/2010/main" val="31064675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5FDA62F2-F889-4E49-9E93-492EA688152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0A05B5E7-C5E7-B449-ACCB-A0BEFDD62B3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890A60D9-276C-6E4E-B3A6-E38AF5B046C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755DCB3-5937-A041-A1BC-9CDA2AB4878B}" type="datetimeFigureOut">
              <a:rPr lang="it-IT" smtClean="0"/>
              <a:t>25/11/20</a:t>
            </a:fld>
            <a:endParaRPr lang="it-IT"/>
          </a:p>
        </p:txBody>
      </p:sp>
      <p:sp>
        <p:nvSpPr>
          <p:cNvPr id="5" name="Segnaposto piè di pagina 4">
            <a:extLst>
              <a:ext uri="{FF2B5EF4-FFF2-40B4-BE49-F238E27FC236}">
                <a16:creationId xmlns:a16="http://schemas.microsoft.com/office/drawing/2014/main" id="{48C8813C-5AE5-994B-BFCA-1796A164E85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a:extLst>
              <a:ext uri="{FF2B5EF4-FFF2-40B4-BE49-F238E27FC236}">
                <a16:creationId xmlns:a16="http://schemas.microsoft.com/office/drawing/2014/main" id="{84470AFE-637F-B24C-B583-70B0ECD0194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532696B-BF54-DD46-BD9C-1AE0C7760BEA}" type="slidenum">
              <a:rPr lang="it-IT" smtClean="0"/>
              <a:t>‹N›</a:t>
            </a:fld>
            <a:endParaRPr lang="it-IT"/>
          </a:p>
        </p:txBody>
      </p:sp>
    </p:spTree>
    <p:extLst>
      <p:ext uri="{BB962C8B-B14F-4D97-AF65-F5344CB8AC3E}">
        <p14:creationId xmlns:p14="http://schemas.microsoft.com/office/powerpoint/2010/main" val="159663018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5.jpg"/><Relationship Id="rId3" Type="http://schemas.openxmlformats.org/officeDocument/2006/relationships/image" Target="../media/image10.jpg"/><Relationship Id="rId7" Type="http://schemas.openxmlformats.org/officeDocument/2006/relationships/image" Target="../media/image14.svg"/><Relationship Id="rId2" Type="http://schemas.openxmlformats.org/officeDocument/2006/relationships/image" Target="../media/image9.jpg"/><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49" name="Rectangle 48">
            <a:extLst>
              <a:ext uri="{FF2B5EF4-FFF2-40B4-BE49-F238E27FC236}">
                <a16:creationId xmlns:a16="http://schemas.microsoft.com/office/drawing/2014/main" id="{6234BCC6-39B9-47D9-8BF8-C665401AE23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Immagine 9" descr="Immagine che contiene volando, carta, aquilone, tavolo&#10;&#10;Descrizione generata automaticamente">
            <a:extLst>
              <a:ext uri="{FF2B5EF4-FFF2-40B4-BE49-F238E27FC236}">
                <a16:creationId xmlns:a16="http://schemas.microsoft.com/office/drawing/2014/main" id="{C4AE483F-0BEF-7044-B3D1-FE6C93200152}"/>
              </a:ext>
            </a:extLst>
          </p:cNvPr>
          <p:cNvPicPr>
            <a:picLocks noChangeAspect="1"/>
          </p:cNvPicPr>
          <p:nvPr/>
        </p:nvPicPr>
        <p:blipFill rotWithShape="1">
          <a:blip r:embed="rId2"/>
          <a:srcRect t="17653" r="-2" b="498"/>
          <a:stretch/>
        </p:blipFill>
        <p:spPr>
          <a:xfrm>
            <a:off x="4879920" y="10"/>
            <a:ext cx="7308975" cy="4461109"/>
          </a:xfrm>
          <a:custGeom>
            <a:avLst/>
            <a:gdLst/>
            <a:ahLst/>
            <a:cxnLst/>
            <a:rect l="l" t="t" r="r" b="b"/>
            <a:pathLst>
              <a:path w="7308975" h="3364992">
                <a:moveTo>
                  <a:pt x="0" y="0"/>
                </a:moveTo>
                <a:lnTo>
                  <a:pt x="7308975" y="0"/>
                </a:lnTo>
                <a:lnTo>
                  <a:pt x="7308975" y="3364992"/>
                </a:lnTo>
                <a:lnTo>
                  <a:pt x="1210305" y="3364992"/>
                </a:lnTo>
                <a:lnTo>
                  <a:pt x="1192705" y="2943200"/>
                </a:lnTo>
                <a:cubicBezTo>
                  <a:pt x="1098874" y="1825108"/>
                  <a:pt x="684692" y="821621"/>
                  <a:pt x="62981" y="69271"/>
                </a:cubicBezTo>
                <a:close/>
              </a:path>
            </a:pathLst>
          </a:custGeom>
        </p:spPr>
      </p:pic>
      <p:sp useBgFill="1">
        <p:nvSpPr>
          <p:cNvPr id="51" name="Freeform: Shape 50">
            <a:extLst>
              <a:ext uri="{FF2B5EF4-FFF2-40B4-BE49-F238E27FC236}">
                <a16:creationId xmlns:a16="http://schemas.microsoft.com/office/drawing/2014/main" id="{72A9CE9D-DAC3-40AF-B504-78A64A909F9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6096001" cy="6858000"/>
          </a:xfrm>
          <a:custGeom>
            <a:avLst/>
            <a:gdLst>
              <a:gd name="connsiteX0" fmla="*/ 0 w 6096001"/>
              <a:gd name="connsiteY0" fmla="*/ 0 h 6858000"/>
              <a:gd name="connsiteX1" fmla="*/ 4883024 w 6096001"/>
              <a:gd name="connsiteY1" fmla="*/ 0 h 6858000"/>
              <a:gd name="connsiteX2" fmla="*/ 4946006 w 6096001"/>
              <a:gd name="connsiteY2" fmla="*/ 69271 h 6858000"/>
              <a:gd name="connsiteX3" fmla="*/ 6096001 w 6096001"/>
              <a:gd name="connsiteY3" fmla="*/ 3429000 h 6858000"/>
              <a:gd name="connsiteX4" fmla="*/ 4946006 w 6096001"/>
              <a:gd name="connsiteY4" fmla="*/ 6788730 h 6858000"/>
              <a:gd name="connsiteX5" fmla="*/ 4883024 w 6096001"/>
              <a:gd name="connsiteY5" fmla="*/ 6858000 h 6858000"/>
              <a:gd name="connsiteX6" fmla="*/ 0 w 609600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1" h="6858000">
                <a:moveTo>
                  <a:pt x="0" y="0"/>
                </a:moveTo>
                <a:lnTo>
                  <a:pt x="4883024" y="0"/>
                </a:lnTo>
                <a:lnTo>
                  <a:pt x="4946006" y="69271"/>
                </a:lnTo>
                <a:cubicBezTo>
                  <a:pt x="5656532" y="929100"/>
                  <a:pt x="6096001" y="2116944"/>
                  <a:pt x="6096001" y="3429000"/>
                </a:cubicBezTo>
                <a:cubicBezTo>
                  <a:pt x="6096001" y="4741056"/>
                  <a:pt x="5656532" y="5928900"/>
                  <a:pt x="4946006" y="6788730"/>
                </a:cubicBezTo>
                <a:lnTo>
                  <a:pt x="4883024" y="6858000"/>
                </a:lnTo>
                <a:lnTo>
                  <a:pt x="0" y="6858000"/>
                </a:lnTo>
                <a:close/>
              </a:path>
            </a:pathLst>
          </a:custGeom>
          <a:ln w="9525">
            <a:solidFill>
              <a:srgbClr val="EFEFEF"/>
            </a:solidFill>
          </a:ln>
          <a:effectLst>
            <a:outerShdw blurRad="50800" dist="38100" algn="l" rotWithShape="0">
              <a:schemeClr val="bg1">
                <a:lumMod val="8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53" name="Freeform: Shape 52">
            <a:extLst>
              <a:ext uri="{FF2B5EF4-FFF2-40B4-BE49-F238E27FC236}">
                <a16:creationId xmlns:a16="http://schemas.microsoft.com/office/drawing/2014/main" id="{506D7452-6CDE-4381-86CE-07B2459383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6087332" cy="6858000"/>
          </a:xfrm>
          <a:custGeom>
            <a:avLst/>
            <a:gdLst>
              <a:gd name="connsiteX0" fmla="*/ 0 w 6087332"/>
              <a:gd name="connsiteY0" fmla="*/ 0 h 6858000"/>
              <a:gd name="connsiteX1" fmla="*/ 4874355 w 6087332"/>
              <a:gd name="connsiteY1" fmla="*/ 0 h 6858000"/>
              <a:gd name="connsiteX2" fmla="*/ 4937337 w 6087332"/>
              <a:gd name="connsiteY2" fmla="*/ 69271 h 6858000"/>
              <a:gd name="connsiteX3" fmla="*/ 6087332 w 6087332"/>
              <a:gd name="connsiteY3" fmla="*/ 3429000 h 6858000"/>
              <a:gd name="connsiteX4" fmla="*/ 4937337 w 6087332"/>
              <a:gd name="connsiteY4" fmla="*/ 6788730 h 6858000"/>
              <a:gd name="connsiteX5" fmla="*/ 4874355 w 6087332"/>
              <a:gd name="connsiteY5" fmla="*/ 6858000 h 6858000"/>
              <a:gd name="connsiteX6" fmla="*/ 0 w 6087332"/>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87332" h="6858000">
                <a:moveTo>
                  <a:pt x="0" y="0"/>
                </a:moveTo>
                <a:lnTo>
                  <a:pt x="4874355" y="0"/>
                </a:lnTo>
                <a:lnTo>
                  <a:pt x="4937337" y="69271"/>
                </a:lnTo>
                <a:cubicBezTo>
                  <a:pt x="5647863" y="929100"/>
                  <a:pt x="6087332" y="2116944"/>
                  <a:pt x="6087332" y="3429000"/>
                </a:cubicBezTo>
                <a:cubicBezTo>
                  <a:pt x="6087332" y="4741056"/>
                  <a:pt x="5647863" y="5928900"/>
                  <a:pt x="4937337" y="6788730"/>
                </a:cubicBezTo>
                <a:lnTo>
                  <a:pt x="4874355"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olo 1">
            <a:extLst>
              <a:ext uri="{FF2B5EF4-FFF2-40B4-BE49-F238E27FC236}">
                <a16:creationId xmlns:a16="http://schemas.microsoft.com/office/drawing/2014/main" id="{EA593033-8D35-A948-88E3-9BBE36F9EAAC}"/>
              </a:ext>
            </a:extLst>
          </p:cNvPr>
          <p:cNvSpPr>
            <a:spLocks noGrp="1"/>
          </p:cNvSpPr>
          <p:nvPr>
            <p:ph type="ctrTitle"/>
          </p:nvPr>
        </p:nvSpPr>
        <p:spPr>
          <a:xfrm>
            <a:off x="438912" y="1524659"/>
            <a:ext cx="5019074" cy="2774088"/>
          </a:xfrm>
        </p:spPr>
        <p:txBody>
          <a:bodyPr>
            <a:normAutofit/>
          </a:bodyPr>
          <a:lstStyle/>
          <a:p>
            <a:pPr algn="l"/>
            <a:r>
              <a:rPr lang="it-IT" sz="4600" b="1" dirty="0">
                <a:solidFill>
                  <a:srgbClr val="1B4A76"/>
                </a:solidFill>
                <a:latin typeface="Times New Roman" panose="02020603050405020304" pitchFamily="18" charset="0"/>
                <a:ea typeface="Helvetica Neue" panose="02000503000000020004" pitchFamily="2" charset="0"/>
                <a:cs typeface="Times New Roman" panose="02020603050405020304" pitchFamily="18" charset="0"/>
              </a:rPr>
              <a:t>P</a:t>
            </a:r>
            <a:r>
              <a:rPr lang="it-IT" sz="4600" dirty="0">
                <a:latin typeface="Times New Roman" panose="02020603050405020304" pitchFamily="18" charset="0"/>
                <a:ea typeface="Helvetica Neue" panose="02000503000000020004" pitchFamily="2" charset="0"/>
                <a:cs typeface="Times New Roman" panose="02020603050405020304" pitchFamily="18" charset="0"/>
              </a:rPr>
              <a:t>RINCIPLES OF</a:t>
            </a:r>
            <a:br>
              <a:rPr lang="it-IT" sz="4600" dirty="0">
                <a:latin typeface="Times New Roman" panose="02020603050405020304" pitchFamily="18" charset="0"/>
                <a:ea typeface="Helvetica Neue" panose="02000503000000020004" pitchFamily="2" charset="0"/>
                <a:cs typeface="Times New Roman" panose="02020603050405020304" pitchFamily="18" charset="0"/>
              </a:rPr>
            </a:br>
            <a:r>
              <a:rPr lang="it-IT" sz="4600" b="1" dirty="0">
                <a:solidFill>
                  <a:srgbClr val="1B4A76"/>
                </a:solidFill>
                <a:latin typeface="Times New Roman" panose="02020603050405020304" pitchFamily="18" charset="0"/>
                <a:ea typeface="Helvetica Neue" panose="02000503000000020004" pitchFamily="2" charset="0"/>
                <a:cs typeface="Times New Roman" panose="02020603050405020304" pitchFamily="18" charset="0"/>
              </a:rPr>
              <a:t>E</a:t>
            </a:r>
            <a:r>
              <a:rPr lang="it-IT" sz="4600" dirty="0">
                <a:latin typeface="Times New Roman" panose="02020603050405020304" pitchFamily="18" charset="0"/>
                <a:ea typeface="Helvetica Neue" panose="02000503000000020004" pitchFamily="2" charset="0"/>
                <a:cs typeface="Times New Roman" panose="02020603050405020304" pitchFamily="18" charset="0"/>
              </a:rPr>
              <a:t>UROPEAN</a:t>
            </a:r>
            <a:br>
              <a:rPr lang="it-IT" sz="4600" dirty="0">
                <a:latin typeface="Times New Roman" panose="02020603050405020304" pitchFamily="18" charset="0"/>
                <a:ea typeface="Helvetica Neue" panose="02000503000000020004" pitchFamily="2" charset="0"/>
                <a:cs typeface="Times New Roman" panose="02020603050405020304" pitchFamily="18" charset="0"/>
              </a:rPr>
            </a:br>
            <a:r>
              <a:rPr lang="it-IT" sz="4600" b="1" dirty="0">
                <a:solidFill>
                  <a:srgbClr val="1B4A76"/>
                </a:solidFill>
                <a:latin typeface="Times New Roman" panose="02020603050405020304" pitchFamily="18" charset="0"/>
                <a:ea typeface="Helvetica Neue" panose="02000503000000020004" pitchFamily="2" charset="0"/>
                <a:cs typeface="Times New Roman" panose="02020603050405020304" pitchFamily="18" charset="0"/>
              </a:rPr>
              <a:t>C</a:t>
            </a:r>
            <a:r>
              <a:rPr lang="it-IT" sz="4600" dirty="0">
                <a:latin typeface="Times New Roman" panose="02020603050405020304" pitchFamily="18" charset="0"/>
                <a:ea typeface="Helvetica Neue" panose="02000503000000020004" pitchFamily="2" charset="0"/>
                <a:cs typeface="Times New Roman" panose="02020603050405020304" pitchFamily="18" charset="0"/>
              </a:rPr>
              <a:t>ONTRACT</a:t>
            </a:r>
            <a:br>
              <a:rPr lang="it-IT" sz="4600" dirty="0">
                <a:latin typeface="Times New Roman" panose="02020603050405020304" pitchFamily="18" charset="0"/>
                <a:ea typeface="Helvetica Neue" panose="02000503000000020004" pitchFamily="2" charset="0"/>
                <a:cs typeface="Times New Roman" panose="02020603050405020304" pitchFamily="18" charset="0"/>
              </a:rPr>
            </a:br>
            <a:r>
              <a:rPr lang="it-IT" sz="4600" b="1" dirty="0">
                <a:solidFill>
                  <a:srgbClr val="1B4A76"/>
                </a:solidFill>
                <a:latin typeface="Times New Roman" panose="02020603050405020304" pitchFamily="18" charset="0"/>
                <a:ea typeface="Helvetica Neue" panose="02000503000000020004" pitchFamily="2" charset="0"/>
                <a:cs typeface="Times New Roman" panose="02020603050405020304" pitchFamily="18" charset="0"/>
              </a:rPr>
              <a:t>L</a:t>
            </a:r>
            <a:r>
              <a:rPr lang="it-IT" sz="4600" dirty="0">
                <a:latin typeface="Times New Roman" panose="02020603050405020304" pitchFamily="18" charset="0"/>
                <a:ea typeface="Helvetica Neue" panose="02000503000000020004" pitchFamily="2" charset="0"/>
                <a:cs typeface="Times New Roman" panose="02020603050405020304" pitchFamily="18" charset="0"/>
              </a:rPr>
              <a:t>AW</a:t>
            </a:r>
          </a:p>
        </p:txBody>
      </p:sp>
      <p:sp>
        <p:nvSpPr>
          <p:cNvPr id="3" name="Sottotitolo 2">
            <a:extLst>
              <a:ext uri="{FF2B5EF4-FFF2-40B4-BE49-F238E27FC236}">
                <a16:creationId xmlns:a16="http://schemas.microsoft.com/office/drawing/2014/main" id="{05D84097-1B29-9043-8373-DB9F17AF75DB}"/>
              </a:ext>
            </a:extLst>
          </p:cNvPr>
          <p:cNvSpPr>
            <a:spLocks noGrp="1"/>
          </p:cNvSpPr>
          <p:nvPr>
            <p:ph type="subTitle" idx="1"/>
          </p:nvPr>
        </p:nvSpPr>
        <p:spPr>
          <a:xfrm>
            <a:off x="438912" y="4802540"/>
            <a:ext cx="4917948" cy="1335024"/>
          </a:xfrm>
        </p:spPr>
        <p:txBody>
          <a:bodyPr>
            <a:normAutofit/>
          </a:bodyPr>
          <a:lstStyle/>
          <a:p>
            <a:pPr algn="l">
              <a:lnSpc>
                <a:spcPct val="100000"/>
              </a:lnSpc>
              <a:spcBef>
                <a:spcPts val="0"/>
              </a:spcBef>
            </a:pPr>
            <a:r>
              <a:rPr lang="it-IT" dirty="0">
                <a:solidFill>
                  <a:schemeClr val="tx1">
                    <a:lumMod val="50000"/>
                    <a:lumOff val="50000"/>
                  </a:schemeClr>
                </a:solidFill>
                <a:latin typeface="Times New Roman" panose="02020603050405020304" pitchFamily="18" charset="0"/>
                <a:ea typeface="Helvetica Neue" panose="02000503000000020004" pitchFamily="2" charset="0"/>
                <a:cs typeface="Times New Roman" panose="02020603050405020304" pitchFamily="18" charset="0"/>
              </a:rPr>
              <a:t>Romanin Marta</a:t>
            </a:r>
          </a:p>
          <a:p>
            <a:pPr algn="l">
              <a:lnSpc>
                <a:spcPct val="100000"/>
              </a:lnSpc>
              <a:spcBef>
                <a:spcPts val="0"/>
              </a:spcBef>
            </a:pPr>
            <a:r>
              <a:rPr lang="it-IT" dirty="0">
                <a:solidFill>
                  <a:schemeClr val="tx1">
                    <a:lumMod val="50000"/>
                    <a:lumOff val="50000"/>
                  </a:schemeClr>
                </a:solidFill>
                <a:latin typeface="Times New Roman" panose="02020603050405020304" pitchFamily="18" charset="0"/>
                <a:ea typeface="Helvetica Neue" panose="02000503000000020004" pitchFamily="2" charset="0"/>
                <a:cs typeface="Times New Roman" panose="02020603050405020304" pitchFamily="18" charset="0"/>
              </a:rPr>
              <a:t>Sommer Veronica</a:t>
            </a:r>
          </a:p>
          <a:p>
            <a:pPr algn="l">
              <a:lnSpc>
                <a:spcPct val="100000"/>
              </a:lnSpc>
              <a:spcBef>
                <a:spcPts val="0"/>
              </a:spcBef>
            </a:pPr>
            <a:r>
              <a:rPr lang="it-IT" dirty="0">
                <a:solidFill>
                  <a:schemeClr val="tx1">
                    <a:lumMod val="50000"/>
                    <a:lumOff val="50000"/>
                  </a:schemeClr>
                </a:solidFill>
                <a:latin typeface="Times New Roman" panose="02020603050405020304" pitchFamily="18" charset="0"/>
                <a:ea typeface="Helvetica Neue" panose="02000503000000020004" pitchFamily="2" charset="0"/>
                <a:cs typeface="Times New Roman" panose="02020603050405020304" pitchFamily="18" charset="0"/>
              </a:rPr>
              <a:t>Stulle Giacomo</a:t>
            </a:r>
          </a:p>
        </p:txBody>
      </p:sp>
      <p:sp>
        <p:nvSpPr>
          <p:cNvPr id="55" name="Rectangle 54">
            <a:extLst>
              <a:ext uri="{FF2B5EF4-FFF2-40B4-BE49-F238E27FC236}">
                <a16:creationId xmlns:a16="http://schemas.microsoft.com/office/drawing/2014/main" id="{762DA937-8B55-4317-BD32-98D7AF30E3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67989"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venir Next LT Pro"/>
            </a:endParaRPr>
          </a:p>
        </p:txBody>
      </p:sp>
      <p:sp>
        <p:nvSpPr>
          <p:cNvPr id="57" name="Rectangle 56">
            <a:extLst>
              <a:ext uri="{FF2B5EF4-FFF2-40B4-BE49-F238E27FC236}">
                <a16:creationId xmlns:a16="http://schemas.microsoft.com/office/drawing/2014/main" id="{C52EE5A8-045B-4D39-8ED1-513334085E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9098" y="4461119"/>
            <a:ext cx="5019074"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CasellaDiTesto 11">
            <a:extLst>
              <a:ext uri="{FF2B5EF4-FFF2-40B4-BE49-F238E27FC236}">
                <a16:creationId xmlns:a16="http://schemas.microsoft.com/office/drawing/2014/main" id="{841F2982-61DC-8740-AD0F-ED3CF3A3CE75}"/>
              </a:ext>
            </a:extLst>
          </p:cNvPr>
          <p:cNvSpPr txBox="1"/>
          <p:nvPr/>
        </p:nvSpPr>
        <p:spPr>
          <a:xfrm>
            <a:off x="1274618" y="720436"/>
            <a:ext cx="184731" cy="369332"/>
          </a:xfrm>
          <a:prstGeom prst="rect">
            <a:avLst/>
          </a:prstGeom>
          <a:noFill/>
        </p:spPr>
        <p:txBody>
          <a:bodyPr wrap="none" rtlCol="0">
            <a:spAutoFit/>
          </a:bodyPr>
          <a:lstStyle/>
          <a:p>
            <a:endParaRPr lang="it-IT" dirty="0"/>
          </a:p>
        </p:txBody>
      </p:sp>
      <p:pic>
        <p:nvPicPr>
          <p:cNvPr id="16" name="Immagine 15" descr="Immagine che contiene testo&#10;&#10;Descrizione generata automaticamente">
            <a:extLst>
              <a:ext uri="{FF2B5EF4-FFF2-40B4-BE49-F238E27FC236}">
                <a16:creationId xmlns:a16="http://schemas.microsoft.com/office/drawing/2014/main" id="{C5FC64A5-BA83-0A4A-B8AC-0205651A52BE}"/>
              </a:ext>
            </a:extLst>
          </p:cNvPr>
          <p:cNvPicPr>
            <a:picLocks noChangeAspect="1"/>
          </p:cNvPicPr>
          <p:nvPr/>
        </p:nvPicPr>
        <p:blipFill>
          <a:blip r:embed="rId3"/>
          <a:stretch>
            <a:fillRect/>
          </a:stretch>
        </p:blipFill>
        <p:spPr>
          <a:xfrm>
            <a:off x="5871918" y="4699557"/>
            <a:ext cx="5881169" cy="1335025"/>
          </a:xfrm>
          <a:prstGeom prst="rect">
            <a:avLst/>
          </a:prstGeom>
        </p:spPr>
      </p:pic>
    </p:spTree>
    <p:extLst>
      <p:ext uri="{BB962C8B-B14F-4D97-AF65-F5344CB8AC3E}">
        <p14:creationId xmlns:p14="http://schemas.microsoft.com/office/powerpoint/2010/main" val="22470872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asellaDiTesto 9">
            <a:extLst>
              <a:ext uri="{FF2B5EF4-FFF2-40B4-BE49-F238E27FC236}">
                <a16:creationId xmlns:a16="http://schemas.microsoft.com/office/drawing/2014/main" id="{FBA0B9A9-5027-3740-B00E-38382C38EC51}"/>
              </a:ext>
            </a:extLst>
          </p:cNvPr>
          <p:cNvSpPr txBox="1"/>
          <p:nvPr/>
        </p:nvSpPr>
        <p:spPr>
          <a:xfrm>
            <a:off x="6317293" y="5709592"/>
            <a:ext cx="5874707" cy="584775"/>
          </a:xfrm>
          <a:prstGeom prst="rect">
            <a:avLst/>
          </a:prstGeom>
          <a:noFill/>
        </p:spPr>
        <p:txBody>
          <a:bodyPr wrap="square" rtlCol="0">
            <a:spAutoFit/>
          </a:bodyPr>
          <a:lstStyle/>
          <a:p>
            <a:pPr algn="ctr"/>
            <a:r>
              <a:rPr lang="it-IT" sz="3200" i="1" dirty="0">
                <a:latin typeface="Times New Roman" panose="02020603050405020304" pitchFamily="18" charset="0"/>
                <a:cs typeface="Times New Roman" panose="02020603050405020304" pitchFamily="18" charset="0"/>
              </a:rPr>
              <a:t>IUS COMMUNE EUROPAEUM</a:t>
            </a:r>
          </a:p>
        </p:txBody>
      </p:sp>
      <p:sp>
        <p:nvSpPr>
          <p:cNvPr id="3" name="CasellaDiTesto 2">
            <a:extLst>
              <a:ext uri="{FF2B5EF4-FFF2-40B4-BE49-F238E27FC236}">
                <a16:creationId xmlns:a16="http://schemas.microsoft.com/office/drawing/2014/main" id="{6733A404-DE95-9A40-A9C4-2EAEADF016AC}"/>
              </a:ext>
            </a:extLst>
          </p:cNvPr>
          <p:cNvSpPr txBox="1"/>
          <p:nvPr/>
        </p:nvSpPr>
        <p:spPr>
          <a:xfrm>
            <a:off x="4292252" y="296763"/>
            <a:ext cx="3607496" cy="923330"/>
          </a:xfrm>
          <a:prstGeom prst="rect">
            <a:avLst/>
          </a:prstGeom>
          <a:noFill/>
        </p:spPr>
        <p:txBody>
          <a:bodyPr wrap="square" rtlCol="0">
            <a:spAutoFit/>
          </a:bodyPr>
          <a:lstStyle/>
          <a:p>
            <a:pPr algn="ctr"/>
            <a:r>
              <a:rPr lang="it-IT" sz="5400" b="1" dirty="0">
                <a:solidFill>
                  <a:srgbClr val="19436B"/>
                </a:solidFill>
                <a:latin typeface="Times New Roman" panose="02020603050405020304" pitchFamily="18" charset="0"/>
                <a:cs typeface="Times New Roman" panose="02020603050405020304" pitchFamily="18" charset="0"/>
              </a:rPr>
              <a:t>SCOPI</a:t>
            </a:r>
          </a:p>
        </p:txBody>
      </p:sp>
      <p:sp>
        <p:nvSpPr>
          <p:cNvPr id="11" name="CasellaDiTesto 10">
            <a:extLst>
              <a:ext uri="{FF2B5EF4-FFF2-40B4-BE49-F238E27FC236}">
                <a16:creationId xmlns:a16="http://schemas.microsoft.com/office/drawing/2014/main" id="{5201B2C0-EE61-9A44-9D92-32DF03849201}"/>
              </a:ext>
            </a:extLst>
          </p:cNvPr>
          <p:cNvSpPr txBox="1"/>
          <p:nvPr/>
        </p:nvSpPr>
        <p:spPr>
          <a:xfrm>
            <a:off x="875535" y="997309"/>
            <a:ext cx="4157662" cy="646331"/>
          </a:xfrm>
          <a:prstGeom prst="rect">
            <a:avLst/>
          </a:prstGeom>
          <a:noFill/>
        </p:spPr>
        <p:txBody>
          <a:bodyPr wrap="square" rtlCol="0">
            <a:spAutoFit/>
          </a:bodyPr>
          <a:lstStyle/>
          <a:p>
            <a:pPr algn="ctr"/>
            <a:r>
              <a:rPr lang="it-IT" sz="3600" b="1" dirty="0">
                <a:solidFill>
                  <a:srgbClr val="19436B"/>
                </a:solidFill>
                <a:latin typeface="Times New Roman" panose="02020603050405020304" pitchFamily="18" charset="0"/>
                <a:cs typeface="Times New Roman" panose="02020603050405020304" pitchFamily="18" charset="0"/>
              </a:rPr>
              <a:t>MEDIO PERIODO</a:t>
            </a:r>
          </a:p>
        </p:txBody>
      </p:sp>
      <p:grpSp>
        <p:nvGrpSpPr>
          <p:cNvPr id="13" name="Gruppo 12">
            <a:extLst>
              <a:ext uri="{FF2B5EF4-FFF2-40B4-BE49-F238E27FC236}">
                <a16:creationId xmlns:a16="http://schemas.microsoft.com/office/drawing/2014/main" id="{9C7F0B32-5FF6-0545-85EB-4502B42C5FC1}"/>
              </a:ext>
            </a:extLst>
          </p:cNvPr>
          <p:cNvGrpSpPr/>
          <p:nvPr/>
        </p:nvGrpSpPr>
        <p:grpSpPr>
          <a:xfrm>
            <a:off x="786317" y="1865035"/>
            <a:ext cx="1778000" cy="1239520"/>
            <a:chOff x="4104640" y="2141220"/>
            <a:chExt cx="1778000" cy="1239520"/>
          </a:xfrm>
        </p:grpSpPr>
        <p:sp>
          <p:nvSpPr>
            <p:cNvPr id="14" name="Rettangolo con angoli arrotondati sullo stesso lato 13">
              <a:extLst>
                <a:ext uri="{FF2B5EF4-FFF2-40B4-BE49-F238E27FC236}">
                  <a16:creationId xmlns:a16="http://schemas.microsoft.com/office/drawing/2014/main" id="{0C9B52A9-709D-FA43-916D-BA8A37624767}"/>
                </a:ext>
              </a:extLst>
            </p:cNvPr>
            <p:cNvSpPr/>
            <p:nvPr/>
          </p:nvSpPr>
          <p:spPr>
            <a:xfrm rot="16200000">
              <a:off x="4373880" y="1871980"/>
              <a:ext cx="1239520" cy="1778000"/>
            </a:xfrm>
            <a:prstGeom prst="round2SameRect">
              <a:avLst/>
            </a:prstGeom>
            <a:solidFill>
              <a:srgbClr val="1B4A7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it-IT">
                <a:solidFill>
                  <a:srgbClr val="19436B"/>
                </a:solidFill>
              </a:endParaRPr>
            </a:p>
          </p:txBody>
        </p:sp>
        <p:sp>
          <p:nvSpPr>
            <p:cNvPr id="15" name="CasellaDiTesto 3">
              <a:extLst>
                <a:ext uri="{FF2B5EF4-FFF2-40B4-BE49-F238E27FC236}">
                  <a16:creationId xmlns:a16="http://schemas.microsoft.com/office/drawing/2014/main" id="{6DE70828-2756-F04D-8F59-DA055E53CD85}"/>
                </a:ext>
              </a:extLst>
            </p:cNvPr>
            <p:cNvSpPr txBox="1"/>
            <p:nvPr/>
          </p:nvSpPr>
          <p:spPr>
            <a:xfrm>
              <a:off x="4422140" y="2376259"/>
              <a:ext cx="431800" cy="769441"/>
            </a:xfrm>
            <a:prstGeom prst="rect">
              <a:avLst/>
            </a:prstGeom>
            <a:noFill/>
          </p:spPr>
          <p:txBody>
            <a:bodyPr wrap="square" rtlCol="0">
              <a:spAutoFit/>
            </a:bodyPr>
            <a:lstStyle/>
            <a:p>
              <a:pPr algn="ctr"/>
              <a:r>
                <a:rPr lang="it-IT" sz="4400" dirty="0">
                  <a:solidFill>
                    <a:schemeClr val="bg1"/>
                  </a:solidFill>
                  <a:latin typeface="Times New Roman" panose="02020603050405020304" pitchFamily="18" charset="0"/>
                  <a:cs typeface="Times New Roman" panose="02020603050405020304" pitchFamily="18" charset="0"/>
                </a:rPr>
                <a:t>1</a:t>
              </a:r>
              <a:endParaRPr lang="it-IT" sz="4000" dirty="0">
                <a:solidFill>
                  <a:schemeClr val="bg1"/>
                </a:solidFill>
                <a:latin typeface="Times New Roman" panose="02020603050405020304" pitchFamily="18" charset="0"/>
                <a:cs typeface="Times New Roman" panose="02020603050405020304" pitchFamily="18" charset="0"/>
              </a:endParaRPr>
            </a:p>
          </p:txBody>
        </p:sp>
      </p:grpSp>
      <p:sp>
        <p:nvSpPr>
          <p:cNvPr id="16" name="Figura a mano libera 15">
            <a:extLst>
              <a:ext uri="{FF2B5EF4-FFF2-40B4-BE49-F238E27FC236}">
                <a16:creationId xmlns:a16="http://schemas.microsoft.com/office/drawing/2014/main" id="{9785C1A8-7EBF-B74B-810C-23F112D98B61}"/>
              </a:ext>
            </a:extLst>
          </p:cNvPr>
          <p:cNvSpPr/>
          <p:nvPr/>
        </p:nvSpPr>
        <p:spPr>
          <a:xfrm rot="5400000">
            <a:off x="2508437" y="628055"/>
            <a:ext cx="1336040" cy="3713480"/>
          </a:xfrm>
          <a:custGeom>
            <a:avLst/>
            <a:gdLst>
              <a:gd name="connsiteX0" fmla="*/ 0 w 1442720"/>
              <a:gd name="connsiteY0" fmla="*/ 3713480 h 3713480"/>
              <a:gd name="connsiteX1" fmla="*/ 0 w 1442720"/>
              <a:gd name="connsiteY1" fmla="*/ 240458 h 3713480"/>
              <a:gd name="connsiteX2" fmla="*/ 240458 w 1442720"/>
              <a:gd name="connsiteY2" fmla="*/ 0 h 3713480"/>
              <a:gd name="connsiteX3" fmla="*/ 1202262 w 1442720"/>
              <a:gd name="connsiteY3" fmla="*/ 0 h 3713480"/>
              <a:gd name="connsiteX4" fmla="*/ 1442720 w 1442720"/>
              <a:gd name="connsiteY4" fmla="*/ 240458 h 3713480"/>
              <a:gd name="connsiteX5" fmla="*/ 1442720 w 1442720"/>
              <a:gd name="connsiteY5" fmla="*/ 3713480 h 3713480"/>
              <a:gd name="connsiteX6" fmla="*/ 1214120 w 1442720"/>
              <a:gd name="connsiteY6" fmla="*/ 3713480 h 3713480"/>
              <a:gd name="connsiteX7" fmla="*/ 716280 w 1442720"/>
              <a:gd name="connsiteY7" fmla="*/ 3210560 h 3713480"/>
              <a:gd name="connsiteX8" fmla="*/ 218440 w 1442720"/>
              <a:gd name="connsiteY8" fmla="*/ 3713480 h 3713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2720" h="3713480">
                <a:moveTo>
                  <a:pt x="0" y="3713480"/>
                </a:moveTo>
                <a:lnTo>
                  <a:pt x="0" y="240458"/>
                </a:lnTo>
                <a:cubicBezTo>
                  <a:pt x="0" y="107657"/>
                  <a:pt x="107657" y="0"/>
                  <a:pt x="240458" y="0"/>
                </a:cubicBezTo>
                <a:lnTo>
                  <a:pt x="1202262" y="0"/>
                </a:lnTo>
                <a:cubicBezTo>
                  <a:pt x="1335063" y="0"/>
                  <a:pt x="1442720" y="107657"/>
                  <a:pt x="1442720" y="240458"/>
                </a:cubicBezTo>
                <a:lnTo>
                  <a:pt x="1442720" y="3713480"/>
                </a:lnTo>
                <a:lnTo>
                  <a:pt x="1214120" y="3713480"/>
                </a:lnTo>
                <a:cubicBezTo>
                  <a:pt x="1214120" y="3435725"/>
                  <a:pt x="991229" y="3210560"/>
                  <a:pt x="716280" y="3210560"/>
                </a:cubicBezTo>
                <a:cubicBezTo>
                  <a:pt x="441331" y="3210560"/>
                  <a:pt x="218440" y="3435725"/>
                  <a:pt x="218440" y="3713480"/>
                </a:cubicBezTo>
                <a:close/>
              </a:path>
            </a:pathLst>
          </a:custGeom>
          <a:solidFill>
            <a:schemeClr val="bg1"/>
          </a:solidFill>
          <a:ln>
            <a:noFill/>
          </a:ln>
          <a:effectLst>
            <a:outerShdw blurRad="63500" sx="102000" sy="102000" algn="ctr" rotWithShape="0">
              <a:prstClr val="black">
                <a:alpha val="31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it-IT" dirty="0"/>
          </a:p>
        </p:txBody>
      </p:sp>
      <p:sp>
        <p:nvSpPr>
          <p:cNvPr id="17" name="CasellaDiTesto 5">
            <a:extLst>
              <a:ext uri="{FF2B5EF4-FFF2-40B4-BE49-F238E27FC236}">
                <a16:creationId xmlns:a16="http://schemas.microsoft.com/office/drawing/2014/main" id="{2036CB9F-D946-D34A-BF19-D5A6F1FA3A2F}"/>
              </a:ext>
            </a:extLst>
          </p:cNvPr>
          <p:cNvSpPr txBox="1"/>
          <p:nvPr/>
        </p:nvSpPr>
        <p:spPr>
          <a:xfrm>
            <a:off x="1730206" y="1976539"/>
            <a:ext cx="3281680" cy="1200329"/>
          </a:xfrm>
          <a:prstGeom prst="rect">
            <a:avLst/>
          </a:prstGeom>
          <a:noFill/>
        </p:spPr>
        <p:style>
          <a:lnRef idx="0">
            <a:scrgbClr r="0" g="0" b="0"/>
          </a:lnRef>
          <a:fillRef idx="0">
            <a:scrgbClr r="0" g="0" b="0"/>
          </a:fillRef>
          <a:effectRef idx="0">
            <a:scrgbClr r="0" g="0" b="0"/>
          </a:effectRef>
          <a:fontRef idx="major"/>
        </p:style>
        <p:txBody>
          <a:bodyPr wrap="square"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r>
              <a:rPr lang="it-IT" dirty="0">
                <a:latin typeface="Times New Roman" panose="02020603050405020304" pitchFamily="18" charset="0"/>
                <a:cs typeface="Times New Roman" panose="02020603050405020304" pitchFamily="18" charset="0"/>
              </a:rPr>
              <a:t>Possibile regolamentazione dei rapporti contrattuali trans-nazionali tra privati </a:t>
            </a:r>
          </a:p>
          <a:p>
            <a:pPr algn="ctr"/>
            <a:endParaRPr lang="it-IT" dirty="0">
              <a:solidFill>
                <a:srgbClr val="1B4A76"/>
              </a:solidFill>
              <a:latin typeface="Times New Roman" panose="02020603050405020304" pitchFamily="18" charset="0"/>
              <a:cs typeface="Times New Roman" panose="02020603050405020304" pitchFamily="18" charset="0"/>
            </a:endParaRPr>
          </a:p>
        </p:txBody>
      </p:sp>
      <p:grpSp>
        <p:nvGrpSpPr>
          <p:cNvPr id="18" name="Gruppo 17">
            <a:extLst>
              <a:ext uri="{FF2B5EF4-FFF2-40B4-BE49-F238E27FC236}">
                <a16:creationId xmlns:a16="http://schemas.microsoft.com/office/drawing/2014/main" id="{9897AFC5-B120-A748-80B2-C369E234354E}"/>
              </a:ext>
            </a:extLst>
          </p:cNvPr>
          <p:cNvGrpSpPr/>
          <p:nvPr/>
        </p:nvGrpSpPr>
        <p:grpSpPr>
          <a:xfrm>
            <a:off x="786317" y="3576363"/>
            <a:ext cx="1778000" cy="1239520"/>
            <a:chOff x="4104640" y="2141220"/>
            <a:chExt cx="1778000" cy="1239520"/>
          </a:xfrm>
        </p:grpSpPr>
        <p:sp>
          <p:nvSpPr>
            <p:cNvPr id="19" name="Rettangolo con angoli arrotondati sullo stesso lato 18">
              <a:extLst>
                <a:ext uri="{FF2B5EF4-FFF2-40B4-BE49-F238E27FC236}">
                  <a16:creationId xmlns:a16="http://schemas.microsoft.com/office/drawing/2014/main" id="{E6E33F02-70CE-2040-8883-694D8E30550E}"/>
                </a:ext>
              </a:extLst>
            </p:cNvPr>
            <p:cNvSpPr/>
            <p:nvPr/>
          </p:nvSpPr>
          <p:spPr>
            <a:xfrm rot="16200000">
              <a:off x="4373880" y="1871980"/>
              <a:ext cx="1239520" cy="1778000"/>
            </a:xfrm>
            <a:prstGeom prst="round2SameRect">
              <a:avLst/>
            </a:prstGeom>
            <a:solidFill>
              <a:srgbClr val="1B4A7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it-IT">
                <a:solidFill>
                  <a:srgbClr val="19436B"/>
                </a:solidFill>
              </a:endParaRPr>
            </a:p>
          </p:txBody>
        </p:sp>
        <p:sp>
          <p:nvSpPr>
            <p:cNvPr id="20" name="CasellaDiTesto 8">
              <a:extLst>
                <a:ext uri="{FF2B5EF4-FFF2-40B4-BE49-F238E27FC236}">
                  <a16:creationId xmlns:a16="http://schemas.microsoft.com/office/drawing/2014/main" id="{AB145090-6CC7-234D-8B27-68422082CB85}"/>
                </a:ext>
              </a:extLst>
            </p:cNvPr>
            <p:cNvSpPr txBox="1"/>
            <p:nvPr/>
          </p:nvSpPr>
          <p:spPr>
            <a:xfrm>
              <a:off x="4422140" y="2376259"/>
              <a:ext cx="431800" cy="769441"/>
            </a:xfrm>
            <a:prstGeom prst="rect">
              <a:avLst/>
            </a:prstGeom>
            <a:noFill/>
          </p:spPr>
          <p:txBody>
            <a:bodyPr wrap="square" rtlCol="0">
              <a:spAutoFit/>
            </a:bodyPr>
            <a:lstStyle/>
            <a:p>
              <a:pPr algn="ctr"/>
              <a:r>
                <a:rPr lang="it-IT" sz="4400" dirty="0">
                  <a:solidFill>
                    <a:schemeClr val="bg1"/>
                  </a:solidFill>
                  <a:latin typeface="Times New Roman" panose="02020603050405020304" pitchFamily="18" charset="0"/>
                  <a:cs typeface="Times New Roman" panose="02020603050405020304" pitchFamily="18" charset="0"/>
                </a:rPr>
                <a:t>2</a:t>
              </a:r>
              <a:endParaRPr lang="it-IT" sz="4000" dirty="0">
                <a:solidFill>
                  <a:schemeClr val="bg1"/>
                </a:solidFill>
                <a:latin typeface="Times New Roman" panose="02020603050405020304" pitchFamily="18" charset="0"/>
                <a:cs typeface="Times New Roman" panose="02020603050405020304" pitchFamily="18" charset="0"/>
              </a:endParaRPr>
            </a:p>
          </p:txBody>
        </p:sp>
      </p:grpSp>
      <p:sp>
        <p:nvSpPr>
          <p:cNvPr id="21" name="Figura a mano libera 20">
            <a:extLst>
              <a:ext uri="{FF2B5EF4-FFF2-40B4-BE49-F238E27FC236}">
                <a16:creationId xmlns:a16="http://schemas.microsoft.com/office/drawing/2014/main" id="{94A1659A-400A-8346-A2A0-16CD065EC6A7}"/>
              </a:ext>
            </a:extLst>
          </p:cNvPr>
          <p:cNvSpPr/>
          <p:nvPr/>
        </p:nvSpPr>
        <p:spPr>
          <a:xfrm rot="5400000">
            <a:off x="2508437" y="2339383"/>
            <a:ext cx="1336040" cy="3713480"/>
          </a:xfrm>
          <a:custGeom>
            <a:avLst/>
            <a:gdLst>
              <a:gd name="connsiteX0" fmla="*/ 0 w 1442720"/>
              <a:gd name="connsiteY0" fmla="*/ 3713480 h 3713480"/>
              <a:gd name="connsiteX1" fmla="*/ 0 w 1442720"/>
              <a:gd name="connsiteY1" fmla="*/ 240458 h 3713480"/>
              <a:gd name="connsiteX2" fmla="*/ 240458 w 1442720"/>
              <a:gd name="connsiteY2" fmla="*/ 0 h 3713480"/>
              <a:gd name="connsiteX3" fmla="*/ 1202262 w 1442720"/>
              <a:gd name="connsiteY3" fmla="*/ 0 h 3713480"/>
              <a:gd name="connsiteX4" fmla="*/ 1442720 w 1442720"/>
              <a:gd name="connsiteY4" fmla="*/ 240458 h 3713480"/>
              <a:gd name="connsiteX5" fmla="*/ 1442720 w 1442720"/>
              <a:gd name="connsiteY5" fmla="*/ 3713480 h 3713480"/>
              <a:gd name="connsiteX6" fmla="*/ 1214120 w 1442720"/>
              <a:gd name="connsiteY6" fmla="*/ 3713480 h 3713480"/>
              <a:gd name="connsiteX7" fmla="*/ 716280 w 1442720"/>
              <a:gd name="connsiteY7" fmla="*/ 3210560 h 3713480"/>
              <a:gd name="connsiteX8" fmla="*/ 218440 w 1442720"/>
              <a:gd name="connsiteY8" fmla="*/ 3713480 h 3713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2720" h="3713480">
                <a:moveTo>
                  <a:pt x="0" y="3713480"/>
                </a:moveTo>
                <a:lnTo>
                  <a:pt x="0" y="240458"/>
                </a:lnTo>
                <a:cubicBezTo>
                  <a:pt x="0" y="107657"/>
                  <a:pt x="107657" y="0"/>
                  <a:pt x="240458" y="0"/>
                </a:cubicBezTo>
                <a:lnTo>
                  <a:pt x="1202262" y="0"/>
                </a:lnTo>
                <a:cubicBezTo>
                  <a:pt x="1335063" y="0"/>
                  <a:pt x="1442720" y="107657"/>
                  <a:pt x="1442720" y="240458"/>
                </a:cubicBezTo>
                <a:lnTo>
                  <a:pt x="1442720" y="3713480"/>
                </a:lnTo>
                <a:lnTo>
                  <a:pt x="1214120" y="3713480"/>
                </a:lnTo>
                <a:cubicBezTo>
                  <a:pt x="1214120" y="3435725"/>
                  <a:pt x="991229" y="3210560"/>
                  <a:pt x="716280" y="3210560"/>
                </a:cubicBezTo>
                <a:cubicBezTo>
                  <a:pt x="441331" y="3210560"/>
                  <a:pt x="218440" y="3435725"/>
                  <a:pt x="218440" y="3713480"/>
                </a:cubicBezTo>
                <a:close/>
              </a:path>
            </a:pathLst>
          </a:custGeom>
          <a:solidFill>
            <a:schemeClr val="bg1"/>
          </a:solidFill>
          <a:ln>
            <a:noFill/>
          </a:ln>
          <a:effectLst>
            <a:outerShdw blurRad="63500" sx="102000" sy="102000" algn="ctr" rotWithShape="0">
              <a:prstClr val="black">
                <a:alpha val="31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it-IT"/>
          </a:p>
        </p:txBody>
      </p:sp>
      <p:grpSp>
        <p:nvGrpSpPr>
          <p:cNvPr id="22" name="Gruppo 21">
            <a:extLst>
              <a:ext uri="{FF2B5EF4-FFF2-40B4-BE49-F238E27FC236}">
                <a16:creationId xmlns:a16="http://schemas.microsoft.com/office/drawing/2014/main" id="{87CCFFCD-927F-0E4C-81D2-9F1AE59BCE26}"/>
              </a:ext>
            </a:extLst>
          </p:cNvPr>
          <p:cNvGrpSpPr/>
          <p:nvPr/>
        </p:nvGrpSpPr>
        <p:grpSpPr>
          <a:xfrm>
            <a:off x="786317" y="5242054"/>
            <a:ext cx="1778000" cy="1239520"/>
            <a:chOff x="4104640" y="2141220"/>
            <a:chExt cx="1778000" cy="1239520"/>
          </a:xfrm>
        </p:grpSpPr>
        <p:sp>
          <p:nvSpPr>
            <p:cNvPr id="23" name="Rettangolo con angoli arrotondati sullo stesso lato 22">
              <a:extLst>
                <a:ext uri="{FF2B5EF4-FFF2-40B4-BE49-F238E27FC236}">
                  <a16:creationId xmlns:a16="http://schemas.microsoft.com/office/drawing/2014/main" id="{4D4C7B19-F284-0E4E-B952-352D252DC8BF}"/>
                </a:ext>
              </a:extLst>
            </p:cNvPr>
            <p:cNvSpPr/>
            <p:nvPr/>
          </p:nvSpPr>
          <p:spPr>
            <a:xfrm rot="16200000">
              <a:off x="4373880" y="1871980"/>
              <a:ext cx="1239520" cy="1778000"/>
            </a:xfrm>
            <a:prstGeom prst="round2SameRect">
              <a:avLst/>
            </a:prstGeom>
            <a:solidFill>
              <a:srgbClr val="1B4A7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it-IT">
                <a:solidFill>
                  <a:srgbClr val="19436B"/>
                </a:solidFill>
              </a:endParaRPr>
            </a:p>
          </p:txBody>
        </p:sp>
        <p:sp>
          <p:nvSpPr>
            <p:cNvPr id="24" name="CasellaDiTesto 12">
              <a:extLst>
                <a:ext uri="{FF2B5EF4-FFF2-40B4-BE49-F238E27FC236}">
                  <a16:creationId xmlns:a16="http://schemas.microsoft.com/office/drawing/2014/main" id="{AF5B123E-3D87-F346-8858-A357048714B6}"/>
                </a:ext>
              </a:extLst>
            </p:cNvPr>
            <p:cNvSpPr txBox="1"/>
            <p:nvPr/>
          </p:nvSpPr>
          <p:spPr>
            <a:xfrm>
              <a:off x="4422140" y="2376259"/>
              <a:ext cx="431800" cy="769441"/>
            </a:xfrm>
            <a:prstGeom prst="rect">
              <a:avLst/>
            </a:prstGeom>
            <a:noFill/>
          </p:spPr>
          <p:txBody>
            <a:bodyPr wrap="square" rtlCol="0">
              <a:spAutoFit/>
            </a:bodyPr>
            <a:lstStyle/>
            <a:p>
              <a:pPr algn="ctr"/>
              <a:r>
                <a:rPr lang="it-IT" sz="4400" dirty="0">
                  <a:solidFill>
                    <a:schemeClr val="bg1"/>
                  </a:solidFill>
                  <a:latin typeface="Times New Roman" panose="02020603050405020304" pitchFamily="18" charset="0"/>
                  <a:cs typeface="Times New Roman" panose="02020603050405020304" pitchFamily="18" charset="0"/>
                </a:rPr>
                <a:t>3</a:t>
              </a:r>
              <a:endParaRPr lang="it-IT" sz="4000" dirty="0">
                <a:solidFill>
                  <a:schemeClr val="bg1"/>
                </a:solidFill>
                <a:latin typeface="Times New Roman" panose="02020603050405020304" pitchFamily="18" charset="0"/>
                <a:cs typeface="Times New Roman" panose="02020603050405020304" pitchFamily="18" charset="0"/>
              </a:endParaRPr>
            </a:p>
          </p:txBody>
        </p:sp>
      </p:grpSp>
      <p:sp>
        <p:nvSpPr>
          <p:cNvPr id="25" name="Figura a mano libera 24">
            <a:extLst>
              <a:ext uri="{FF2B5EF4-FFF2-40B4-BE49-F238E27FC236}">
                <a16:creationId xmlns:a16="http://schemas.microsoft.com/office/drawing/2014/main" id="{9F38C046-676A-A043-991A-CEDAB8E61E66}"/>
              </a:ext>
            </a:extLst>
          </p:cNvPr>
          <p:cNvSpPr/>
          <p:nvPr/>
        </p:nvSpPr>
        <p:spPr>
          <a:xfrm rot="5400000">
            <a:off x="2508437" y="4005074"/>
            <a:ext cx="1336040" cy="3713480"/>
          </a:xfrm>
          <a:custGeom>
            <a:avLst/>
            <a:gdLst>
              <a:gd name="connsiteX0" fmla="*/ 0 w 1442720"/>
              <a:gd name="connsiteY0" fmla="*/ 3713480 h 3713480"/>
              <a:gd name="connsiteX1" fmla="*/ 0 w 1442720"/>
              <a:gd name="connsiteY1" fmla="*/ 240458 h 3713480"/>
              <a:gd name="connsiteX2" fmla="*/ 240458 w 1442720"/>
              <a:gd name="connsiteY2" fmla="*/ 0 h 3713480"/>
              <a:gd name="connsiteX3" fmla="*/ 1202262 w 1442720"/>
              <a:gd name="connsiteY3" fmla="*/ 0 h 3713480"/>
              <a:gd name="connsiteX4" fmla="*/ 1442720 w 1442720"/>
              <a:gd name="connsiteY4" fmla="*/ 240458 h 3713480"/>
              <a:gd name="connsiteX5" fmla="*/ 1442720 w 1442720"/>
              <a:gd name="connsiteY5" fmla="*/ 3713480 h 3713480"/>
              <a:gd name="connsiteX6" fmla="*/ 1214120 w 1442720"/>
              <a:gd name="connsiteY6" fmla="*/ 3713480 h 3713480"/>
              <a:gd name="connsiteX7" fmla="*/ 716280 w 1442720"/>
              <a:gd name="connsiteY7" fmla="*/ 3210560 h 3713480"/>
              <a:gd name="connsiteX8" fmla="*/ 218440 w 1442720"/>
              <a:gd name="connsiteY8" fmla="*/ 3713480 h 3713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2720" h="3713480">
                <a:moveTo>
                  <a:pt x="0" y="3713480"/>
                </a:moveTo>
                <a:lnTo>
                  <a:pt x="0" y="240458"/>
                </a:lnTo>
                <a:cubicBezTo>
                  <a:pt x="0" y="107657"/>
                  <a:pt x="107657" y="0"/>
                  <a:pt x="240458" y="0"/>
                </a:cubicBezTo>
                <a:lnTo>
                  <a:pt x="1202262" y="0"/>
                </a:lnTo>
                <a:cubicBezTo>
                  <a:pt x="1335063" y="0"/>
                  <a:pt x="1442720" y="107657"/>
                  <a:pt x="1442720" y="240458"/>
                </a:cubicBezTo>
                <a:lnTo>
                  <a:pt x="1442720" y="3713480"/>
                </a:lnTo>
                <a:lnTo>
                  <a:pt x="1214120" y="3713480"/>
                </a:lnTo>
                <a:cubicBezTo>
                  <a:pt x="1214120" y="3435725"/>
                  <a:pt x="991229" y="3210560"/>
                  <a:pt x="716280" y="3210560"/>
                </a:cubicBezTo>
                <a:cubicBezTo>
                  <a:pt x="441331" y="3210560"/>
                  <a:pt x="218440" y="3435725"/>
                  <a:pt x="218440" y="3713480"/>
                </a:cubicBezTo>
                <a:close/>
              </a:path>
            </a:pathLst>
          </a:custGeom>
          <a:solidFill>
            <a:schemeClr val="bg1"/>
          </a:solidFill>
          <a:ln>
            <a:noFill/>
          </a:ln>
          <a:effectLst>
            <a:outerShdw blurRad="63500" sx="102000" sy="102000" algn="ctr" rotWithShape="0">
              <a:prstClr val="black">
                <a:alpha val="31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it-IT"/>
          </a:p>
        </p:txBody>
      </p:sp>
      <p:sp>
        <p:nvSpPr>
          <p:cNvPr id="26" name="CasellaDiTesto 14">
            <a:extLst>
              <a:ext uri="{FF2B5EF4-FFF2-40B4-BE49-F238E27FC236}">
                <a16:creationId xmlns:a16="http://schemas.microsoft.com/office/drawing/2014/main" id="{8C41D6E1-9267-4448-9917-7E67AE82B985}"/>
              </a:ext>
            </a:extLst>
          </p:cNvPr>
          <p:cNvSpPr txBox="1"/>
          <p:nvPr/>
        </p:nvSpPr>
        <p:spPr>
          <a:xfrm>
            <a:off x="1751517" y="3710831"/>
            <a:ext cx="3101340" cy="1201419"/>
          </a:xfrm>
          <a:prstGeom prst="rect">
            <a:avLst/>
          </a:prstGeom>
          <a:noFill/>
        </p:spPr>
        <p:style>
          <a:lnRef idx="0">
            <a:scrgbClr r="0" g="0" b="0"/>
          </a:lnRef>
          <a:fillRef idx="0">
            <a:scrgbClr r="0" g="0" b="0"/>
          </a:fillRef>
          <a:effectRef idx="0">
            <a:scrgbClr r="0" g="0" b="0"/>
          </a:effectRef>
          <a:fontRef idx="major"/>
        </p:style>
        <p:txBody>
          <a:bodyPr wrap="square" lIns="0" tIns="46800" rIns="0"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r>
              <a:rPr lang="it-IT" dirty="0">
                <a:latin typeface="Times New Roman" panose="02020603050405020304" pitchFamily="18" charset="0"/>
                <a:cs typeface="Times New Roman" panose="02020603050405020304" pitchFamily="18" charset="0"/>
              </a:rPr>
              <a:t>Modello ispiratore di legislazioni nazionali uniformi, soprattutto per i nuovi ordinamenti. </a:t>
            </a:r>
          </a:p>
          <a:p>
            <a:pPr algn="ctr"/>
            <a:endParaRPr lang="it-IT" dirty="0">
              <a:solidFill>
                <a:srgbClr val="1B4A76"/>
              </a:solidFill>
              <a:latin typeface="Times New Roman" panose="02020603050405020304" pitchFamily="18" charset="0"/>
              <a:cs typeface="Times New Roman" panose="02020603050405020304" pitchFamily="18" charset="0"/>
            </a:endParaRPr>
          </a:p>
        </p:txBody>
      </p:sp>
      <p:sp>
        <p:nvSpPr>
          <p:cNvPr id="28" name="CasellaDiTesto 16">
            <a:extLst>
              <a:ext uri="{FF2B5EF4-FFF2-40B4-BE49-F238E27FC236}">
                <a16:creationId xmlns:a16="http://schemas.microsoft.com/office/drawing/2014/main" id="{1672D55F-E959-5E4F-A0DE-CA2F01EDD406}"/>
              </a:ext>
            </a:extLst>
          </p:cNvPr>
          <p:cNvSpPr txBox="1"/>
          <p:nvPr/>
        </p:nvSpPr>
        <p:spPr>
          <a:xfrm>
            <a:off x="1640036" y="5309939"/>
            <a:ext cx="3324302" cy="1508105"/>
          </a:xfrm>
          <a:prstGeom prst="rect">
            <a:avLst/>
          </a:prstGeom>
          <a:noFill/>
        </p:spPr>
        <p:style>
          <a:lnRef idx="0">
            <a:scrgbClr r="0" g="0" b="0"/>
          </a:lnRef>
          <a:fillRef idx="0">
            <a:scrgbClr r="0" g="0" b="0"/>
          </a:fillRef>
          <a:effectRef idx="0">
            <a:scrgbClr r="0" g="0" b="0"/>
          </a:effectRef>
          <a:fontRef idx="major"/>
        </p:style>
        <p:txBody>
          <a:bodyPr wrap="square"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r>
              <a:rPr lang="it-IT" dirty="0">
                <a:latin typeface="Times New Roman" panose="02020603050405020304" pitchFamily="18" charset="0"/>
                <a:cs typeface="Times New Roman" panose="02020603050405020304" pitchFamily="18" charset="0"/>
              </a:rPr>
              <a:t>Possibile strumento di soluzione delle controversie non facilmente risolvibili applicando le regole nazionali </a:t>
            </a:r>
          </a:p>
          <a:p>
            <a:pPr algn="ctr"/>
            <a:endParaRPr lang="it-IT" sz="2000" dirty="0">
              <a:solidFill>
                <a:srgbClr val="1B4A76"/>
              </a:solidFill>
              <a:latin typeface="Times New Roman" panose="02020603050405020304" pitchFamily="18" charset="0"/>
              <a:cs typeface="Times New Roman" panose="02020603050405020304" pitchFamily="18" charset="0"/>
            </a:endParaRPr>
          </a:p>
        </p:txBody>
      </p:sp>
      <p:sp>
        <p:nvSpPr>
          <p:cNvPr id="31" name="Titolo 30">
            <a:extLst>
              <a:ext uri="{FF2B5EF4-FFF2-40B4-BE49-F238E27FC236}">
                <a16:creationId xmlns:a16="http://schemas.microsoft.com/office/drawing/2014/main" id="{03B2DC94-1D66-E749-B266-D8FBE4003F87}"/>
              </a:ext>
            </a:extLst>
          </p:cNvPr>
          <p:cNvSpPr>
            <a:spLocks noGrp="1"/>
          </p:cNvSpPr>
          <p:nvPr>
            <p:ph type="ctrTitle"/>
          </p:nvPr>
        </p:nvSpPr>
        <p:spPr>
          <a:xfrm>
            <a:off x="-1753644" y="10525418"/>
            <a:ext cx="9144000" cy="2387600"/>
          </a:xfrm>
        </p:spPr>
        <p:txBody>
          <a:bodyPr/>
          <a:lstStyle/>
          <a:p>
            <a:endParaRPr lang="it-IT" dirty="0"/>
          </a:p>
        </p:txBody>
      </p:sp>
      <p:sp>
        <p:nvSpPr>
          <p:cNvPr id="32" name="CasellaDiTesto 31">
            <a:extLst>
              <a:ext uri="{FF2B5EF4-FFF2-40B4-BE49-F238E27FC236}">
                <a16:creationId xmlns:a16="http://schemas.microsoft.com/office/drawing/2014/main" id="{742A74ED-1D0B-2A47-90EC-948626FF083A}"/>
              </a:ext>
            </a:extLst>
          </p:cNvPr>
          <p:cNvSpPr txBox="1"/>
          <p:nvPr/>
        </p:nvSpPr>
        <p:spPr>
          <a:xfrm>
            <a:off x="7248021" y="1026633"/>
            <a:ext cx="4157662" cy="646331"/>
          </a:xfrm>
          <a:prstGeom prst="rect">
            <a:avLst/>
          </a:prstGeom>
          <a:noFill/>
        </p:spPr>
        <p:txBody>
          <a:bodyPr wrap="square" rtlCol="0">
            <a:spAutoFit/>
          </a:bodyPr>
          <a:lstStyle/>
          <a:p>
            <a:pPr algn="ctr"/>
            <a:r>
              <a:rPr lang="it-IT" sz="3600" b="1" dirty="0">
                <a:solidFill>
                  <a:srgbClr val="19436B"/>
                </a:solidFill>
                <a:latin typeface="Times New Roman" panose="02020603050405020304" pitchFamily="18" charset="0"/>
                <a:cs typeface="Times New Roman" panose="02020603050405020304" pitchFamily="18" charset="0"/>
              </a:rPr>
              <a:t>LUNGO PERIODO</a:t>
            </a:r>
          </a:p>
        </p:txBody>
      </p:sp>
      <p:grpSp>
        <p:nvGrpSpPr>
          <p:cNvPr id="33" name="Gruppo 32">
            <a:extLst>
              <a:ext uri="{FF2B5EF4-FFF2-40B4-BE49-F238E27FC236}">
                <a16:creationId xmlns:a16="http://schemas.microsoft.com/office/drawing/2014/main" id="{E4BDDB35-ADB9-BB4B-9385-F02512E550FC}"/>
              </a:ext>
            </a:extLst>
          </p:cNvPr>
          <p:cNvGrpSpPr/>
          <p:nvPr/>
        </p:nvGrpSpPr>
        <p:grpSpPr>
          <a:xfrm>
            <a:off x="7158803" y="2161909"/>
            <a:ext cx="1778000" cy="1239520"/>
            <a:chOff x="4104640" y="2141220"/>
            <a:chExt cx="1778000" cy="1239520"/>
          </a:xfrm>
        </p:grpSpPr>
        <p:sp>
          <p:nvSpPr>
            <p:cNvPr id="34" name="Rettangolo con angoli arrotondati sullo stesso lato 33">
              <a:extLst>
                <a:ext uri="{FF2B5EF4-FFF2-40B4-BE49-F238E27FC236}">
                  <a16:creationId xmlns:a16="http://schemas.microsoft.com/office/drawing/2014/main" id="{612ADB15-C28B-8849-ACB2-37435BFF53F1}"/>
                </a:ext>
              </a:extLst>
            </p:cNvPr>
            <p:cNvSpPr/>
            <p:nvPr/>
          </p:nvSpPr>
          <p:spPr>
            <a:xfrm rot="16200000">
              <a:off x="4373880" y="1871980"/>
              <a:ext cx="1239520" cy="1778000"/>
            </a:xfrm>
            <a:prstGeom prst="round2SameRect">
              <a:avLst/>
            </a:prstGeom>
            <a:solidFill>
              <a:srgbClr val="1B4A7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it-IT">
                <a:solidFill>
                  <a:srgbClr val="19436B"/>
                </a:solidFill>
              </a:endParaRPr>
            </a:p>
          </p:txBody>
        </p:sp>
        <p:sp>
          <p:nvSpPr>
            <p:cNvPr id="35" name="CasellaDiTesto 3">
              <a:extLst>
                <a:ext uri="{FF2B5EF4-FFF2-40B4-BE49-F238E27FC236}">
                  <a16:creationId xmlns:a16="http://schemas.microsoft.com/office/drawing/2014/main" id="{A7FDD9B7-B1FB-8949-B610-9570D1B086EF}"/>
                </a:ext>
              </a:extLst>
            </p:cNvPr>
            <p:cNvSpPr txBox="1"/>
            <p:nvPr/>
          </p:nvSpPr>
          <p:spPr>
            <a:xfrm>
              <a:off x="4422140" y="2376259"/>
              <a:ext cx="431800" cy="769441"/>
            </a:xfrm>
            <a:prstGeom prst="rect">
              <a:avLst/>
            </a:prstGeom>
            <a:noFill/>
          </p:spPr>
          <p:txBody>
            <a:bodyPr wrap="square" rtlCol="0">
              <a:spAutoFit/>
            </a:bodyPr>
            <a:lstStyle/>
            <a:p>
              <a:pPr algn="ctr"/>
              <a:r>
                <a:rPr lang="it-IT" sz="4400" dirty="0">
                  <a:solidFill>
                    <a:schemeClr val="bg1"/>
                  </a:solidFill>
                  <a:latin typeface="Times New Roman" panose="02020603050405020304" pitchFamily="18" charset="0"/>
                  <a:cs typeface="Times New Roman" panose="02020603050405020304" pitchFamily="18" charset="0"/>
                </a:rPr>
                <a:t>1</a:t>
              </a:r>
              <a:endParaRPr lang="it-IT" sz="4000" dirty="0">
                <a:solidFill>
                  <a:schemeClr val="bg1"/>
                </a:solidFill>
                <a:latin typeface="Times New Roman" panose="02020603050405020304" pitchFamily="18" charset="0"/>
                <a:cs typeface="Times New Roman" panose="02020603050405020304" pitchFamily="18" charset="0"/>
              </a:endParaRPr>
            </a:p>
          </p:txBody>
        </p:sp>
      </p:grpSp>
      <p:sp>
        <p:nvSpPr>
          <p:cNvPr id="36" name="Figura a mano libera 35">
            <a:extLst>
              <a:ext uri="{FF2B5EF4-FFF2-40B4-BE49-F238E27FC236}">
                <a16:creationId xmlns:a16="http://schemas.microsoft.com/office/drawing/2014/main" id="{CA00C1AB-1795-8A40-8279-633EA5663F77}"/>
              </a:ext>
            </a:extLst>
          </p:cNvPr>
          <p:cNvSpPr/>
          <p:nvPr/>
        </p:nvSpPr>
        <p:spPr>
          <a:xfrm rot="5400000">
            <a:off x="8880923" y="924929"/>
            <a:ext cx="1336040" cy="3713480"/>
          </a:xfrm>
          <a:custGeom>
            <a:avLst/>
            <a:gdLst>
              <a:gd name="connsiteX0" fmla="*/ 0 w 1442720"/>
              <a:gd name="connsiteY0" fmla="*/ 3713480 h 3713480"/>
              <a:gd name="connsiteX1" fmla="*/ 0 w 1442720"/>
              <a:gd name="connsiteY1" fmla="*/ 240458 h 3713480"/>
              <a:gd name="connsiteX2" fmla="*/ 240458 w 1442720"/>
              <a:gd name="connsiteY2" fmla="*/ 0 h 3713480"/>
              <a:gd name="connsiteX3" fmla="*/ 1202262 w 1442720"/>
              <a:gd name="connsiteY3" fmla="*/ 0 h 3713480"/>
              <a:gd name="connsiteX4" fmla="*/ 1442720 w 1442720"/>
              <a:gd name="connsiteY4" fmla="*/ 240458 h 3713480"/>
              <a:gd name="connsiteX5" fmla="*/ 1442720 w 1442720"/>
              <a:gd name="connsiteY5" fmla="*/ 3713480 h 3713480"/>
              <a:gd name="connsiteX6" fmla="*/ 1214120 w 1442720"/>
              <a:gd name="connsiteY6" fmla="*/ 3713480 h 3713480"/>
              <a:gd name="connsiteX7" fmla="*/ 716280 w 1442720"/>
              <a:gd name="connsiteY7" fmla="*/ 3210560 h 3713480"/>
              <a:gd name="connsiteX8" fmla="*/ 218440 w 1442720"/>
              <a:gd name="connsiteY8" fmla="*/ 3713480 h 3713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2720" h="3713480">
                <a:moveTo>
                  <a:pt x="0" y="3713480"/>
                </a:moveTo>
                <a:lnTo>
                  <a:pt x="0" y="240458"/>
                </a:lnTo>
                <a:cubicBezTo>
                  <a:pt x="0" y="107657"/>
                  <a:pt x="107657" y="0"/>
                  <a:pt x="240458" y="0"/>
                </a:cubicBezTo>
                <a:lnTo>
                  <a:pt x="1202262" y="0"/>
                </a:lnTo>
                <a:cubicBezTo>
                  <a:pt x="1335063" y="0"/>
                  <a:pt x="1442720" y="107657"/>
                  <a:pt x="1442720" y="240458"/>
                </a:cubicBezTo>
                <a:lnTo>
                  <a:pt x="1442720" y="3713480"/>
                </a:lnTo>
                <a:lnTo>
                  <a:pt x="1214120" y="3713480"/>
                </a:lnTo>
                <a:cubicBezTo>
                  <a:pt x="1214120" y="3435725"/>
                  <a:pt x="991229" y="3210560"/>
                  <a:pt x="716280" y="3210560"/>
                </a:cubicBezTo>
                <a:cubicBezTo>
                  <a:pt x="441331" y="3210560"/>
                  <a:pt x="218440" y="3435725"/>
                  <a:pt x="218440" y="3713480"/>
                </a:cubicBezTo>
                <a:close/>
              </a:path>
            </a:pathLst>
          </a:custGeom>
          <a:solidFill>
            <a:schemeClr val="bg1"/>
          </a:solidFill>
          <a:ln>
            <a:noFill/>
          </a:ln>
          <a:effectLst>
            <a:outerShdw blurRad="63500" sx="102000" sy="102000" algn="ctr" rotWithShape="0">
              <a:prstClr val="black">
                <a:alpha val="31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it-IT" dirty="0"/>
          </a:p>
        </p:txBody>
      </p:sp>
      <p:sp>
        <p:nvSpPr>
          <p:cNvPr id="37" name="CasellaDiTesto 5">
            <a:extLst>
              <a:ext uri="{FF2B5EF4-FFF2-40B4-BE49-F238E27FC236}">
                <a16:creationId xmlns:a16="http://schemas.microsoft.com/office/drawing/2014/main" id="{F2E09D99-2672-DE4C-9199-5A02174B22DC}"/>
              </a:ext>
            </a:extLst>
          </p:cNvPr>
          <p:cNvSpPr txBox="1"/>
          <p:nvPr/>
        </p:nvSpPr>
        <p:spPr>
          <a:xfrm>
            <a:off x="7972608" y="2436021"/>
            <a:ext cx="3281680" cy="923330"/>
          </a:xfrm>
          <a:prstGeom prst="rect">
            <a:avLst/>
          </a:prstGeom>
          <a:noFill/>
        </p:spPr>
        <p:style>
          <a:lnRef idx="0">
            <a:scrgbClr r="0" g="0" b="0"/>
          </a:lnRef>
          <a:fillRef idx="0">
            <a:scrgbClr r="0" g="0" b="0"/>
          </a:fillRef>
          <a:effectRef idx="0">
            <a:scrgbClr r="0" g="0" b="0"/>
          </a:effectRef>
          <a:fontRef idx="major"/>
        </p:style>
        <p:txBody>
          <a:bodyPr wrap="square"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r>
              <a:rPr lang="it-IT" dirty="0">
                <a:latin typeface="Times New Roman" panose="02020603050405020304" pitchFamily="18" charset="0"/>
                <a:cs typeface="Times New Roman" panose="02020603050405020304" pitchFamily="18" charset="0"/>
              </a:rPr>
              <a:t>Disciplina uniforme per il mercato comune</a:t>
            </a:r>
          </a:p>
          <a:p>
            <a:pPr algn="ctr"/>
            <a:endParaRPr lang="it-IT" dirty="0">
              <a:solidFill>
                <a:srgbClr val="1B4A76"/>
              </a:solidFill>
              <a:latin typeface="Times New Roman" panose="02020603050405020304" pitchFamily="18" charset="0"/>
              <a:cs typeface="Times New Roman" panose="02020603050405020304" pitchFamily="18" charset="0"/>
            </a:endParaRPr>
          </a:p>
        </p:txBody>
      </p:sp>
      <p:grpSp>
        <p:nvGrpSpPr>
          <p:cNvPr id="38" name="Gruppo 37">
            <a:extLst>
              <a:ext uri="{FF2B5EF4-FFF2-40B4-BE49-F238E27FC236}">
                <a16:creationId xmlns:a16="http://schemas.microsoft.com/office/drawing/2014/main" id="{5D12A694-9877-6B41-BB94-6A324F47BF5D}"/>
              </a:ext>
            </a:extLst>
          </p:cNvPr>
          <p:cNvGrpSpPr/>
          <p:nvPr/>
        </p:nvGrpSpPr>
        <p:grpSpPr>
          <a:xfrm>
            <a:off x="7158803" y="3873237"/>
            <a:ext cx="1778000" cy="1239520"/>
            <a:chOff x="4104640" y="2141220"/>
            <a:chExt cx="1778000" cy="1239520"/>
          </a:xfrm>
        </p:grpSpPr>
        <p:sp>
          <p:nvSpPr>
            <p:cNvPr id="39" name="Rettangolo con angoli arrotondati sullo stesso lato 38">
              <a:extLst>
                <a:ext uri="{FF2B5EF4-FFF2-40B4-BE49-F238E27FC236}">
                  <a16:creationId xmlns:a16="http://schemas.microsoft.com/office/drawing/2014/main" id="{7DBA4AE4-4293-1A44-8C4A-CFBBC210D32C}"/>
                </a:ext>
              </a:extLst>
            </p:cNvPr>
            <p:cNvSpPr/>
            <p:nvPr/>
          </p:nvSpPr>
          <p:spPr>
            <a:xfrm rot="16200000">
              <a:off x="4373880" y="1871980"/>
              <a:ext cx="1239520" cy="1778000"/>
            </a:xfrm>
            <a:prstGeom prst="round2SameRect">
              <a:avLst/>
            </a:prstGeom>
            <a:solidFill>
              <a:srgbClr val="1B4A7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it-IT">
                <a:solidFill>
                  <a:srgbClr val="19436B"/>
                </a:solidFill>
              </a:endParaRPr>
            </a:p>
          </p:txBody>
        </p:sp>
        <p:sp>
          <p:nvSpPr>
            <p:cNvPr id="40" name="CasellaDiTesto 8">
              <a:extLst>
                <a:ext uri="{FF2B5EF4-FFF2-40B4-BE49-F238E27FC236}">
                  <a16:creationId xmlns:a16="http://schemas.microsoft.com/office/drawing/2014/main" id="{0A7D7DD7-D1E2-F24C-93C5-35CE5ABC266E}"/>
                </a:ext>
              </a:extLst>
            </p:cNvPr>
            <p:cNvSpPr txBox="1"/>
            <p:nvPr/>
          </p:nvSpPr>
          <p:spPr>
            <a:xfrm>
              <a:off x="4422140" y="2376259"/>
              <a:ext cx="431800" cy="769441"/>
            </a:xfrm>
            <a:prstGeom prst="rect">
              <a:avLst/>
            </a:prstGeom>
            <a:noFill/>
          </p:spPr>
          <p:txBody>
            <a:bodyPr wrap="square" rtlCol="0">
              <a:spAutoFit/>
            </a:bodyPr>
            <a:lstStyle/>
            <a:p>
              <a:pPr algn="ctr"/>
              <a:r>
                <a:rPr lang="it-IT" sz="4400" dirty="0">
                  <a:solidFill>
                    <a:schemeClr val="bg1"/>
                  </a:solidFill>
                  <a:latin typeface="Times New Roman" panose="02020603050405020304" pitchFamily="18" charset="0"/>
                  <a:cs typeface="Times New Roman" panose="02020603050405020304" pitchFamily="18" charset="0"/>
                </a:rPr>
                <a:t>2</a:t>
              </a:r>
              <a:endParaRPr lang="it-IT" sz="4000" dirty="0">
                <a:solidFill>
                  <a:schemeClr val="bg1"/>
                </a:solidFill>
                <a:latin typeface="Times New Roman" panose="02020603050405020304" pitchFamily="18" charset="0"/>
                <a:cs typeface="Times New Roman" panose="02020603050405020304" pitchFamily="18" charset="0"/>
              </a:endParaRPr>
            </a:p>
          </p:txBody>
        </p:sp>
      </p:grpSp>
      <p:sp>
        <p:nvSpPr>
          <p:cNvPr id="41" name="Figura a mano libera 40">
            <a:extLst>
              <a:ext uri="{FF2B5EF4-FFF2-40B4-BE49-F238E27FC236}">
                <a16:creationId xmlns:a16="http://schemas.microsoft.com/office/drawing/2014/main" id="{E3E79074-9CB9-CF4D-8A94-EA8C88A51C41}"/>
              </a:ext>
            </a:extLst>
          </p:cNvPr>
          <p:cNvSpPr/>
          <p:nvPr/>
        </p:nvSpPr>
        <p:spPr>
          <a:xfrm rot="5400000">
            <a:off x="8880923" y="2636257"/>
            <a:ext cx="1336040" cy="3713480"/>
          </a:xfrm>
          <a:custGeom>
            <a:avLst/>
            <a:gdLst>
              <a:gd name="connsiteX0" fmla="*/ 0 w 1442720"/>
              <a:gd name="connsiteY0" fmla="*/ 3713480 h 3713480"/>
              <a:gd name="connsiteX1" fmla="*/ 0 w 1442720"/>
              <a:gd name="connsiteY1" fmla="*/ 240458 h 3713480"/>
              <a:gd name="connsiteX2" fmla="*/ 240458 w 1442720"/>
              <a:gd name="connsiteY2" fmla="*/ 0 h 3713480"/>
              <a:gd name="connsiteX3" fmla="*/ 1202262 w 1442720"/>
              <a:gd name="connsiteY3" fmla="*/ 0 h 3713480"/>
              <a:gd name="connsiteX4" fmla="*/ 1442720 w 1442720"/>
              <a:gd name="connsiteY4" fmla="*/ 240458 h 3713480"/>
              <a:gd name="connsiteX5" fmla="*/ 1442720 w 1442720"/>
              <a:gd name="connsiteY5" fmla="*/ 3713480 h 3713480"/>
              <a:gd name="connsiteX6" fmla="*/ 1214120 w 1442720"/>
              <a:gd name="connsiteY6" fmla="*/ 3713480 h 3713480"/>
              <a:gd name="connsiteX7" fmla="*/ 716280 w 1442720"/>
              <a:gd name="connsiteY7" fmla="*/ 3210560 h 3713480"/>
              <a:gd name="connsiteX8" fmla="*/ 218440 w 1442720"/>
              <a:gd name="connsiteY8" fmla="*/ 3713480 h 3713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2720" h="3713480">
                <a:moveTo>
                  <a:pt x="0" y="3713480"/>
                </a:moveTo>
                <a:lnTo>
                  <a:pt x="0" y="240458"/>
                </a:lnTo>
                <a:cubicBezTo>
                  <a:pt x="0" y="107657"/>
                  <a:pt x="107657" y="0"/>
                  <a:pt x="240458" y="0"/>
                </a:cubicBezTo>
                <a:lnTo>
                  <a:pt x="1202262" y="0"/>
                </a:lnTo>
                <a:cubicBezTo>
                  <a:pt x="1335063" y="0"/>
                  <a:pt x="1442720" y="107657"/>
                  <a:pt x="1442720" y="240458"/>
                </a:cubicBezTo>
                <a:lnTo>
                  <a:pt x="1442720" y="3713480"/>
                </a:lnTo>
                <a:lnTo>
                  <a:pt x="1214120" y="3713480"/>
                </a:lnTo>
                <a:cubicBezTo>
                  <a:pt x="1214120" y="3435725"/>
                  <a:pt x="991229" y="3210560"/>
                  <a:pt x="716280" y="3210560"/>
                </a:cubicBezTo>
                <a:cubicBezTo>
                  <a:pt x="441331" y="3210560"/>
                  <a:pt x="218440" y="3435725"/>
                  <a:pt x="218440" y="3713480"/>
                </a:cubicBezTo>
                <a:close/>
              </a:path>
            </a:pathLst>
          </a:custGeom>
          <a:solidFill>
            <a:schemeClr val="bg1"/>
          </a:solidFill>
          <a:ln>
            <a:noFill/>
          </a:ln>
          <a:effectLst>
            <a:outerShdw blurRad="63500" sx="102000" sy="102000" algn="ctr" rotWithShape="0">
              <a:prstClr val="black">
                <a:alpha val="31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it-IT"/>
          </a:p>
        </p:txBody>
      </p:sp>
      <p:sp>
        <p:nvSpPr>
          <p:cNvPr id="46" name="CasellaDiTesto 14">
            <a:extLst>
              <a:ext uri="{FF2B5EF4-FFF2-40B4-BE49-F238E27FC236}">
                <a16:creationId xmlns:a16="http://schemas.microsoft.com/office/drawing/2014/main" id="{886318DF-1AF0-414B-9405-CB2EFD1FC53B}"/>
              </a:ext>
            </a:extLst>
          </p:cNvPr>
          <p:cNvSpPr txBox="1"/>
          <p:nvPr/>
        </p:nvSpPr>
        <p:spPr>
          <a:xfrm>
            <a:off x="8124003" y="4007705"/>
            <a:ext cx="3101340" cy="924420"/>
          </a:xfrm>
          <a:prstGeom prst="rect">
            <a:avLst/>
          </a:prstGeom>
          <a:noFill/>
        </p:spPr>
        <p:style>
          <a:lnRef idx="0">
            <a:scrgbClr r="0" g="0" b="0"/>
          </a:lnRef>
          <a:fillRef idx="0">
            <a:scrgbClr r="0" g="0" b="0"/>
          </a:fillRef>
          <a:effectRef idx="0">
            <a:scrgbClr r="0" g="0" b="0"/>
          </a:effectRef>
          <a:fontRef idx="major"/>
        </p:style>
        <p:txBody>
          <a:bodyPr wrap="square" lIns="0" tIns="46800" rIns="0"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r>
              <a:rPr lang="it-IT" dirty="0">
                <a:latin typeface="Times New Roman" panose="02020603050405020304" pitchFamily="18" charset="0"/>
                <a:cs typeface="Times New Roman" panose="02020603050405020304" pitchFamily="18" charset="0"/>
              </a:rPr>
              <a:t>Fondamento per la futura legislazione europea in materia di diritto contrattuale </a:t>
            </a:r>
          </a:p>
        </p:txBody>
      </p:sp>
    </p:spTree>
    <p:extLst>
      <p:ext uri="{BB962C8B-B14F-4D97-AF65-F5344CB8AC3E}">
        <p14:creationId xmlns:p14="http://schemas.microsoft.com/office/powerpoint/2010/main" val="34015327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250" fill="hold"/>
                                        <p:tgtEl>
                                          <p:spTgt spid="11"/>
                                        </p:tgtEl>
                                        <p:attrNameLst>
                                          <p:attrName>ppt_x</p:attrName>
                                        </p:attrNameLst>
                                      </p:cBhvr>
                                      <p:tavLst>
                                        <p:tav tm="0">
                                          <p:val>
                                            <p:strVal val="1+#ppt_w/2"/>
                                          </p:val>
                                        </p:tav>
                                        <p:tav tm="100000">
                                          <p:val>
                                            <p:strVal val="#ppt_x"/>
                                          </p:val>
                                        </p:tav>
                                      </p:tavLst>
                                    </p:anim>
                                    <p:anim calcmode="lin" valueType="num">
                                      <p:cBhvr additive="base">
                                        <p:cTn id="8" dur="125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16"/>
                                        </p:tgtEl>
                                        <p:attrNameLst>
                                          <p:attrName>style.visibility</p:attrName>
                                        </p:attrNameLst>
                                      </p:cBhvr>
                                      <p:to>
                                        <p:strVal val="visible"/>
                                      </p:to>
                                    </p:set>
                                    <p:anim calcmode="lin" valueType="num">
                                      <p:cBhvr additive="base">
                                        <p:cTn id="13" dur="1000" fill="hold"/>
                                        <p:tgtEl>
                                          <p:spTgt spid="16"/>
                                        </p:tgtEl>
                                        <p:attrNameLst>
                                          <p:attrName>ppt_x</p:attrName>
                                        </p:attrNameLst>
                                      </p:cBhvr>
                                      <p:tavLst>
                                        <p:tav tm="0">
                                          <p:val>
                                            <p:strVal val="1+#ppt_w/2"/>
                                          </p:val>
                                        </p:tav>
                                        <p:tav tm="100000">
                                          <p:val>
                                            <p:strVal val="#ppt_x"/>
                                          </p:val>
                                        </p:tav>
                                      </p:tavLst>
                                    </p:anim>
                                    <p:anim calcmode="lin" valueType="num">
                                      <p:cBhvr additive="base">
                                        <p:cTn id="14" dur="1000" fill="hold"/>
                                        <p:tgtEl>
                                          <p:spTgt spid="16"/>
                                        </p:tgtEl>
                                        <p:attrNameLst>
                                          <p:attrName>ppt_y</p:attrName>
                                        </p:attrNameLst>
                                      </p:cBhvr>
                                      <p:tavLst>
                                        <p:tav tm="0">
                                          <p:val>
                                            <p:strVal val="#ppt_y"/>
                                          </p:val>
                                        </p:tav>
                                        <p:tav tm="100000">
                                          <p:val>
                                            <p:strVal val="#ppt_y"/>
                                          </p:val>
                                        </p:tav>
                                      </p:tavLst>
                                    </p:anim>
                                  </p:childTnLst>
                                </p:cTn>
                              </p:par>
                            </p:childTnLst>
                          </p:cTn>
                        </p:par>
                        <p:par>
                          <p:cTn id="15" fill="hold">
                            <p:stCondLst>
                              <p:cond delay="1000"/>
                            </p:stCondLst>
                            <p:childTnLst>
                              <p:par>
                                <p:cTn id="16" presetID="2" presetClass="entr" presetSubtype="2" fill="hold" nodeType="afterEffect">
                                  <p:stCondLst>
                                    <p:cond delay="0"/>
                                  </p:stCondLst>
                                  <p:childTnLst>
                                    <p:set>
                                      <p:cBhvr>
                                        <p:cTn id="17" dur="1" fill="hold">
                                          <p:stCondLst>
                                            <p:cond delay="0"/>
                                          </p:stCondLst>
                                        </p:cTn>
                                        <p:tgtEl>
                                          <p:spTgt spid="13"/>
                                        </p:tgtEl>
                                        <p:attrNameLst>
                                          <p:attrName>style.visibility</p:attrName>
                                        </p:attrNameLst>
                                      </p:cBhvr>
                                      <p:to>
                                        <p:strVal val="visible"/>
                                      </p:to>
                                    </p:set>
                                    <p:anim calcmode="lin" valueType="num">
                                      <p:cBhvr additive="base">
                                        <p:cTn id="18" dur="500" fill="hold"/>
                                        <p:tgtEl>
                                          <p:spTgt spid="13"/>
                                        </p:tgtEl>
                                        <p:attrNameLst>
                                          <p:attrName>ppt_x</p:attrName>
                                        </p:attrNameLst>
                                      </p:cBhvr>
                                      <p:tavLst>
                                        <p:tav tm="0">
                                          <p:val>
                                            <p:strVal val="1+#ppt_w/2"/>
                                          </p:val>
                                        </p:tav>
                                        <p:tav tm="100000">
                                          <p:val>
                                            <p:strVal val="#ppt_x"/>
                                          </p:val>
                                        </p:tav>
                                      </p:tavLst>
                                    </p:anim>
                                    <p:anim calcmode="lin" valueType="num">
                                      <p:cBhvr additive="base">
                                        <p:cTn id="19" dur="500" fill="hold"/>
                                        <p:tgtEl>
                                          <p:spTgt spid="13"/>
                                        </p:tgtEl>
                                        <p:attrNameLst>
                                          <p:attrName>ppt_y</p:attrName>
                                        </p:attrNameLst>
                                      </p:cBhvr>
                                      <p:tavLst>
                                        <p:tav tm="0">
                                          <p:val>
                                            <p:strVal val="#ppt_y"/>
                                          </p:val>
                                        </p:tav>
                                        <p:tav tm="100000">
                                          <p:val>
                                            <p:strVal val="#ppt_y"/>
                                          </p:val>
                                        </p:tav>
                                      </p:tavLst>
                                    </p:anim>
                                  </p:childTnLst>
                                </p:cTn>
                              </p:par>
                            </p:childTnLst>
                          </p:cTn>
                        </p:par>
                        <p:par>
                          <p:cTn id="20" fill="hold">
                            <p:stCondLst>
                              <p:cond delay="1500"/>
                            </p:stCondLst>
                            <p:childTnLst>
                              <p:par>
                                <p:cTn id="21" presetID="53" presetClass="entr" presetSubtype="16" fill="hold" grpId="0" nodeType="afterEffect">
                                  <p:stCondLst>
                                    <p:cond delay="0"/>
                                  </p:stCondLst>
                                  <p:childTnLst>
                                    <p:set>
                                      <p:cBhvr>
                                        <p:cTn id="22" dur="1" fill="hold">
                                          <p:stCondLst>
                                            <p:cond delay="0"/>
                                          </p:stCondLst>
                                        </p:cTn>
                                        <p:tgtEl>
                                          <p:spTgt spid="17"/>
                                        </p:tgtEl>
                                        <p:attrNameLst>
                                          <p:attrName>style.visibility</p:attrName>
                                        </p:attrNameLst>
                                      </p:cBhvr>
                                      <p:to>
                                        <p:strVal val="visible"/>
                                      </p:to>
                                    </p:set>
                                    <p:anim calcmode="lin" valueType="num">
                                      <p:cBhvr>
                                        <p:cTn id="23" dur="500" fill="hold"/>
                                        <p:tgtEl>
                                          <p:spTgt spid="17"/>
                                        </p:tgtEl>
                                        <p:attrNameLst>
                                          <p:attrName>ppt_w</p:attrName>
                                        </p:attrNameLst>
                                      </p:cBhvr>
                                      <p:tavLst>
                                        <p:tav tm="0">
                                          <p:val>
                                            <p:fltVal val="0"/>
                                          </p:val>
                                        </p:tav>
                                        <p:tav tm="100000">
                                          <p:val>
                                            <p:strVal val="#ppt_w"/>
                                          </p:val>
                                        </p:tav>
                                      </p:tavLst>
                                    </p:anim>
                                    <p:anim calcmode="lin" valueType="num">
                                      <p:cBhvr>
                                        <p:cTn id="24" dur="500" fill="hold"/>
                                        <p:tgtEl>
                                          <p:spTgt spid="17"/>
                                        </p:tgtEl>
                                        <p:attrNameLst>
                                          <p:attrName>ppt_h</p:attrName>
                                        </p:attrNameLst>
                                      </p:cBhvr>
                                      <p:tavLst>
                                        <p:tav tm="0">
                                          <p:val>
                                            <p:fltVal val="0"/>
                                          </p:val>
                                        </p:tav>
                                        <p:tav tm="100000">
                                          <p:val>
                                            <p:strVal val="#ppt_h"/>
                                          </p:val>
                                        </p:tav>
                                      </p:tavLst>
                                    </p:anim>
                                    <p:animEffect transition="in" filter="fade">
                                      <p:cBhvr>
                                        <p:cTn id="25" dur="500"/>
                                        <p:tgtEl>
                                          <p:spTgt spid="17"/>
                                        </p:tgtEl>
                                      </p:cBhvr>
                                    </p:animEffect>
                                  </p:childTnLst>
                                </p:cTn>
                              </p:par>
                            </p:childTnLst>
                          </p:cTn>
                        </p:par>
                      </p:childTnLst>
                    </p:cTn>
                  </p:par>
                  <p:par>
                    <p:cTn id="26" fill="hold">
                      <p:stCondLst>
                        <p:cond delay="indefinite"/>
                      </p:stCondLst>
                      <p:childTnLst>
                        <p:par>
                          <p:cTn id="27" fill="hold">
                            <p:stCondLst>
                              <p:cond delay="0"/>
                            </p:stCondLst>
                            <p:childTnLst>
                              <p:par>
                                <p:cTn id="28" presetID="2" presetClass="entr" presetSubtype="2" fill="hold" grpId="0" nodeType="clickEffect">
                                  <p:stCondLst>
                                    <p:cond delay="0"/>
                                  </p:stCondLst>
                                  <p:childTnLst>
                                    <p:set>
                                      <p:cBhvr>
                                        <p:cTn id="29" dur="1" fill="hold">
                                          <p:stCondLst>
                                            <p:cond delay="0"/>
                                          </p:stCondLst>
                                        </p:cTn>
                                        <p:tgtEl>
                                          <p:spTgt spid="21"/>
                                        </p:tgtEl>
                                        <p:attrNameLst>
                                          <p:attrName>style.visibility</p:attrName>
                                        </p:attrNameLst>
                                      </p:cBhvr>
                                      <p:to>
                                        <p:strVal val="visible"/>
                                      </p:to>
                                    </p:set>
                                    <p:anim calcmode="lin" valueType="num">
                                      <p:cBhvr additive="base">
                                        <p:cTn id="30" dur="1000" fill="hold"/>
                                        <p:tgtEl>
                                          <p:spTgt spid="21"/>
                                        </p:tgtEl>
                                        <p:attrNameLst>
                                          <p:attrName>ppt_x</p:attrName>
                                        </p:attrNameLst>
                                      </p:cBhvr>
                                      <p:tavLst>
                                        <p:tav tm="0">
                                          <p:val>
                                            <p:strVal val="1+#ppt_w/2"/>
                                          </p:val>
                                        </p:tav>
                                        <p:tav tm="100000">
                                          <p:val>
                                            <p:strVal val="#ppt_x"/>
                                          </p:val>
                                        </p:tav>
                                      </p:tavLst>
                                    </p:anim>
                                    <p:anim calcmode="lin" valueType="num">
                                      <p:cBhvr additive="base">
                                        <p:cTn id="31" dur="1000" fill="hold"/>
                                        <p:tgtEl>
                                          <p:spTgt spid="21"/>
                                        </p:tgtEl>
                                        <p:attrNameLst>
                                          <p:attrName>ppt_y</p:attrName>
                                        </p:attrNameLst>
                                      </p:cBhvr>
                                      <p:tavLst>
                                        <p:tav tm="0">
                                          <p:val>
                                            <p:strVal val="#ppt_y"/>
                                          </p:val>
                                        </p:tav>
                                        <p:tav tm="100000">
                                          <p:val>
                                            <p:strVal val="#ppt_y"/>
                                          </p:val>
                                        </p:tav>
                                      </p:tavLst>
                                    </p:anim>
                                  </p:childTnLst>
                                </p:cTn>
                              </p:par>
                            </p:childTnLst>
                          </p:cTn>
                        </p:par>
                        <p:par>
                          <p:cTn id="32" fill="hold">
                            <p:stCondLst>
                              <p:cond delay="1000"/>
                            </p:stCondLst>
                            <p:childTnLst>
                              <p:par>
                                <p:cTn id="33" presetID="2" presetClass="entr" presetSubtype="2" fill="hold" nodeType="afterEffect">
                                  <p:stCondLst>
                                    <p:cond delay="0"/>
                                  </p:stCondLst>
                                  <p:childTnLst>
                                    <p:set>
                                      <p:cBhvr>
                                        <p:cTn id="34" dur="1" fill="hold">
                                          <p:stCondLst>
                                            <p:cond delay="0"/>
                                          </p:stCondLst>
                                        </p:cTn>
                                        <p:tgtEl>
                                          <p:spTgt spid="18"/>
                                        </p:tgtEl>
                                        <p:attrNameLst>
                                          <p:attrName>style.visibility</p:attrName>
                                        </p:attrNameLst>
                                      </p:cBhvr>
                                      <p:to>
                                        <p:strVal val="visible"/>
                                      </p:to>
                                    </p:set>
                                    <p:anim calcmode="lin" valueType="num">
                                      <p:cBhvr additive="base">
                                        <p:cTn id="35" dur="500" fill="hold"/>
                                        <p:tgtEl>
                                          <p:spTgt spid="18"/>
                                        </p:tgtEl>
                                        <p:attrNameLst>
                                          <p:attrName>ppt_x</p:attrName>
                                        </p:attrNameLst>
                                      </p:cBhvr>
                                      <p:tavLst>
                                        <p:tav tm="0">
                                          <p:val>
                                            <p:strVal val="1+#ppt_w/2"/>
                                          </p:val>
                                        </p:tav>
                                        <p:tav tm="100000">
                                          <p:val>
                                            <p:strVal val="#ppt_x"/>
                                          </p:val>
                                        </p:tav>
                                      </p:tavLst>
                                    </p:anim>
                                    <p:anim calcmode="lin" valueType="num">
                                      <p:cBhvr additive="base">
                                        <p:cTn id="36" dur="500" fill="hold"/>
                                        <p:tgtEl>
                                          <p:spTgt spid="18"/>
                                        </p:tgtEl>
                                        <p:attrNameLst>
                                          <p:attrName>ppt_y</p:attrName>
                                        </p:attrNameLst>
                                      </p:cBhvr>
                                      <p:tavLst>
                                        <p:tav tm="0">
                                          <p:val>
                                            <p:strVal val="#ppt_y"/>
                                          </p:val>
                                        </p:tav>
                                        <p:tav tm="100000">
                                          <p:val>
                                            <p:strVal val="#ppt_y"/>
                                          </p:val>
                                        </p:tav>
                                      </p:tavLst>
                                    </p:anim>
                                  </p:childTnLst>
                                </p:cTn>
                              </p:par>
                            </p:childTnLst>
                          </p:cTn>
                        </p:par>
                        <p:par>
                          <p:cTn id="37" fill="hold">
                            <p:stCondLst>
                              <p:cond delay="1500"/>
                            </p:stCondLst>
                            <p:childTnLst>
                              <p:par>
                                <p:cTn id="38" presetID="53" presetClass="entr" presetSubtype="16" fill="hold" grpId="0" nodeType="afterEffect">
                                  <p:stCondLst>
                                    <p:cond delay="0"/>
                                  </p:stCondLst>
                                  <p:childTnLst>
                                    <p:set>
                                      <p:cBhvr>
                                        <p:cTn id="39" dur="1" fill="hold">
                                          <p:stCondLst>
                                            <p:cond delay="0"/>
                                          </p:stCondLst>
                                        </p:cTn>
                                        <p:tgtEl>
                                          <p:spTgt spid="26"/>
                                        </p:tgtEl>
                                        <p:attrNameLst>
                                          <p:attrName>style.visibility</p:attrName>
                                        </p:attrNameLst>
                                      </p:cBhvr>
                                      <p:to>
                                        <p:strVal val="visible"/>
                                      </p:to>
                                    </p:set>
                                    <p:anim calcmode="lin" valueType="num">
                                      <p:cBhvr>
                                        <p:cTn id="40" dur="500" fill="hold"/>
                                        <p:tgtEl>
                                          <p:spTgt spid="26"/>
                                        </p:tgtEl>
                                        <p:attrNameLst>
                                          <p:attrName>ppt_w</p:attrName>
                                        </p:attrNameLst>
                                      </p:cBhvr>
                                      <p:tavLst>
                                        <p:tav tm="0">
                                          <p:val>
                                            <p:fltVal val="0"/>
                                          </p:val>
                                        </p:tav>
                                        <p:tav tm="100000">
                                          <p:val>
                                            <p:strVal val="#ppt_w"/>
                                          </p:val>
                                        </p:tav>
                                      </p:tavLst>
                                    </p:anim>
                                    <p:anim calcmode="lin" valueType="num">
                                      <p:cBhvr>
                                        <p:cTn id="41" dur="500" fill="hold"/>
                                        <p:tgtEl>
                                          <p:spTgt spid="26"/>
                                        </p:tgtEl>
                                        <p:attrNameLst>
                                          <p:attrName>ppt_h</p:attrName>
                                        </p:attrNameLst>
                                      </p:cBhvr>
                                      <p:tavLst>
                                        <p:tav tm="0">
                                          <p:val>
                                            <p:fltVal val="0"/>
                                          </p:val>
                                        </p:tav>
                                        <p:tav tm="100000">
                                          <p:val>
                                            <p:strVal val="#ppt_h"/>
                                          </p:val>
                                        </p:tav>
                                      </p:tavLst>
                                    </p:anim>
                                    <p:animEffect transition="in" filter="fade">
                                      <p:cBhvr>
                                        <p:cTn id="42" dur="500"/>
                                        <p:tgtEl>
                                          <p:spTgt spid="26"/>
                                        </p:tgtEl>
                                      </p:cBhvr>
                                    </p:animEffect>
                                  </p:childTnLst>
                                </p:cTn>
                              </p:par>
                            </p:childTnLst>
                          </p:cTn>
                        </p:par>
                      </p:childTnLst>
                    </p:cTn>
                  </p:par>
                  <p:par>
                    <p:cTn id="43" fill="hold">
                      <p:stCondLst>
                        <p:cond delay="indefinite"/>
                      </p:stCondLst>
                      <p:childTnLst>
                        <p:par>
                          <p:cTn id="44" fill="hold">
                            <p:stCondLst>
                              <p:cond delay="0"/>
                            </p:stCondLst>
                            <p:childTnLst>
                              <p:par>
                                <p:cTn id="45" presetID="2" presetClass="entr" presetSubtype="2" fill="hold" grpId="0" nodeType="clickEffect">
                                  <p:stCondLst>
                                    <p:cond delay="0"/>
                                  </p:stCondLst>
                                  <p:childTnLst>
                                    <p:set>
                                      <p:cBhvr>
                                        <p:cTn id="46" dur="1" fill="hold">
                                          <p:stCondLst>
                                            <p:cond delay="0"/>
                                          </p:stCondLst>
                                        </p:cTn>
                                        <p:tgtEl>
                                          <p:spTgt spid="25"/>
                                        </p:tgtEl>
                                        <p:attrNameLst>
                                          <p:attrName>style.visibility</p:attrName>
                                        </p:attrNameLst>
                                      </p:cBhvr>
                                      <p:to>
                                        <p:strVal val="visible"/>
                                      </p:to>
                                    </p:set>
                                    <p:anim calcmode="lin" valueType="num">
                                      <p:cBhvr additive="base">
                                        <p:cTn id="47" dur="1000" fill="hold"/>
                                        <p:tgtEl>
                                          <p:spTgt spid="25"/>
                                        </p:tgtEl>
                                        <p:attrNameLst>
                                          <p:attrName>ppt_x</p:attrName>
                                        </p:attrNameLst>
                                      </p:cBhvr>
                                      <p:tavLst>
                                        <p:tav tm="0">
                                          <p:val>
                                            <p:strVal val="1+#ppt_w/2"/>
                                          </p:val>
                                        </p:tav>
                                        <p:tav tm="100000">
                                          <p:val>
                                            <p:strVal val="#ppt_x"/>
                                          </p:val>
                                        </p:tav>
                                      </p:tavLst>
                                    </p:anim>
                                    <p:anim calcmode="lin" valueType="num">
                                      <p:cBhvr additive="base">
                                        <p:cTn id="48" dur="1000" fill="hold"/>
                                        <p:tgtEl>
                                          <p:spTgt spid="25"/>
                                        </p:tgtEl>
                                        <p:attrNameLst>
                                          <p:attrName>ppt_y</p:attrName>
                                        </p:attrNameLst>
                                      </p:cBhvr>
                                      <p:tavLst>
                                        <p:tav tm="0">
                                          <p:val>
                                            <p:strVal val="#ppt_y"/>
                                          </p:val>
                                        </p:tav>
                                        <p:tav tm="100000">
                                          <p:val>
                                            <p:strVal val="#ppt_y"/>
                                          </p:val>
                                        </p:tav>
                                      </p:tavLst>
                                    </p:anim>
                                  </p:childTnLst>
                                </p:cTn>
                              </p:par>
                            </p:childTnLst>
                          </p:cTn>
                        </p:par>
                        <p:par>
                          <p:cTn id="49" fill="hold">
                            <p:stCondLst>
                              <p:cond delay="1000"/>
                            </p:stCondLst>
                            <p:childTnLst>
                              <p:par>
                                <p:cTn id="50" presetID="2" presetClass="entr" presetSubtype="2" fill="hold" nodeType="afterEffect">
                                  <p:stCondLst>
                                    <p:cond delay="0"/>
                                  </p:stCondLst>
                                  <p:childTnLst>
                                    <p:set>
                                      <p:cBhvr>
                                        <p:cTn id="51" dur="1" fill="hold">
                                          <p:stCondLst>
                                            <p:cond delay="0"/>
                                          </p:stCondLst>
                                        </p:cTn>
                                        <p:tgtEl>
                                          <p:spTgt spid="22"/>
                                        </p:tgtEl>
                                        <p:attrNameLst>
                                          <p:attrName>style.visibility</p:attrName>
                                        </p:attrNameLst>
                                      </p:cBhvr>
                                      <p:to>
                                        <p:strVal val="visible"/>
                                      </p:to>
                                    </p:set>
                                    <p:anim calcmode="lin" valueType="num">
                                      <p:cBhvr additive="base">
                                        <p:cTn id="52" dur="500" fill="hold"/>
                                        <p:tgtEl>
                                          <p:spTgt spid="22"/>
                                        </p:tgtEl>
                                        <p:attrNameLst>
                                          <p:attrName>ppt_x</p:attrName>
                                        </p:attrNameLst>
                                      </p:cBhvr>
                                      <p:tavLst>
                                        <p:tav tm="0">
                                          <p:val>
                                            <p:strVal val="1+#ppt_w/2"/>
                                          </p:val>
                                        </p:tav>
                                        <p:tav tm="100000">
                                          <p:val>
                                            <p:strVal val="#ppt_x"/>
                                          </p:val>
                                        </p:tav>
                                      </p:tavLst>
                                    </p:anim>
                                    <p:anim calcmode="lin" valueType="num">
                                      <p:cBhvr additive="base">
                                        <p:cTn id="53" dur="500" fill="hold"/>
                                        <p:tgtEl>
                                          <p:spTgt spid="22"/>
                                        </p:tgtEl>
                                        <p:attrNameLst>
                                          <p:attrName>ppt_y</p:attrName>
                                        </p:attrNameLst>
                                      </p:cBhvr>
                                      <p:tavLst>
                                        <p:tav tm="0">
                                          <p:val>
                                            <p:strVal val="#ppt_y"/>
                                          </p:val>
                                        </p:tav>
                                        <p:tav tm="100000">
                                          <p:val>
                                            <p:strVal val="#ppt_y"/>
                                          </p:val>
                                        </p:tav>
                                      </p:tavLst>
                                    </p:anim>
                                  </p:childTnLst>
                                </p:cTn>
                              </p:par>
                            </p:childTnLst>
                          </p:cTn>
                        </p:par>
                        <p:par>
                          <p:cTn id="54" fill="hold">
                            <p:stCondLst>
                              <p:cond delay="1500"/>
                            </p:stCondLst>
                            <p:childTnLst>
                              <p:par>
                                <p:cTn id="55" presetID="53" presetClass="entr" presetSubtype="16" fill="hold" grpId="0" nodeType="afterEffect">
                                  <p:stCondLst>
                                    <p:cond delay="0"/>
                                  </p:stCondLst>
                                  <p:childTnLst>
                                    <p:set>
                                      <p:cBhvr>
                                        <p:cTn id="56" dur="1" fill="hold">
                                          <p:stCondLst>
                                            <p:cond delay="0"/>
                                          </p:stCondLst>
                                        </p:cTn>
                                        <p:tgtEl>
                                          <p:spTgt spid="28"/>
                                        </p:tgtEl>
                                        <p:attrNameLst>
                                          <p:attrName>style.visibility</p:attrName>
                                        </p:attrNameLst>
                                      </p:cBhvr>
                                      <p:to>
                                        <p:strVal val="visible"/>
                                      </p:to>
                                    </p:set>
                                    <p:anim calcmode="lin" valueType="num">
                                      <p:cBhvr>
                                        <p:cTn id="57" dur="500" fill="hold"/>
                                        <p:tgtEl>
                                          <p:spTgt spid="28"/>
                                        </p:tgtEl>
                                        <p:attrNameLst>
                                          <p:attrName>ppt_w</p:attrName>
                                        </p:attrNameLst>
                                      </p:cBhvr>
                                      <p:tavLst>
                                        <p:tav tm="0">
                                          <p:val>
                                            <p:fltVal val="0"/>
                                          </p:val>
                                        </p:tav>
                                        <p:tav tm="100000">
                                          <p:val>
                                            <p:strVal val="#ppt_w"/>
                                          </p:val>
                                        </p:tav>
                                      </p:tavLst>
                                    </p:anim>
                                    <p:anim calcmode="lin" valueType="num">
                                      <p:cBhvr>
                                        <p:cTn id="58" dur="500" fill="hold"/>
                                        <p:tgtEl>
                                          <p:spTgt spid="28"/>
                                        </p:tgtEl>
                                        <p:attrNameLst>
                                          <p:attrName>ppt_h</p:attrName>
                                        </p:attrNameLst>
                                      </p:cBhvr>
                                      <p:tavLst>
                                        <p:tav tm="0">
                                          <p:val>
                                            <p:fltVal val="0"/>
                                          </p:val>
                                        </p:tav>
                                        <p:tav tm="100000">
                                          <p:val>
                                            <p:strVal val="#ppt_h"/>
                                          </p:val>
                                        </p:tav>
                                      </p:tavLst>
                                    </p:anim>
                                    <p:animEffect transition="in" filter="fade">
                                      <p:cBhvr>
                                        <p:cTn id="59" dur="500"/>
                                        <p:tgtEl>
                                          <p:spTgt spid="28"/>
                                        </p:tgtEl>
                                      </p:cBhvr>
                                    </p:animEffect>
                                  </p:childTnLst>
                                </p:cTn>
                              </p:par>
                            </p:childTnLst>
                          </p:cTn>
                        </p:par>
                      </p:childTnLst>
                    </p:cTn>
                  </p:par>
                  <p:par>
                    <p:cTn id="60" fill="hold">
                      <p:stCondLst>
                        <p:cond delay="indefinite"/>
                      </p:stCondLst>
                      <p:childTnLst>
                        <p:par>
                          <p:cTn id="61" fill="hold">
                            <p:stCondLst>
                              <p:cond delay="0"/>
                            </p:stCondLst>
                            <p:childTnLst>
                              <p:par>
                                <p:cTn id="62" presetID="2" presetClass="entr" presetSubtype="2" fill="hold" grpId="0" nodeType="clickEffect">
                                  <p:stCondLst>
                                    <p:cond delay="0"/>
                                  </p:stCondLst>
                                  <p:childTnLst>
                                    <p:set>
                                      <p:cBhvr>
                                        <p:cTn id="63" dur="1" fill="hold">
                                          <p:stCondLst>
                                            <p:cond delay="0"/>
                                          </p:stCondLst>
                                        </p:cTn>
                                        <p:tgtEl>
                                          <p:spTgt spid="32"/>
                                        </p:tgtEl>
                                        <p:attrNameLst>
                                          <p:attrName>style.visibility</p:attrName>
                                        </p:attrNameLst>
                                      </p:cBhvr>
                                      <p:to>
                                        <p:strVal val="visible"/>
                                      </p:to>
                                    </p:set>
                                    <p:anim calcmode="lin" valueType="num">
                                      <p:cBhvr additive="base">
                                        <p:cTn id="64" dur="1250" fill="hold"/>
                                        <p:tgtEl>
                                          <p:spTgt spid="32"/>
                                        </p:tgtEl>
                                        <p:attrNameLst>
                                          <p:attrName>ppt_x</p:attrName>
                                        </p:attrNameLst>
                                      </p:cBhvr>
                                      <p:tavLst>
                                        <p:tav tm="0">
                                          <p:val>
                                            <p:strVal val="1+#ppt_w/2"/>
                                          </p:val>
                                        </p:tav>
                                        <p:tav tm="100000">
                                          <p:val>
                                            <p:strVal val="#ppt_x"/>
                                          </p:val>
                                        </p:tav>
                                      </p:tavLst>
                                    </p:anim>
                                    <p:anim calcmode="lin" valueType="num">
                                      <p:cBhvr additive="base">
                                        <p:cTn id="65" dur="1250" fill="hold"/>
                                        <p:tgtEl>
                                          <p:spTgt spid="32"/>
                                        </p:tgtEl>
                                        <p:attrNameLst>
                                          <p:attrName>ppt_y</p:attrName>
                                        </p:attrNameLst>
                                      </p:cBhvr>
                                      <p:tavLst>
                                        <p:tav tm="0">
                                          <p:val>
                                            <p:strVal val="#ppt_y"/>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2" presetClass="entr" presetSubtype="2" fill="hold" grpId="0" nodeType="clickEffect">
                                  <p:stCondLst>
                                    <p:cond delay="0"/>
                                  </p:stCondLst>
                                  <p:childTnLst>
                                    <p:set>
                                      <p:cBhvr>
                                        <p:cTn id="69" dur="1" fill="hold">
                                          <p:stCondLst>
                                            <p:cond delay="0"/>
                                          </p:stCondLst>
                                        </p:cTn>
                                        <p:tgtEl>
                                          <p:spTgt spid="36"/>
                                        </p:tgtEl>
                                        <p:attrNameLst>
                                          <p:attrName>style.visibility</p:attrName>
                                        </p:attrNameLst>
                                      </p:cBhvr>
                                      <p:to>
                                        <p:strVal val="visible"/>
                                      </p:to>
                                    </p:set>
                                    <p:anim calcmode="lin" valueType="num">
                                      <p:cBhvr additive="base">
                                        <p:cTn id="70" dur="1000" fill="hold"/>
                                        <p:tgtEl>
                                          <p:spTgt spid="36"/>
                                        </p:tgtEl>
                                        <p:attrNameLst>
                                          <p:attrName>ppt_x</p:attrName>
                                        </p:attrNameLst>
                                      </p:cBhvr>
                                      <p:tavLst>
                                        <p:tav tm="0">
                                          <p:val>
                                            <p:strVal val="1+#ppt_w/2"/>
                                          </p:val>
                                        </p:tav>
                                        <p:tav tm="100000">
                                          <p:val>
                                            <p:strVal val="#ppt_x"/>
                                          </p:val>
                                        </p:tav>
                                      </p:tavLst>
                                    </p:anim>
                                    <p:anim calcmode="lin" valueType="num">
                                      <p:cBhvr additive="base">
                                        <p:cTn id="71" dur="1000" fill="hold"/>
                                        <p:tgtEl>
                                          <p:spTgt spid="36"/>
                                        </p:tgtEl>
                                        <p:attrNameLst>
                                          <p:attrName>ppt_y</p:attrName>
                                        </p:attrNameLst>
                                      </p:cBhvr>
                                      <p:tavLst>
                                        <p:tav tm="0">
                                          <p:val>
                                            <p:strVal val="#ppt_y"/>
                                          </p:val>
                                        </p:tav>
                                        <p:tav tm="100000">
                                          <p:val>
                                            <p:strVal val="#ppt_y"/>
                                          </p:val>
                                        </p:tav>
                                      </p:tavLst>
                                    </p:anim>
                                  </p:childTnLst>
                                </p:cTn>
                              </p:par>
                            </p:childTnLst>
                          </p:cTn>
                        </p:par>
                        <p:par>
                          <p:cTn id="72" fill="hold">
                            <p:stCondLst>
                              <p:cond delay="1000"/>
                            </p:stCondLst>
                            <p:childTnLst>
                              <p:par>
                                <p:cTn id="73" presetID="2" presetClass="entr" presetSubtype="2" fill="hold" nodeType="afterEffect">
                                  <p:stCondLst>
                                    <p:cond delay="0"/>
                                  </p:stCondLst>
                                  <p:childTnLst>
                                    <p:set>
                                      <p:cBhvr>
                                        <p:cTn id="74" dur="1" fill="hold">
                                          <p:stCondLst>
                                            <p:cond delay="0"/>
                                          </p:stCondLst>
                                        </p:cTn>
                                        <p:tgtEl>
                                          <p:spTgt spid="33"/>
                                        </p:tgtEl>
                                        <p:attrNameLst>
                                          <p:attrName>style.visibility</p:attrName>
                                        </p:attrNameLst>
                                      </p:cBhvr>
                                      <p:to>
                                        <p:strVal val="visible"/>
                                      </p:to>
                                    </p:set>
                                    <p:anim calcmode="lin" valueType="num">
                                      <p:cBhvr additive="base">
                                        <p:cTn id="75" dur="500" fill="hold"/>
                                        <p:tgtEl>
                                          <p:spTgt spid="33"/>
                                        </p:tgtEl>
                                        <p:attrNameLst>
                                          <p:attrName>ppt_x</p:attrName>
                                        </p:attrNameLst>
                                      </p:cBhvr>
                                      <p:tavLst>
                                        <p:tav tm="0">
                                          <p:val>
                                            <p:strVal val="1+#ppt_w/2"/>
                                          </p:val>
                                        </p:tav>
                                        <p:tav tm="100000">
                                          <p:val>
                                            <p:strVal val="#ppt_x"/>
                                          </p:val>
                                        </p:tav>
                                      </p:tavLst>
                                    </p:anim>
                                    <p:anim calcmode="lin" valueType="num">
                                      <p:cBhvr additive="base">
                                        <p:cTn id="76" dur="500" fill="hold"/>
                                        <p:tgtEl>
                                          <p:spTgt spid="33"/>
                                        </p:tgtEl>
                                        <p:attrNameLst>
                                          <p:attrName>ppt_y</p:attrName>
                                        </p:attrNameLst>
                                      </p:cBhvr>
                                      <p:tavLst>
                                        <p:tav tm="0">
                                          <p:val>
                                            <p:strVal val="#ppt_y"/>
                                          </p:val>
                                        </p:tav>
                                        <p:tav tm="100000">
                                          <p:val>
                                            <p:strVal val="#ppt_y"/>
                                          </p:val>
                                        </p:tav>
                                      </p:tavLst>
                                    </p:anim>
                                  </p:childTnLst>
                                </p:cTn>
                              </p:par>
                            </p:childTnLst>
                          </p:cTn>
                        </p:par>
                        <p:par>
                          <p:cTn id="77" fill="hold">
                            <p:stCondLst>
                              <p:cond delay="1500"/>
                            </p:stCondLst>
                            <p:childTnLst>
                              <p:par>
                                <p:cTn id="78" presetID="53" presetClass="entr" presetSubtype="16" fill="hold" grpId="0" nodeType="afterEffect">
                                  <p:stCondLst>
                                    <p:cond delay="0"/>
                                  </p:stCondLst>
                                  <p:childTnLst>
                                    <p:set>
                                      <p:cBhvr>
                                        <p:cTn id="79" dur="1" fill="hold">
                                          <p:stCondLst>
                                            <p:cond delay="0"/>
                                          </p:stCondLst>
                                        </p:cTn>
                                        <p:tgtEl>
                                          <p:spTgt spid="37"/>
                                        </p:tgtEl>
                                        <p:attrNameLst>
                                          <p:attrName>style.visibility</p:attrName>
                                        </p:attrNameLst>
                                      </p:cBhvr>
                                      <p:to>
                                        <p:strVal val="visible"/>
                                      </p:to>
                                    </p:set>
                                    <p:anim calcmode="lin" valueType="num">
                                      <p:cBhvr>
                                        <p:cTn id="80" dur="500" fill="hold"/>
                                        <p:tgtEl>
                                          <p:spTgt spid="37"/>
                                        </p:tgtEl>
                                        <p:attrNameLst>
                                          <p:attrName>ppt_w</p:attrName>
                                        </p:attrNameLst>
                                      </p:cBhvr>
                                      <p:tavLst>
                                        <p:tav tm="0">
                                          <p:val>
                                            <p:fltVal val="0"/>
                                          </p:val>
                                        </p:tav>
                                        <p:tav tm="100000">
                                          <p:val>
                                            <p:strVal val="#ppt_w"/>
                                          </p:val>
                                        </p:tav>
                                      </p:tavLst>
                                    </p:anim>
                                    <p:anim calcmode="lin" valueType="num">
                                      <p:cBhvr>
                                        <p:cTn id="81" dur="500" fill="hold"/>
                                        <p:tgtEl>
                                          <p:spTgt spid="37"/>
                                        </p:tgtEl>
                                        <p:attrNameLst>
                                          <p:attrName>ppt_h</p:attrName>
                                        </p:attrNameLst>
                                      </p:cBhvr>
                                      <p:tavLst>
                                        <p:tav tm="0">
                                          <p:val>
                                            <p:fltVal val="0"/>
                                          </p:val>
                                        </p:tav>
                                        <p:tav tm="100000">
                                          <p:val>
                                            <p:strVal val="#ppt_h"/>
                                          </p:val>
                                        </p:tav>
                                      </p:tavLst>
                                    </p:anim>
                                    <p:animEffect transition="in" filter="fade">
                                      <p:cBhvr>
                                        <p:cTn id="82" dur="500"/>
                                        <p:tgtEl>
                                          <p:spTgt spid="37"/>
                                        </p:tgtEl>
                                      </p:cBhvr>
                                    </p:animEffect>
                                  </p:childTnLst>
                                </p:cTn>
                              </p:par>
                            </p:childTnLst>
                          </p:cTn>
                        </p:par>
                      </p:childTnLst>
                    </p:cTn>
                  </p:par>
                  <p:par>
                    <p:cTn id="83" fill="hold">
                      <p:stCondLst>
                        <p:cond delay="indefinite"/>
                      </p:stCondLst>
                      <p:childTnLst>
                        <p:par>
                          <p:cTn id="84" fill="hold">
                            <p:stCondLst>
                              <p:cond delay="0"/>
                            </p:stCondLst>
                            <p:childTnLst>
                              <p:par>
                                <p:cTn id="85" presetID="2" presetClass="entr" presetSubtype="2" fill="hold" grpId="0" nodeType="clickEffect">
                                  <p:stCondLst>
                                    <p:cond delay="0"/>
                                  </p:stCondLst>
                                  <p:childTnLst>
                                    <p:set>
                                      <p:cBhvr>
                                        <p:cTn id="86" dur="1" fill="hold">
                                          <p:stCondLst>
                                            <p:cond delay="0"/>
                                          </p:stCondLst>
                                        </p:cTn>
                                        <p:tgtEl>
                                          <p:spTgt spid="41"/>
                                        </p:tgtEl>
                                        <p:attrNameLst>
                                          <p:attrName>style.visibility</p:attrName>
                                        </p:attrNameLst>
                                      </p:cBhvr>
                                      <p:to>
                                        <p:strVal val="visible"/>
                                      </p:to>
                                    </p:set>
                                    <p:anim calcmode="lin" valueType="num">
                                      <p:cBhvr additive="base">
                                        <p:cTn id="87" dur="1000" fill="hold"/>
                                        <p:tgtEl>
                                          <p:spTgt spid="41"/>
                                        </p:tgtEl>
                                        <p:attrNameLst>
                                          <p:attrName>ppt_x</p:attrName>
                                        </p:attrNameLst>
                                      </p:cBhvr>
                                      <p:tavLst>
                                        <p:tav tm="0">
                                          <p:val>
                                            <p:strVal val="1+#ppt_w/2"/>
                                          </p:val>
                                        </p:tav>
                                        <p:tav tm="100000">
                                          <p:val>
                                            <p:strVal val="#ppt_x"/>
                                          </p:val>
                                        </p:tav>
                                      </p:tavLst>
                                    </p:anim>
                                    <p:anim calcmode="lin" valueType="num">
                                      <p:cBhvr additive="base">
                                        <p:cTn id="88" dur="1000" fill="hold"/>
                                        <p:tgtEl>
                                          <p:spTgt spid="41"/>
                                        </p:tgtEl>
                                        <p:attrNameLst>
                                          <p:attrName>ppt_y</p:attrName>
                                        </p:attrNameLst>
                                      </p:cBhvr>
                                      <p:tavLst>
                                        <p:tav tm="0">
                                          <p:val>
                                            <p:strVal val="#ppt_y"/>
                                          </p:val>
                                        </p:tav>
                                        <p:tav tm="100000">
                                          <p:val>
                                            <p:strVal val="#ppt_y"/>
                                          </p:val>
                                        </p:tav>
                                      </p:tavLst>
                                    </p:anim>
                                  </p:childTnLst>
                                </p:cTn>
                              </p:par>
                            </p:childTnLst>
                          </p:cTn>
                        </p:par>
                        <p:par>
                          <p:cTn id="89" fill="hold">
                            <p:stCondLst>
                              <p:cond delay="1000"/>
                            </p:stCondLst>
                            <p:childTnLst>
                              <p:par>
                                <p:cTn id="90" presetID="2" presetClass="entr" presetSubtype="2" fill="hold" nodeType="afterEffect">
                                  <p:stCondLst>
                                    <p:cond delay="0"/>
                                  </p:stCondLst>
                                  <p:childTnLst>
                                    <p:set>
                                      <p:cBhvr>
                                        <p:cTn id="91" dur="1" fill="hold">
                                          <p:stCondLst>
                                            <p:cond delay="0"/>
                                          </p:stCondLst>
                                        </p:cTn>
                                        <p:tgtEl>
                                          <p:spTgt spid="38"/>
                                        </p:tgtEl>
                                        <p:attrNameLst>
                                          <p:attrName>style.visibility</p:attrName>
                                        </p:attrNameLst>
                                      </p:cBhvr>
                                      <p:to>
                                        <p:strVal val="visible"/>
                                      </p:to>
                                    </p:set>
                                    <p:anim calcmode="lin" valueType="num">
                                      <p:cBhvr additive="base">
                                        <p:cTn id="92" dur="500" fill="hold"/>
                                        <p:tgtEl>
                                          <p:spTgt spid="38"/>
                                        </p:tgtEl>
                                        <p:attrNameLst>
                                          <p:attrName>ppt_x</p:attrName>
                                        </p:attrNameLst>
                                      </p:cBhvr>
                                      <p:tavLst>
                                        <p:tav tm="0">
                                          <p:val>
                                            <p:strVal val="1+#ppt_w/2"/>
                                          </p:val>
                                        </p:tav>
                                        <p:tav tm="100000">
                                          <p:val>
                                            <p:strVal val="#ppt_x"/>
                                          </p:val>
                                        </p:tav>
                                      </p:tavLst>
                                    </p:anim>
                                    <p:anim calcmode="lin" valueType="num">
                                      <p:cBhvr additive="base">
                                        <p:cTn id="93" dur="500" fill="hold"/>
                                        <p:tgtEl>
                                          <p:spTgt spid="38"/>
                                        </p:tgtEl>
                                        <p:attrNameLst>
                                          <p:attrName>ppt_y</p:attrName>
                                        </p:attrNameLst>
                                      </p:cBhvr>
                                      <p:tavLst>
                                        <p:tav tm="0">
                                          <p:val>
                                            <p:strVal val="#ppt_y"/>
                                          </p:val>
                                        </p:tav>
                                        <p:tav tm="100000">
                                          <p:val>
                                            <p:strVal val="#ppt_y"/>
                                          </p:val>
                                        </p:tav>
                                      </p:tavLst>
                                    </p:anim>
                                  </p:childTnLst>
                                </p:cTn>
                              </p:par>
                            </p:childTnLst>
                          </p:cTn>
                        </p:par>
                        <p:par>
                          <p:cTn id="94" fill="hold">
                            <p:stCondLst>
                              <p:cond delay="1500"/>
                            </p:stCondLst>
                            <p:childTnLst>
                              <p:par>
                                <p:cTn id="95" presetID="53" presetClass="entr" presetSubtype="16" fill="hold" grpId="0" nodeType="afterEffect">
                                  <p:stCondLst>
                                    <p:cond delay="0"/>
                                  </p:stCondLst>
                                  <p:childTnLst>
                                    <p:set>
                                      <p:cBhvr>
                                        <p:cTn id="96" dur="1" fill="hold">
                                          <p:stCondLst>
                                            <p:cond delay="0"/>
                                          </p:stCondLst>
                                        </p:cTn>
                                        <p:tgtEl>
                                          <p:spTgt spid="46"/>
                                        </p:tgtEl>
                                        <p:attrNameLst>
                                          <p:attrName>style.visibility</p:attrName>
                                        </p:attrNameLst>
                                      </p:cBhvr>
                                      <p:to>
                                        <p:strVal val="visible"/>
                                      </p:to>
                                    </p:set>
                                    <p:anim calcmode="lin" valueType="num">
                                      <p:cBhvr>
                                        <p:cTn id="97" dur="500" fill="hold"/>
                                        <p:tgtEl>
                                          <p:spTgt spid="46"/>
                                        </p:tgtEl>
                                        <p:attrNameLst>
                                          <p:attrName>ppt_w</p:attrName>
                                        </p:attrNameLst>
                                      </p:cBhvr>
                                      <p:tavLst>
                                        <p:tav tm="0">
                                          <p:val>
                                            <p:fltVal val="0"/>
                                          </p:val>
                                        </p:tav>
                                        <p:tav tm="100000">
                                          <p:val>
                                            <p:strVal val="#ppt_w"/>
                                          </p:val>
                                        </p:tav>
                                      </p:tavLst>
                                    </p:anim>
                                    <p:anim calcmode="lin" valueType="num">
                                      <p:cBhvr>
                                        <p:cTn id="98" dur="500" fill="hold"/>
                                        <p:tgtEl>
                                          <p:spTgt spid="46"/>
                                        </p:tgtEl>
                                        <p:attrNameLst>
                                          <p:attrName>ppt_h</p:attrName>
                                        </p:attrNameLst>
                                      </p:cBhvr>
                                      <p:tavLst>
                                        <p:tav tm="0">
                                          <p:val>
                                            <p:fltVal val="0"/>
                                          </p:val>
                                        </p:tav>
                                        <p:tav tm="100000">
                                          <p:val>
                                            <p:strVal val="#ppt_h"/>
                                          </p:val>
                                        </p:tav>
                                      </p:tavLst>
                                    </p:anim>
                                    <p:animEffect transition="in" filter="fade">
                                      <p:cBhvr>
                                        <p:cTn id="99" dur="500"/>
                                        <p:tgtEl>
                                          <p:spTgt spid="46"/>
                                        </p:tgtEl>
                                      </p:cBhvr>
                                    </p:animEffect>
                                  </p:childTnLst>
                                </p:cTn>
                              </p:par>
                            </p:childTnLst>
                          </p:cTn>
                        </p:par>
                      </p:childTnLst>
                    </p:cTn>
                  </p:par>
                  <p:par>
                    <p:cTn id="100" fill="hold">
                      <p:stCondLst>
                        <p:cond delay="indefinite"/>
                      </p:stCondLst>
                      <p:childTnLst>
                        <p:par>
                          <p:cTn id="101" fill="hold">
                            <p:stCondLst>
                              <p:cond delay="0"/>
                            </p:stCondLst>
                            <p:childTnLst>
                              <p:par>
                                <p:cTn id="102" presetID="2" presetClass="entr" presetSubtype="2" fill="hold" grpId="0" nodeType="clickEffect">
                                  <p:stCondLst>
                                    <p:cond delay="0"/>
                                  </p:stCondLst>
                                  <p:childTnLst>
                                    <p:set>
                                      <p:cBhvr>
                                        <p:cTn id="103" dur="1" fill="hold">
                                          <p:stCondLst>
                                            <p:cond delay="0"/>
                                          </p:stCondLst>
                                        </p:cTn>
                                        <p:tgtEl>
                                          <p:spTgt spid="10"/>
                                        </p:tgtEl>
                                        <p:attrNameLst>
                                          <p:attrName>style.visibility</p:attrName>
                                        </p:attrNameLst>
                                      </p:cBhvr>
                                      <p:to>
                                        <p:strVal val="visible"/>
                                      </p:to>
                                    </p:set>
                                    <p:anim calcmode="lin" valueType="num">
                                      <p:cBhvr additive="base">
                                        <p:cTn id="104" dur="750" fill="hold"/>
                                        <p:tgtEl>
                                          <p:spTgt spid="10"/>
                                        </p:tgtEl>
                                        <p:attrNameLst>
                                          <p:attrName>ppt_x</p:attrName>
                                        </p:attrNameLst>
                                      </p:cBhvr>
                                      <p:tavLst>
                                        <p:tav tm="0">
                                          <p:val>
                                            <p:strVal val="1+#ppt_w/2"/>
                                          </p:val>
                                        </p:tav>
                                        <p:tav tm="100000">
                                          <p:val>
                                            <p:strVal val="#ppt_x"/>
                                          </p:val>
                                        </p:tav>
                                      </p:tavLst>
                                    </p:anim>
                                    <p:anim calcmode="lin" valueType="num">
                                      <p:cBhvr additive="base">
                                        <p:cTn id="105" dur="75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6" grpId="0" animBg="1"/>
      <p:bldP spid="17" grpId="0"/>
      <p:bldP spid="21" grpId="0" animBg="1"/>
      <p:bldP spid="25" grpId="0" animBg="1"/>
      <p:bldP spid="26" grpId="0"/>
      <p:bldP spid="28" grpId="0"/>
      <p:bldP spid="32" grpId="0"/>
      <p:bldP spid="36" grpId="0" animBg="1"/>
      <p:bldP spid="37" grpId="0"/>
      <p:bldP spid="41" grpId="0" animBg="1"/>
      <p:bldP spid="4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362DD62C-47EC-C444-968D-462F1CB2C4D6}"/>
              </a:ext>
            </a:extLst>
          </p:cNvPr>
          <p:cNvPicPr>
            <a:picLocks noChangeAspect="1"/>
          </p:cNvPicPr>
          <p:nvPr/>
        </p:nvPicPr>
        <p:blipFill>
          <a:blip r:embed="rId2">
            <a:alphaModFix amt="27000"/>
          </a:blip>
          <a:stretch>
            <a:fillRect/>
          </a:stretch>
        </p:blipFill>
        <p:spPr>
          <a:xfrm>
            <a:off x="-367800" y="-3842984"/>
            <a:ext cx="12927599" cy="12927599"/>
          </a:xfrm>
          <a:prstGeom prst="rect">
            <a:avLst/>
          </a:prstGeom>
        </p:spPr>
      </p:pic>
      <p:sp>
        <p:nvSpPr>
          <p:cNvPr id="6" name="CasellaDiTesto 5">
            <a:extLst>
              <a:ext uri="{FF2B5EF4-FFF2-40B4-BE49-F238E27FC236}">
                <a16:creationId xmlns:a16="http://schemas.microsoft.com/office/drawing/2014/main" id="{4330D0A5-C1A4-B641-9424-96ADFCEE6026}"/>
              </a:ext>
            </a:extLst>
          </p:cNvPr>
          <p:cNvSpPr txBox="1"/>
          <p:nvPr/>
        </p:nvSpPr>
        <p:spPr>
          <a:xfrm>
            <a:off x="1497104" y="2438400"/>
            <a:ext cx="9197789" cy="830997"/>
          </a:xfrm>
          <a:prstGeom prst="rect">
            <a:avLst/>
          </a:prstGeom>
          <a:noFill/>
        </p:spPr>
        <p:txBody>
          <a:bodyPr wrap="square" rtlCol="0">
            <a:spAutoFit/>
          </a:bodyPr>
          <a:lstStyle/>
          <a:p>
            <a:pPr algn="ctr"/>
            <a:r>
              <a:rPr lang="it-IT" sz="4800" b="1" dirty="0">
                <a:solidFill>
                  <a:srgbClr val="19436B"/>
                </a:solidFill>
                <a:latin typeface="Times New Roman" panose="02020603050405020304" pitchFamily="18" charset="0"/>
                <a:cs typeface="Times New Roman" panose="02020603050405020304" pitchFamily="18" charset="0"/>
              </a:rPr>
              <a:t>PROPOSTA E ACCETTAZIONE</a:t>
            </a:r>
          </a:p>
        </p:txBody>
      </p:sp>
      <p:sp>
        <p:nvSpPr>
          <p:cNvPr id="7" name="CasellaDiTesto 6">
            <a:extLst>
              <a:ext uri="{FF2B5EF4-FFF2-40B4-BE49-F238E27FC236}">
                <a16:creationId xmlns:a16="http://schemas.microsoft.com/office/drawing/2014/main" id="{8AE0A301-9863-634D-A9F4-86A1F5C41DFA}"/>
              </a:ext>
            </a:extLst>
          </p:cNvPr>
          <p:cNvSpPr txBox="1"/>
          <p:nvPr/>
        </p:nvSpPr>
        <p:spPr>
          <a:xfrm>
            <a:off x="4177551" y="3465820"/>
            <a:ext cx="3836894" cy="615553"/>
          </a:xfrm>
          <a:prstGeom prst="rect">
            <a:avLst/>
          </a:prstGeom>
          <a:noFill/>
        </p:spPr>
        <p:txBody>
          <a:bodyPr wrap="square" rtlCol="0">
            <a:spAutoFit/>
          </a:bodyPr>
          <a:lstStyle/>
          <a:p>
            <a:pPr algn="ctr"/>
            <a:r>
              <a:rPr lang="it-IT" sz="3400" dirty="0">
                <a:solidFill>
                  <a:schemeClr val="bg2">
                    <a:lumMod val="25000"/>
                  </a:schemeClr>
                </a:solidFill>
                <a:latin typeface="Times New Roman" panose="02020603050405020304" pitchFamily="18" charset="0"/>
                <a:cs typeface="Times New Roman" panose="02020603050405020304" pitchFamily="18" charset="0"/>
              </a:rPr>
              <a:t>2:201 – 2:211</a:t>
            </a:r>
          </a:p>
        </p:txBody>
      </p:sp>
    </p:spTree>
    <p:extLst>
      <p:ext uri="{BB962C8B-B14F-4D97-AF65-F5344CB8AC3E}">
        <p14:creationId xmlns:p14="http://schemas.microsoft.com/office/powerpoint/2010/main" val="4451477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asellaDiTesto 20">
            <a:extLst>
              <a:ext uri="{FF2B5EF4-FFF2-40B4-BE49-F238E27FC236}">
                <a16:creationId xmlns:a16="http://schemas.microsoft.com/office/drawing/2014/main" id="{6DE26AAB-3757-1C47-9F4A-28914839CA75}"/>
              </a:ext>
            </a:extLst>
          </p:cNvPr>
          <p:cNvSpPr txBox="1"/>
          <p:nvPr/>
        </p:nvSpPr>
        <p:spPr>
          <a:xfrm>
            <a:off x="1405047" y="1305341"/>
            <a:ext cx="9381905" cy="3816429"/>
          </a:xfrm>
          <a:prstGeom prst="rect">
            <a:avLst/>
          </a:prstGeom>
          <a:noFill/>
        </p:spPr>
        <p:txBody>
          <a:bodyPr wrap="square" rtlCol="0">
            <a:spAutoFit/>
          </a:bodyPr>
          <a:lstStyle/>
          <a:p>
            <a:r>
              <a:rPr lang="it-IT" sz="4000" b="1" dirty="0">
                <a:solidFill>
                  <a:srgbClr val="19436B"/>
                </a:solidFill>
                <a:latin typeface="Times New Roman" panose="02020603050405020304" pitchFamily="18" charset="0"/>
                <a:cs typeface="Times New Roman" panose="02020603050405020304" pitchFamily="18" charset="0"/>
              </a:rPr>
              <a:t>OFFER</a:t>
            </a:r>
            <a:r>
              <a:rPr lang="it-IT" sz="2400" dirty="0">
                <a:latin typeface="Times New Roman" panose="02020603050405020304" pitchFamily="18" charset="0"/>
                <a:cs typeface="Times New Roman" panose="02020603050405020304" pitchFamily="18" charset="0"/>
              </a:rPr>
              <a:t> </a:t>
            </a:r>
            <a:r>
              <a:rPr lang="it-IT" sz="2400" b="1" dirty="0">
                <a:solidFill>
                  <a:schemeClr val="bg2">
                    <a:lumMod val="25000"/>
                  </a:schemeClr>
                </a:solidFill>
                <a:latin typeface="Times New Roman" panose="02020603050405020304" pitchFamily="18" charset="0"/>
                <a:cs typeface="Times New Roman" panose="02020603050405020304" pitchFamily="18" charset="0"/>
              </a:rPr>
              <a:t>– Art. 2:201</a:t>
            </a:r>
            <a:endParaRPr lang="it-IT" sz="2400" dirty="0">
              <a:latin typeface="Times New Roman" panose="02020603050405020304" pitchFamily="18" charset="0"/>
              <a:cs typeface="Times New Roman" panose="02020603050405020304" pitchFamily="18" charset="0"/>
            </a:endParaRPr>
          </a:p>
          <a:p>
            <a:endParaRPr lang="it-IT" sz="1400" dirty="0">
              <a:latin typeface="Times New Roman" panose="02020603050405020304" pitchFamily="18" charset="0"/>
              <a:cs typeface="Times New Roman" panose="02020603050405020304" pitchFamily="18" charset="0"/>
            </a:endParaRPr>
          </a:p>
          <a:p>
            <a:pPr marL="457200" indent="-457200">
              <a:buAutoNum type="arabicPeriod"/>
            </a:pPr>
            <a:r>
              <a:rPr lang="it-IT" sz="2400" dirty="0">
                <a:latin typeface="Times New Roman" panose="02020603050405020304" pitchFamily="18" charset="0"/>
                <a:cs typeface="Times New Roman" panose="02020603050405020304" pitchFamily="18" charset="0"/>
              </a:rPr>
              <a:t>A </a:t>
            </a:r>
            <a:r>
              <a:rPr lang="it-IT" sz="2400" dirty="0" err="1">
                <a:latin typeface="Times New Roman" panose="02020603050405020304" pitchFamily="18" charset="0"/>
                <a:cs typeface="Times New Roman" panose="02020603050405020304" pitchFamily="18" charset="0"/>
              </a:rPr>
              <a:t>proposal</a:t>
            </a:r>
            <a:r>
              <a:rPr lang="it-IT" sz="2400" dirty="0">
                <a:latin typeface="Times New Roman" panose="02020603050405020304" pitchFamily="18" charset="0"/>
                <a:cs typeface="Times New Roman" panose="02020603050405020304" pitchFamily="18" charset="0"/>
              </a:rPr>
              <a:t> </a:t>
            </a:r>
            <a:r>
              <a:rPr lang="it-IT" sz="2400" dirty="0" err="1">
                <a:latin typeface="Times New Roman" panose="02020603050405020304" pitchFamily="18" charset="0"/>
                <a:cs typeface="Times New Roman" panose="02020603050405020304" pitchFamily="18" charset="0"/>
              </a:rPr>
              <a:t>amounts</a:t>
            </a:r>
            <a:r>
              <a:rPr lang="it-IT" sz="2400" dirty="0">
                <a:latin typeface="Times New Roman" panose="02020603050405020304" pitchFamily="18" charset="0"/>
                <a:cs typeface="Times New Roman" panose="02020603050405020304" pitchFamily="18" charset="0"/>
              </a:rPr>
              <a:t> to an </a:t>
            </a:r>
            <a:r>
              <a:rPr lang="it-IT" sz="2400" dirty="0" err="1">
                <a:latin typeface="Times New Roman" panose="02020603050405020304" pitchFamily="18" charset="0"/>
                <a:cs typeface="Times New Roman" panose="02020603050405020304" pitchFamily="18" charset="0"/>
              </a:rPr>
              <a:t>offer</a:t>
            </a:r>
            <a:r>
              <a:rPr lang="it-IT" sz="2400" dirty="0">
                <a:latin typeface="Times New Roman" panose="02020603050405020304" pitchFamily="18" charset="0"/>
                <a:cs typeface="Times New Roman" panose="02020603050405020304" pitchFamily="18" charset="0"/>
              </a:rPr>
              <a:t> </a:t>
            </a:r>
            <a:r>
              <a:rPr lang="it-IT" sz="2400" dirty="0" err="1">
                <a:latin typeface="Times New Roman" panose="02020603050405020304" pitchFamily="18" charset="0"/>
                <a:cs typeface="Times New Roman" panose="02020603050405020304" pitchFamily="18" charset="0"/>
              </a:rPr>
              <a:t>if</a:t>
            </a:r>
            <a:r>
              <a:rPr lang="it-IT" sz="2400" dirty="0">
                <a:latin typeface="Times New Roman" panose="02020603050405020304" pitchFamily="18" charset="0"/>
                <a:cs typeface="Times New Roman" panose="02020603050405020304" pitchFamily="18" charset="0"/>
              </a:rPr>
              <a:t>:</a:t>
            </a:r>
          </a:p>
          <a:p>
            <a:pPr marL="914400" lvl="1" indent="-457200">
              <a:buFont typeface="+mj-lt"/>
              <a:buAutoNum type="alphaLcParenR"/>
            </a:pPr>
            <a:r>
              <a:rPr lang="it-IT" sz="2400" dirty="0" err="1">
                <a:latin typeface="Times New Roman" panose="02020603050405020304" pitchFamily="18" charset="0"/>
                <a:cs typeface="Times New Roman" panose="02020603050405020304" pitchFamily="18" charset="0"/>
              </a:rPr>
              <a:t>it</a:t>
            </a:r>
            <a:r>
              <a:rPr lang="it-IT" sz="2400" dirty="0">
                <a:latin typeface="Times New Roman" panose="02020603050405020304" pitchFamily="18" charset="0"/>
                <a:cs typeface="Times New Roman" panose="02020603050405020304" pitchFamily="18" charset="0"/>
              </a:rPr>
              <a:t> </a:t>
            </a:r>
            <a:r>
              <a:rPr lang="it-IT" sz="2400" dirty="0" err="1">
                <a:latin typeface="Times New Roman" panose="02020603050405020304" pitchFamily="18" charset="0"/>
                <a:cs typeface="Times New Roman" panose="02020603050405020304" pitchFamily="18" charset="0"/>
              </a:rPr>
              <a:t>is</a:t>
            </a:r>
            <a:r>
              <a:rPr lang="it-IT" sz="2400" dirty="0">
                <a:latin typeface="Times New Roman" panose="02020603050405020304" pitchFamily="18" charset="0"/>
                <a:cs typeface="Times New Roman" panose="02020603050405020304" pitchFamily="18" charset="0"/>
              </a:rPr>
              <a:t> </a:t>
            </a:r>
            <a:r>
              <a:rPr lang="it-IT" sz="2400" dirty="0" err="1">
                <a:latin typeface="Times New Roman" panose="02020603050405020304" pitchFamily="18" charset="0"/>
                <a:cs typeface="Times New Roman" panose="02020603050405020304" pitchFamily="18" charset="0"/>
              </a:rPr>
              <a:t>intended</a:t>
            </a:r>
            <a:r>
              <a:rPr lang="it-IT" sz="2400" dirty="0">
                <a:latin typeface="Times New Roman" panose="02020603050405020304" pitchFamily="18" charset="0"/>
                <a:cs typeface="Times New Roman" panose="02020603050405020304" pitchFamily="18" charset="0"/>
              </a:rPr>
              <a:t> to </a:t>
            </a:r>
            <a:r>
              <a:rPr lang="it-IT" sz="2400" dirty="0" err="1">
                <a:latin typeface="Times New Roman" panose="02020603050405020304" pitchFamily="18" charset="0"/>
                <a:cs typeface="Times New Roman" panose="02020603050405020304" pitchFamily="18" charset="0"/>
              </a:rPr>
              <a:t>result</a:t>
            </a:r>
            <a:r>
              <a:rPr lang="it-IT" sz="2400" dirty="0">
                <a:latin typeface="Times New Roman" panose="02020603050405020304" pitchFamily="18" charset="0"/>
                <a:cs typeface="Times New Roman" panose="02020603050405020304" pitchFamily="18" charset="0"/>
              </a:rPr>
              <a:t> in a </a:t>
            </a:r>
            <a:r>
              <a:rPr lang="it-IT" sz="2400" dirty="0" err="1">
                <a:latin typeface="Times New Roman" panose="02020603050405020304" pitchFamily="18" charset="0"/>
                <a:cs typeface="Times New Roman" panose="02020603050405020304" pitchFamily="18" charset="0"/>
              </a:rPr>
              <a:t>contract</a:t>
            </a:r>
            <a:r>
              <a:rPr lang="it-IT" sz="2400" dirty="0">
                <a:latin typeface="Times New Roman" panose="02020603050405020304" pitchFamily="18" charset="0"/>
                <a:cs typeface="Times New Roman" panose="02020603050405020304" pitchFamily="18" charset="0"/>
              </a:rPr>
              <a:t> </a:t>
            </a:r>
            <a:r>
              <a:rPr lang="it-IT" sz="2400" dirty="0" err="1">
                <a:latin typeface="Times New Roman" panose="02020603050405020304" pitchFamily="18" charset="0"/>
                <a:cs typeface="Times New Roman" panose="02020603050405020304" pitchFamily="18" charset="0"/>
              </a:rPr>
              <a:t>if</a:t>
            </a:r>
            <a:r>
              <a:rPr lang="it-IT" sz="2400" dirty="0">
                <a:latin typeface="Times New Roman" panose="02020603050405020304" pitchFamily="18" charset="0"/>
                <a:cs typeface="Times New Roman" panose="02020603050405020304" pitchFamily="18" charset="0"/>
              </a:rPr>
              <a:t> the </a:t>
            </a:r>
            <a:r>
              <a:rPr lang="it-IT" sz="2400" dirty="0" err="1">
                <a:latin typeface="Times New Roman" panose="02020603050405020304" pitchFamily="18" charset="0"/>
                <a:cs typeface="Times New Roman" panose="02020603050405020304" pitchFamily="18" charset="0"/>
              </a:rPr>
              <a:t>other</a:t>
            </a:r>
            <a:r>
              <a:rPr lang="it-IT" sz="2400" dirty="0">
                <a:latin typeface="Times New Roman" panose="02020603050405020304" pitchFamily="18" charset="0"/>
                <a:cs typeface="Times New Roman" panose="02020603050405020304" pitchFamily="18" charset="0"/>
              </a:rPr>
              <a:t> party </a:t>
            </a:r>
            <a:r>
              <a:rPr lang="it-IT" sz="2400" dirty="0" err="1">
                <a:latin typeface="Times New Roman" panose="02020603050405020304" pitchFamily="18" charset="0"/>
                <a:cs typeface="Times New Roman" panose="02020603050405020304" pitchFamily="18" charset="0"/>
              </a:rPr>
              <a:t>accepts</a:t>
            </a:r>
            <a:r>
              <a:rPr lang="it-IT" sz="2400" dirty="0">
                <a:latin typeface="Times New Roman" panose="02020603050405020304" pitchFamily="18" charset="0"/>
                <a:cs typeface="Times New Roman" panose="02020603050405020304" pitchFamily="18" charset="0"/>
              </a:rPr>
              <a:t> </a:t>
            </a:r>
            <a:r>
              <a:rPr lang="it-IT" sz="2400" dirty="0" err="1">
                <a:latin typeface="Times New Roman" panose="02020603050405020304" pitchFamily="18" charset="0"/>
                <a:cs typeface="Times New Roman" panose="02020603050405020304" pitchFamily="18" charset="0"/>
              </a:rPr>
              <a:t>it</a:t>
            </a:r>
            <a:r>
              <a:rPr lang="it-IT" sz="2400" dirty="0">
                <a:latin typeface="Times New Roman" panose="02020603050405020304" pitchFamily="18" charset="0"/>
                <a:cs typeface="Times New Roman" panose="02020603050405020304" pitchFamily="18" charset="0"/>
              </a:rPr>
              <a:t>, and</a:t>
            </a:r>
          </a:p>
          <a:p>
            <a:pPr marL="914400" lvl="1" indent="-457200">
              <a:buFont typeface="+mj-lt"/>
              <a:buAutoNum type="alphaLcParenR"/>
            </a:pPr>
            <a:r>
              <a:rPr lang="it-IT" sz="2400" dirty="0" err="1">
                <a:latin typeface="Times New Roman" panose="02020603050405020304" pitchFamily="18" charset="0"/>
                <a:cs typeface="Times New Roman" panose="02020603050405020304" pitchFamily="18" charset="0"/>
              </a:rPr>
              <a:t>it</a:t>
            </a:r>
            <a:r>
              <a:rPr lang="it-IT" sz="2400" dirty="0">
                <a:latin typeface="Times New Roman" panose="02020603050405020304" pitchFamily="18" charset="0"/>
                <a:cs typeface="Times New Roman" panose="02020603050405020304" pitchFamily="18" charset="0"/>
              </a:rPr>
              <a:t> </a:t>
            </a:r>
            <a:r>
              <a:rPr lang="it-IT" sz="2400" dirty="0" err="1">
                <a:latin typeface="Times New Roman" panose="02020603050405020304" pitchFamily="18" charset="0"/>
                <a:cs typeface="Times New Roman" panose="02020603050405020304" pitchFamily="18" charset="0"/>
              </a:rPr>
              <a:t>contains</a:t>
            </a:r>
            <a:r>
              <a:rPr lang="it-IT" sz="2400" dirty="0">
                <a:latin typeface="Times New Roman" panose="02020603050405020304" pitchFamily="18" charset="0"/>
                <a:cs typeface="Times New Roman" panose="02020603050405020304" pitchFamily="18" charset="0"/>
              </a:rPr>
              <a:t> </a:t>
            </a:r>
            <a:r>
              <a:rPr lang="it-IT" sz="2400" dirty="0" err="1">
                <a:latin typeface="Times New Roman" panose="02020603050405020304" pitchFamily="18" charset="0"/>
                <a:cs typeface="Times New Roman" panose="02020603050405020304" pitchFamily="18" charset="0"/>
              </a:rPr>
              <a:t>sufficiently</a:t>
            </a:r>
            <a:r>
              <a:rPr lang="it-IT" sz="2400" dirty="0">
                <a:latin typeface="Times New Roman" panose="02020603050405020304" pitchFamily="18" charset="0"/>
                <a:cs typeface="Times New Roman" panose="02020603050405020304" pitchFamily="18" charset="0"/>
              </a:rPr>
              <a:t> definite </a:t>
            </a:r>
            <a:r>
              <a:rPr lang="it-IT" sz="2400" dirty="0" err="1">
                <a:latin typeface="Times New Roman" panose="02020603050405020304" pitchFamily="18" charset="0"/>
                <a:cs typeface="Times New Roman" panose="02020603050405020304" pitchFamily="18" charset="0"/>
              </a:rPr>
              <a:t>terms</a:t>
            </a:r>
            <a:r>
              <a:rPr lang="it-IT" sz="2400" dirty="0">
                <a:latin typeface="Times New Roman" panose="02020603050405020304" pitchFamily="18" charset="0"/>
                <a:cs typeface="Times New Roman" panose="02020603050405020304" pitchFamily="18" charset="0"/>
              </a:rPr>
              <a:t> to </a:t>
            </a:r>
            <a:r>
              <a:rPr lang="it-IT" sz="2400" dirty="0" err="1">
                <a:latin typeface="Times New Roman" panose="02020603050405020304" pitchFamily="18" charset="0"/>
                <a:cs typeface="Times New Roman" panose="02020603050405020304" pitchFamily="18" charset="0"/>
              </a:rPr>
              <a:t>form</a:t>
            </a:r>
            <a:r>
              <a:rPr lang="it-IT" sz="2400" dirty="0">
                <a:latin typeface="Times New Roman" panose="02020603050405020304" pitchFamily="18" charset="0"/>
                <a:cs typeface="Times New Roman" panose="02020603050405020304" pitchFamily="18" charset="0"/>
              </a:rPr>
              <a:t> a </a:t>
            </a:r>
            <a:r>
              <a:rPr lang="it-IT" sz="2400" dirty="0" err="1">
                <a:latin typeface="Times New Roman" panose="02020603050405020304" pitchFamily="18" charset="0"/>
                <a:cs typeface="Times New Roman" panose="02020603050405020304" pitchFamily="18" charset="0"/>
              </a:rPr>
              <a:t>contract</a:t>
            </a:r>
            <a:r>
              <a:rPr lang="it-IT" sz="2400" dirty="0">
                <a:latin typeface="Times New Roman" panose="02020603050405020304" pitchFamily="18" charset="0"/>
                <a:cs typeface="Times New Roman" panose="02020603050405020304" pitchFamily="18" charset="0"/>
              </a:rPr>
              <a:t>.</a:t>
            </a:r>
          </a:p>
          <a:p>
            <a:pPr marL="914400" lvl="1" indent="-457200">
              <a:buFont typeface="+mj-lt"/>
              <a:buAutoNum type="alphaLcParenR"/>
            </a:pPr>
            <a:endParaRPr lang="it-IT" sz="800" dirty="0">
              <a:latin typeface="Times New Roman" panose="02020603050405020304" pitchFamily="18" charset="0"/>
              <a:cs typeface="Times New Roman" panose="02020603050405020304" pitchFamily="18" charset="0"/>
            </a:endParaRPr>
          </a:p>
          <a:p>
            <a:pPr marL="457200" indent="-457200">
              <a:buAutoNum type="arabicPeriod"/>
            </a:pPr>
            <a:r>
              <a:rPr lang="it-IT" sz="2000" dirty="0">
                <a:latin typeface="Times New Roman" panose="02020603050405020304" pitchFamily="18" charset="0"/>
                <a:cs typeface="Times New Roman" panose="02020603050405020304" pitchFamily="18" charset="0"/>
              </a:rPr>
              <a:t>An </a:t>
            </a:r>
            <a:r>
              <a:rPr lang="it-IT" sz="2000" dirty="0" err="1">
                <a:latin typeface="Times New Roman" panose="02020603050405020304" pitchFamily="18" charset="0"/>
                <a:cs typeface="Times New Roman" panose="02020603050405020304" pitchFamily="18" charset="0"/>
              </a:rPr>
              <a:t>offer</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may</a:t>
            </a:r>
            <a:r>
              <a:rPr lang="it-IT" sz="2000" dirty="0">
                <a:latin typeface="Times New Roman" panose="02020603050405020304" pitchFamily="18" charset="0"/>
                <a:cs typeface="Times New Roman" panose="02020603050405020304" pitchFamily="18" charset="0"/>
              </a:rPr>
              <a:t> be made to </a:t>
            </a:r>
            <a:r>
              <a:rPr lang="it-IT" sz="2000" dirty="0" err="1">
                <a:latin typeface="Times New Roman" panose="02020603050405020304" pitchFamily="18" charset="0"/>
                <a:cs typeface="Times New Roman" panose="02020603050405020304" pitchFamily="18" charset="0"/>
              </a:rPr>
              <a:t>one</a:t>
            </a:r>
            <a:r>
              <a:rPr lang="it-IT" sz="2000" dirty="0">
                <a:latin typeface="Times New Roman" panose="02020603050405020304" pitchFamily="18" charset="0"/>
                <a:cs typeface="Times New Roman" panose="02020603050405020304" pitchFamily="18" charset="0"/>
              </a:rPr>
              <a:t> or more </a:t>
            </a:r>
            <a:r>
              <a:rPr lang="it-IT" sz="2000" dirty="0" err="1">
                <a:latin typeface="Times New Roman" panose="02020603050405020304" pitchFamily="18" charset="0"/>
                <a:cs typeface="Times New Roman" panose="02020603050405020304" pitchFamily="18" charset="0"/>
              </a:rPr>
              <a:t>specific</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persons</a:t>
            </a:r>
            <a:r>
              <a:rPr lang="it-IT" sz="2000" dirty="0">
                <a:latin typeface="Times New Roman" panose="02020603050405020304" pitchFamily="18" charset="0"/>
                <a:cs typeface="Times New Roman" panose="02020603050405020304" pitchFamily="18" charset="0"/>
              </a:rPr>
              <a:t> or to the public. </a:t>
            </a:r>
          </a:p>
          <a:p>
            <a:pPr marL="457200" indent="-457200">
              <a:buAutoNum type="arabicPeriod"/>
            </a:pPr>
            <a:endParaRPr lang="it-IT" sz="800" dirty="0">
              <a:latin typeface="Times New Roman" panose="02020603050405020304" pitchFamily="18" charset="0"/>
              <a:cs typeface="Times New Roman" panose="02020603050405020304" pitchFamily="18" charset="0"/>
            </a:endParaRPr>
          </a:p>
          <a:p>
            <a:pPr marL="457200" indent="-457200">
              <a:buAutoNum type="arabicPeriod"/>
            </a:pPr>
            <a:r>
              <a:rPr lang="it-IT" sz="2000" dirty="0">
                <a:latin typeface="Times New Roman" panose="02020603050405020304" pitchFamily="18" charset="0"/>
                <a:cs typeface="Times New Roman" panose="02020603050405020304" pitchFamily="18" charset="0"/>
              </a:rPr>
              <a:t>A </a:t>
            </a:r>
            <a:r>
              <a:rPr lang="it-IT" sz="2000" dirty="0" err="1">
                <a:latin typeface="Times New Roman" panose="02020603050405020304" pitchFamily="18" charset="0"/>
                <a:cs typeface="Times New Roman" panose="02020603050405020304" pitchFamily="18" charset="0"/>
              </a:rPr>
              <a:t>proposal</a:t>
            </a:r>
            <a:r>
              <a:rPr lang="it-IT" sz="2000" dirty="0">
                <a:latin typeface="Times New Roman" panose="02020603050405020304" pitchFamily="18" charset="0"/>
                <a:cs typeface="Times New Roman" panose="02020603050405020304" pitchFamily="18" charset="0"/>
              </a:rPr>
              <a:t> to </a:t>
            </a:r>
            <a:r>
              <a:rPr lang="it-IT" sz="2000" dirty="0" err="1">
                <a:latin typeface="Times New Roman" panose="02020603050405020304" pitchFamily="18" charset="0"/>
                <a:cs typeface="Times New Roman" panose="02020603050405020304" pitchFamily="18" charset="0"/>
              </a:rPr>
              <a:t>supply</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goods</a:t>
            </a:r>
            <a:r>
              <a:rPr lang="it-IT" sz="2000" dirty="0">
                <a:latin typeface="Times New Roman" panose="02020603050405020304" pitchFamily="18" charset="0"/>
                <a:cs typeface="Times New Roman" panose="02020603050405020304" pitchFamily="18" charset="0"/>
              </a:rPr>
              <a:t> or </a:t>
            </a:r>
            <a:r>
              <a:rPr lang="it-IT" sz="2000" dirty="0" err="1">
                <a:latin typeface="Times New Roman" panose="02020603050405020304" pitchFamily="18" charset="0"/>
                <a:cs typeface="Times New Roman" panose="02020603050405020304" pitchFamily="18" charset="0"/>
              </a:rPr>
              <a:t>services</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at</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stated</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prices</a:t>
            </a:r>
            <a:r>
              <a:rPr lang="it-IT" sz="2000" dirty="0">
                <a:latin typeface="Times New Roman" panose="02020603050405020304" pitchFamily="18" charset="0"/>
                <a:cs typeface="Times New Roman" panose="02020603050405020304" pitchFamily="18" charset="0"/>
              </a:rPr>
              <a:t> made by a </a:t>
            </a:r>
            <a:r>
              <a:rPr lang="it-IT" sz="2000" dirty="0" err="1">
                <a:latin typeface="Times New Roman" panose="02020603050405020304" pitchFamily="18" charset="0"/>
                <a:cs typeface="Times New Roman" panose="02020603050405020304" pitchFamily="18" charset="0"/>
              </a:rPr>
              <a:t>professional</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supplier</a:t>
            </a:r>
            <a:r>
              <a:rPr lang="it-IT" sz="2000" dirty="0">
                <a:latin typeface="Times New Roman" panose="02020603050405020304" pitchFamily="18" charset="0"/>
                <a:cs typeface="Times New Roman" panose="02020603050405020304" pitchFamily="18" charset="0"/>
              </a:rPr>
              <a:t> in a public </a:t>
            </a:r>
            <a:r>
              <a:rPr lang="it-IT" sz="2000" dirty="0" err="1">
                <a:latin typeface="Times New Roman" panose="02020603050405020304" pitchFamily="18" charset="0"/>
                <a:cs typeface="Times New Roman" panose="02020603050405020304" pitchFamily="18" charset="0"/>
              </a:rPr>
              <a:t>advertisement</a:t>
            </a:r>
            <a:r>
              <a:rPr lang="it-IT" sz="2000" dirty="0">
                <a:latin typeface="Times New Roman" panose="02020603050405020304" pitchFamily="18" charset="0"/>
                <a:cs typeface="Times New Roman" panose="02020603050405020304" pitchFamily="18" charset="0"/>
              </a:rPr>
              <a:t> or a </a:t>
            </a:r>
            <a:r>
              <a:rPr lang="it-IT" sz="2000" dirty="0" err="1">
                <a:latin typeface="Times New Roman" panose="02020603050405020304" pitchFamily="18" charset="0"/>
                <a:cs typeface="Times New Roman" panose="02020603050405020304" pitchFamily="18" charset="0"/>
              </a:rPr>
              <a:t>catalogue</a:t>
            </a:r>
            <a:r>
              <a:rPr lang="it-IT" sz="2000" dirty="0">
                <a:latin typeface="Times New Roman" panose="02020603050405020304" pitchFamily="18" charset="0"/>
                <a:cs typeface="Times New Roman" panose="02020603050405020304" pitchFamily="18" charset="0"/>
              </a:rPr>
              <a:t>, or by a display of </a:t>
            </a:r>
            <a:r>
              <a:rPr lang="it-IT" sz="2000" dirty="0" err="1">
                <a:latin typeface="Times New Roman" panose="02020603050405020304" pitchFamily="18" charset="0"/>
                <a:cs typeface="Times New Roman" panose="02020603050405020304" pitchFamily="18" charset="0"/>
              </a:rPr>
              <a:t>goods</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is</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presumed</a:t>
            </a:r>
            <a:r>
              <a:rPr lang="it-IT" sz="2000" dirty="0">
                <a:latin typeface="Times New Roman" panose="02020603050405020304" pitchFamily="18" charset="0"/>
                <a:cs typeface="Times New Roman" panose="02020603050405020304" pitchFamily="18" charset="0"/>
              </a:rPr>
              <a:t> to be an </a:t>
            </a:r>
            <a:r>
              <a:rPr lang="it-IT" sz="2000" dirty="0" err="1">
                <a:latin typeface="Times New Roman" panose="02020603050405020304" pitchFamily="18" charset="0"/>
                <a:cs typeface="Times New Roman" panose="02020603050405020304" pitchFamily="18" charset="0"/>
              </a:rPr>
              <a:t>offer</a:t>
            </a:r>
            <a:r>
              <a:rPr lang="it-IT" sz="2000" dirty="0">
                <a:latin typeface="Times New Roman" panose="02020603050405020304" pitchFamily="18" charset="0"/>
                <a:cs typeface="Times New Roman" panose="02020603050405020304" pitchFamily="18" charset="0"/>
              </a:rPr>
              <a:t> to sell or </a:t>
            </a:r>
            <a:r>
              <a:rPr lang="it-IT" sz="2000" dirty="0" err="1">
                <a:latin typeface="Times New Roman" panose="02020603050405020304" pitchFamily="18" charset="0"/>
                <a:cs typeface="Times New Roman" panose="02020603050405020304" pitchFamily="18" charset="0"/>
              </a:rPr>
              <a:t>supply</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at</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that</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price</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until</a:t>
            </a:r>
            <a:r>
              <a:rPr lang="it-IT" sz="2000" dirty="0">
                <a:latin typeface="Times New Roman" panose="02020603050405020304" pitchFamily="18" charset="0"/>
                <a:cs typeface="Times New Roman" panose="02020603050405020304" pitchFamily="18" charset="0"/>
              </a:rPr>
              <a:t> the stock of </a:t>
            </a:r>
            <a:r>
              <a:rPr lang="it-IT" sz="2000" dirty="0" err="1">
                <a:latin typeface="Times New Roman" panose="02020603050405020304" pitchFamily="18" charset="0"/>
                <a:cs typeface="Times New Roman" panose="02020603050405020304" pitchFamily="18" charset="0"/>
              </a:rPr>
              <a:t>goods</a:t>
            </a:r>
            <a:r>
              <a:rPr lang="it-IT" sz="2000" dirty="0">
                <a:latin typeface="Times New Roman" panose="02020603050405020304" pitchFamily="18" charset="0"/>
                <a:cs typeface="Times New Roman" panose="02020603050405020304" pitchFamily="18" charset="0"/>
              </a:rPr>
              <a:t>, or the </a:t>
            </a:r>
            <a:r>
              <a:rPr lang="it-IT" sz="2000" dirty="0" err="1">
                <a:latin typeface="Times New Roman" panose="02020603050405020304" pitchFamily="18" charset="0"/>
                <a:cs typeface="Times New Roman" panose="02020603050405020304" pitchFamily="18" charset="0"/>
              </a:rPr>
              <a:t>supplier's</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capacity</a:t>
            </a:r>
            <a:r>
              <a:rPr lang="it-IT" sz="2000" dirty="0">
                <a:latin typeface="Times New Roman" panose="02020603050405020304" pitchFamily="18" charset="0"/>
                <a:cs typeface="Times New Roman" panose="02020603050405020304" pitchFamily="18" charset="0"/>
              </a:rPr>
              <a:t> to </a:t>
            </a:r>
            <a:r>
              <a:rPr lang="it-IT" sz="2000" dirty="0" err="1">
                <a:latin typeface="Times New Roman" panose="02020603050405020304" pitchFamily="18" charset="0"/>
                <a:cs typeface="Times New Roman" panose="02020603050405020304" pitchFamily="18" charset="0"/>
              </a:rPr>
              <a:t>supply</a:t>
            </a:r>
            <a:r>
              <a:rPr lang="it-IT" sz="2000" dirty="0">
                <a:latin typeface="Times New Roman" panose="02020603050405020304" pitchFamily="18" charset="0"/>
                <a:cs typeface="Times New Roman" panose="02020603050405020304" pitchFamily="18" charset="0"/>
              </a:rPr>
              <a:t> the service, </a:t>
            </a:r>
            <a:r>
              <a:rPr lang="it-IT" sz="2000" dirty="0" err="1">
                <a:latin typeface="Times New Roman" panose="02020603050405020304" pitchFamily="18" charset="0"/>
                <a:cs typeface="Times New Roman" panose="02020603050405020304" pitchFamily="18" charset="0"/>
              </a:rPr>
              <a:t>is</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exhausted</a:t>
            </a:r>
            <a:r>
              <a:rPr lang="it-IT" sz="2000" dirty="0">
                <a:latin typeface="Times New Roman" panose="02020603050405020304" pitchFamily="18" charset="0"/>
                <a:cs typeface="Times New Roman" panose="02020603050405020304" pitchFamily="18" charset="0"/>
              </a:rPr>
              <a:t>. </a:t>
            </a:r>
          </a:p>
        </p:txBody>
      </p:sp>
      <p:grpSp>
        <p:nvGrpSpPr>
          <p:cNvPr id="20" name="Gruppo 19">
            <a:extLst>
              <a:ext uri="{FF2B5EF4-FFF2-40B4-BE49-F238E27FC236}">
                <a16:creationId xmlns:a16="http://schemas.microsoft.com/office/drawing/2014/main" id="{A8D757D2-F583-ED4C-8ADE-27DFC4F45721}"/>
              </a:ext>
            </a:extLst>
          </p:cNvPr>
          <p:cNvGrpSpPr/>
          <p:nvPr/>
        </p:nvGrpSpPr>
        <p:grpSpPr>
          <a:xfrm>
            <a:off x="-72789" y="-6482568"/>
            <a:ext cx="12337576" cy="6748818"/>
            <a:chOff x="-72788" y="-507129"/>
            <a:chExt cx="12337576" cy="6748818"/>
          </a:xfrm>
          <a:effectLst>
            <a:outerShdw blurRad="50800" dist="50800" dir="5400000" algn="t" rotWithShape="0">
              <a:prstClr val="black">
                <a:alpha val="40000"/>
              </a:prstClr>
            </a:outerShdw>
          </a:effectLst>
        </p:grpSpPr>
        <p:sp>
          <p:nvSpPr>
            <p:cNvPr id="15" name="Rettangolo 14">
              <a:extLst>
                <a:ext uri="{FF2B5EF4-FFF2-40B4-BE49-F238E27FC236}">
                  <a16:creationId xmlns:a16="http://schemas.microsoft.com/office/drawing/2014/main" id="{BDBBE6CF-3123-7549-9609-A0E286B57D95}"/>
                </a:ext>
              </a:extLst>
            </p:cNvPr>
            <p:cNvSpPr/>
            <p:nvPr/>
          </p:nvSpPr>
          <p:spPr>
            <a:xfrm>
              <a:off x="1289713" y="616311"/>
              <a:ext cx="4237823" cy="707886"/>
            </a:xfrm>
            <a:prstGeom prst="rect">
              <a:avLst/>
            </a:prstGeom>
          </p:spPr>
          <p:txBody>
            <a:bodyPr wrap="square">
              <a:spAutoFit/>
            </a:bodyPr>
            <a:lstStyle/>
            <a:p>
              <a:r>
                <a:rPr lang="it-IT" sz="4000" b="1" dirty="0">
                  <a:solidFill>
                    <a:srgbClr val="19436B"/>
                  </a:solidFill>
                  <a:latin typeface="Times New Roman" panose="02020603050405020304" pitchFamily="18" charset="0"/>
                  <a:cs typeface="Times New Roman" panose="02020603050405020304" pitchFamily="18" charset="0"/>
                </a:rPr>
                <a:t>PROPOSTA</a:t>
              </a:r>
              <a:endParaRPr lang="it-IT" dirty="0"/>
            </a:p>
          </p:txBody>
        </p:sp>
        <p:sp>
          <p:nvSpPr>
            <p:cNvPr id="17" name="Rettangolo 16">
              <a:extLst>
                <a:ext uri="{FF2B5EF4-FFF2-40B4-BE49-F238E27FC236}">
                  <a16:creationId xmlns:a16="http://schemas.microsoft.com/office/drawing/2014/main" id="{E5747EED-469B-8548-BB8B-76978F33AD53}"/>
                </a:ext>
              </a:extLst>
            </p:cNvPr>
            <p:cNvSpPr/>
            <p:nvPr/>
          </p:nvSpPr>
          <p:spPr>
            <a:xfrm>
              <a:off x="1289713" y="1324197"/>
              <a:ext cx="9758149" cy="4662815"/>
            </a:xfrm>
            <a:prstGeom prst="rect">
              <a:avLst/>
            </a:prstGeom>
          </p:spPr>
          <p:txBody>
            <a:bodyPr wrap="square">
              <a:spAutoFit/>
            </a:bodyPr>
            <a:lstStyle/>
            <a:p>
              <a:pPr marL="514350" indent="-514350">
                <a:buFont typeface="+mj-lt"/>
                <a:buAutoNum type="arabicPeriod"/>
              </a:pPr>
              <a:r>
                <a:rPr lang="it-IT" sz="2700" dirty="0">
                  <a:latin typeface="Times New Roman" panose="02020603050405020304" pitchFamily="18" charset="0"/>
                  <a:cs typeface="Times New Roman" panose="02020603050405020304" pitchFamily="18" charset="0"/>
                </a:rPr>
                <a:t>A </a:t>
              </a:r>
              <a:r>
                <a:rPr lang="it-IT" sz="2700" dirty="0" err="1">
                  <a:latin typeface="Times New Roman" panose="02020603050405020304" pitchFamily="18" charset="0"/>
                  <a:cs typeface="Times New Roman" panose="02020603050405020304" pitchFamily="18" charset="0"/>
                </a:rPr>
                <a:t>proposal</a:t>
              </a:r>
              <a:r>
                <a:rPr lang="it-IT" sz="2700" dirty="0">
                  <a:latin typeface="Times New Roman" panose="02020603050405020304" pitchFamily="18" charset="0"/>
                  <a:cs typeface="Times New Roman" panose="02020603050405020304" pitchFamily="18" charset="0"/>
                </a:rPr>
                <a:t> </a:t>
              </a:r>
              <a:r>
                <a:rPr lang="it-IT" sz="2700" dirty="0" err="1">
                  <a:latin typeface="Times New Roman" panose="02020603050405020304" pitchFamily="18" charset="0"/>
                  <a:cs typeface="Times New Roman" panose="02020603050405020304" pitchFamily="18" charset="0"/>
                </a:rPr>
                <a:t>amounts</a:t>
              </a:r>
              <a:r>
                <a:rPr lang="it-IT" sz="2700" dirty="0">
                  <a:latin typeface="Times New Roman" panose="02020603050405020304" pitchFamily="18" charset="0"/>
                  <a:cs typeface="Times New Roman" panose="02020603050405020304" pitchFamily="18" charset="0"/>
                </a:rPr>
                <a:t> to an </a:t>
              </a:r>
              <a:r>
                <a:rPr lang="it-IT" sz="2700" dirty="0" err="1">
                  <a:latin typeface="Times New Roman" panose="02020603050405020304" pitchFamily="18" charset="0"/>
                  <a:cs typeface="Times New Roman" panose="02020603050405020304" pitchFamily="18" charset="0"/>
                </a:rPr>
                <a:t>offer</a:t>
              </a:r>
              <a:r>
                <a:rPr lang="it-IT" sz="2700" dirty="0">
                  <a:latin typeface="Times New Roman" panose="02020603050405020304" pitchFamily="18" charset="0"/>
                  <a:cs typeface="Times New Roman" panose="02020603050405020304" pitchFamily="18" charset="0"/>
                </a:rPr>
                <a:t> </a:t>
              </a:r>
              <a:r>
                <a:rPr lang="it-IT" sz="2700" dirty="0" err="1">
                  <a:latin typeface="Times New Roman" panose="02020603050405020304" pitchFamily="18" charset="0"/>
                  <a:cs typeface="Times New Roman" panose="02020603050405020304" pitchFamily="18" charset="0"/>
                </a:rPr>
                <a:t>if</a:t>
              </a:r>
              <a:r>
                <a:rPr lang="it-IT" sz="2700" dirty="0">
                  <a:latin typeface="Times New Roman" panose="02020603050405020304" pitchFamily="18" charset="0"/>
                  <a:cs typeface="Times New Roman" panose="02020603050405020304" pitchFamily="18" charset="0"/>
                </a:rPr>
                <a:t>: </a:t>
              </a:r>
            </a:p>
            <a:p>
              <a:pPr marL="971550" lvl="1" indent="-514350">
                <a:buAutoNum type="alphaLcParenBoth"/>
              </a:pPr>
              <a:r>
                <a:rPr lang="it-IT" sz="2700" dirty="0" err="1">
                  <a:latin typeface="Times New Roman" panose="02020603050405020304" pitchFamily="18" charset="0"/>
                  <a:cs typeface="Times New Roman" panose="02020603050405020304" pitchFamily="18" charset="0"/>
                </a:rPr>
                <a:t>it</a:t>
              </a:r>
              <a:r>
                <a:rPr lang="it-IT" sz="2700" dirty="0">
                  <a:latin typeface="Times New Roman" panose="02020603050405020304" pitchFamily="18" charset="0"/>
                  <a:cs typeface="Times New Roman" panose="02020603050405020304" pitchFamily="18" charset="0"/>
                </a:rPr>
                <a:t> </a:t>
              </a:r>
              <a:r>
                <a:rPr lang="it-IT" sz="2700" dirty="0" err="1">
                  <a:latin typeface="Times New Roman" panose="02020603050405020304" pitchFamily="18" charset="0"/>
                  <a:cs typeface="Times New Roman" panose="02020603050405020304" pitchFamily="18" charset="0"/>
                </a:rPr>
                <a:t>is</a:t>
              </a:r>
              <a:r>
                <a:rPr lang="it-IT" sz="2700" dirty="0">
                  <a:latin typeface="Times New Roman" panose="02020603050405020304" pitchFamily="18" charset="0"/>
                  <a:cs typeface="Times New Roman" panose="02020603050405020304" pitchFamily="18" charset="0"/>
                </a:rPr>
                <a:t> </a:t>
              </a:r>
              <a:r>
                <a:rPr lang="it-IT" sz="2700" dirty="0" err="1">
                  <a:latin typeface="Times New Roman" panose="02020603050405020304" pitchFamily="18" charset="0"/>
                  <a:cs typeface="Times New Roman" panose="02020603050405020304" pitchFamily="18" charset="0"/>
                </a:rPr>
                <a:t>intended</a:t>
              </a:r>
              <a:r>
                <a:rPr lang="it-IT" sz="2700" dirty="0">
                  <a:latin typeface="Times New Roman" panose="02020603050405020304" pitchFamily="18" charset="0"/>
                  <a:cs typeface="Times New Roman" panose="02020603050405020304" pitchFamily="18" charset="0"/>
                </a:rPr>
                <a:t> to </a:t>
              </a:r>
              <a:r>
                <a:rPr lang="it-IT" sz="2700" dirty="0" err="1">
                  <a:latin typeface="Times New Roman" panose="02020603050405020304" pitchFamily="18" charset="0"/>
                  <a:cs typeface="Times New Roman" panose="02020603050405020304" pitchFamily="18" charset="0"/>
                </a:rPr>
                <a:t>result</a:t>
              </a:r>
              <a:r>
                <a:rPr lang="it-IT" sz="2700" dirty="0">
                  <a:latin typeface="Times New Roman" panose="02020603050405020304" pitchFamily="18" charset="0"/>
                  <a:cs typeface="Times New Roman" panose="02020603050405020304" pitchFamily="18" charset="0"/>
                </a:rPr>
                <a:t> in a </a:t>
              </a:r>
              <a:r>
                <a:rPr lang="it-IT" sz="2700" dirty="0" err="1">
                  <a:latin typeface="Times New Roman" panose="02020603050405020304" pitchFamily="18" charset="0"/>
                  <a:cs typeface="Times New Roman" panose="02020603050405020304" pitchFamily="18" charset="0"/>
                </a:rPr>
                <a:t>contract</a:t>
              </a:r>
              <a:r>
                <a:rPr lang="it-IT" sz="2700" dirty="0">
                  <a:latin typeface="Times New Roman" panose="02020603050405020304" pitchFamily="18" charset="0"/>
                  <a:cs typeface="Times New Roman" panose="02020603050405020304" pitchFamily="18" charset="0"/>
                </a:rPr>
                <a:t> </a:t>
              </a:r>
              <a:r>
                <a:rPr lang="it-IT" sz="2700" dirty="0" err="1">
                  <a:latin typeface="Times New Roman" panose="02020603050405020304" pitchFamily="18" charset="0"/>
                  <a:cs typeface="Times New Roman" panose="02020603050405020304" pitchFamily="18" charset="0"/>
                </a:rPr>
                <a:t>if</a:t>
              </a:r>
              <a:r>
                <a:rPr lang="it-IT" sz="2700" dirty="0">
                  <a:latin typeface="Times New Roman" panose="02020603050405020304" pitchFamily="18" charset="0"/>
                  <a:cs typeface="Times New Roman" panose="02020603050405020304" pitchFamily="18" charset="0"/>
                </a:rPr>
                <a:t> the </a:t>
              </a:r>
              <a:r>
                <a:rPr lang="it-IT" sz="2700" dirty="0" err="1">
                  <a:latin typeface="Times New Roman" panose="02020603050405020304" pitchFamily="18" charset="0"/>
                  <a:cs typeface="Times New Roman" panose="02020603050405020304" pitchFamily="18" charset="0"/>
                </a:rPr>
                <a:t>other</a:t>
              </a:r>
              <a:r>
                <a:rPr lang="it-IT" sz="2700" dirty="0">
                  <a:latin typeface="Times New Roman" panose="02020603050405020304" pitchFamily="18" charset="0"/>
                  <a:cs typeface="Times New Roman" panose="02020603050405020304" pitchFamily="18" charset="0"/>
                </a:rPr>
                <a:t> party </a:t>
              </a:r>
              <a:r>
                <a:rPr lang="it-IT" sz="2700" dirty="0" err="1">
                  <a:latin typeface="Times New Roman" panose="02020603050405020304" pitchFamily="18" charset="0"/>
                  <a:cs typeface="Times New Roman" panose="02020603050405020304" pitchFamily="18" charset="0"/>
                </a:rPr>
                <a:t>accepts</a:t>
              </a:r>
              <a:r>
                <a:rPr lang="it-IT" sz="2700" dirty="0">
                  <a:latin typeface="Times New Roman" panose="02020603050405020304" pitchFamily="18" charset="0"/>
                  <a:cs typeface="Times New Roman" panose="02020603050405020304" pitchFamily="18" charset="0"/>
                </a:rPr>
                <a:t> </a:t>
              </a:r>
              <a:r>
                <a:rPr lang="it-IT" sz="2700" dirty="0" err="1">
                  <a:latin typeface="Times New Roman" panose="02020603050405020304" pitchFamily="18" charset="0"/>
                  <a:cs typeface="Times New Roman" panose="02020603050405020304" pitchFamily="18" charset="0"/>
                </a:rPr>
                <a:t>it</a:t>
              </a:r>
              <a:r>
                <a:rPr lang="it-IT" sz="2700" dirty="0">
                  <a:latin typeface="Times New Roman" panose="02020603050405020304" pitchFamily="18" charset="0"/>
                  <a:cs typeface="Times New Roman" panose="02020603050405020304" pitchFamily="18" charset="0"/>
                </a:rPr>
                <a:t>, and </a:t>
              </a:r>
            </a:p>
            <a:p>
              <a:pPr marL="971550" lvl="1" indent="-514350">
                <a:buAutoNum type="alphaLcParenBoth"/>
              </a:pPr>
              <a:r>
                <a:rPr lang="it-IT" sz="2700" dirty="0" err="1">
                  <a:latin typeface="Times New Roman" panose="02020603050405020304" pitchFamily="18" charset="0"/>
                  <a:cs typeface="Times New Roman" panose="02020603050405020304" pitchFamily="18" charset="0"/>
                </a:rPr>
                <a:t>it</a:t>
              </a:r>
              <a:r>
                <a:rPr lang="it-IT" sz="2700" dirty="0">
                  <a:latin typeface="Times New Roman" panose="02020603050405020304" pitchFamily="18" charset="0"/>
                  <a:cs typeface="Times New Roman" panose="02020603050405020304" pitchFamily="18" charset="0"/>
                </a:rPr>
                <a:t> </a:t>
              </a:r>
              <a:r>
                <a:rPr lang="it-IT" sz="2700" dirty="0" err="1">
                  <a:latin typeface="Times New Roman" panose="02020603050405020304" pitchFamily="18" charset="0"/>
                  <a:cs typeface="Times New Roman" panose="02020603050405020304" pitchFamily="18" charset="0"/>
                </a:rPr>
                <a:t>contains</a:t>
              </a:r>
              <a:r>
                <a:rPr lang="it-IT" sz="2700" dirty="0">
                  <a:latin typeface="Times New Roman" panose="02020603050405020304" pitchFamily="18" charset="0"/>
                  <a:cs typeface="Times New Roman" panose="02020603050405020304" pitchFamily="18" charset="0"/>
                </a:rPr>
                <a:t> </a:t>
              </a:r>
              <a:r>
                <a:rPr lang="it-IT" sz="2700" dirty="0" err="1">
                  <a:latin typeface="Times New Roman" panose="02020603050405020304" pitchFamily="18" charset="0"/>
                  <a:cs typeface="Times New Roman" panose="02020603050405020304" pitchFamily="18" charset="0"/>
                </a:rPr>
                <a:t>sufficiently</a:t>
              </a:r>
              <a:r>
                <a:rPr lang="it-IT" sz="2700" dirty="0">
                  <a:latin typeface="Times New Roman" panose="02020603050405020304" pitchFamily="18" charset="0"/>
                  <a:cs typeface="Times New Roman" panose="02020603050405020304" pitchFamily="18" charset="0"/>
                </a:rPr>
                <a:t> definite </a:t>
              </a:r>
              <a:r>
                <a:rPr lang="it-IT" sz="2700" dirty="0" err="1">
                  <a:latin typeface="Times New Roman" panose="02020603050405020304" pitchFamily="18" charset="0"/>
                  <a:cs typeface="Times New Roman" panose="02020603050405020304" pitchFamily="18" charset="0"/>
                </a:rPr>
                <a:t>terms</a:t>
              </a:r>
              <a:r>
                <a:rPr lang="it-IT" sz="2700" dirty="0">
                  <a:latin typeface="Times New Roman" panose="02020603050405020304" pitchFamily="18" charset="0"/>
                  <a:cs typeface="Times New Roman" panose="02020603050405020304" pitchFamily="18" charset="0"/>
                </a:rPr>
                <a:t> to </a:t>
              </a:r>
              <a:r>
                <a:rPr lang="it-IT" sz="2700" dirty="0" err="1">
                  <a:latin typeface="Times New Roman" panose="02020603050405020304" pitchFamily="18" charset="0"/>
                  <a:cs typeface="Times New Roman" panose="02020603050405020304" pitchFamily="18" charset="0"/>
                </a:rPr>
                <a:t>form</a:t>
              </a:r>
              <a:r>
                <a:rPr lang="it-IT" sz="2700" dirty="0">
                  <a:latin typeface="Times New Roman" panose="02020603050405020304" pitchFamily="18" charset="0"/>
                  <a:cs typeface="Times New Roman" panose="02020603050405020304" pitchFamily="18" charset="0"/>
                </a:rPr>
                <a:t> a </a:t>
              </a:r>
              <a:r>
                <a:rPr lang="it-IT" sz="2700" dirty="0" err="1">
                  <a:latin typeface="Times New Roman" panose="02020603050405020304" pitchFamily="18" charset="0"/>
                  <a:cs typeface="Times New Roman" panose="02020603050405020304" pitchFamily="18" charset="0"/>
                </a:rPr>
                <a:t>contract</a:t>
              </a:r>
              <a:r>
                <a:rPr lang="it-IT" sz="2700" dirty="0">
                  <a:latin typeface="Times New Roman" panose="02020603050405020304" pitchFamily="18" charset="0"/>
                  <a:cs typeface="Times New Roman" panose="02020603050405020304" pitchFamily="18" charset="0"/>
                </a:rPr>
                <a:t>. </a:t>
              </a:r>
            </a:p>
            <a:p>
              <a:pPr marL="514350" indent="-514350">
                <a:buAutoNum type="arabicPeriod"/>
              </a:pPr>
              <a:r>
                <a:rPr lang="it-IT" sz="2700" dirty="0">
                  <a:latin typeface="Times New Roman" panose="02020603050405020304" pitchFamily="18" charset="0"/>
                  <a:cs typeface="Times New Roman" panose="02020603050405020304" pitchFamily="18" charset="0"/>
                </a:rPr>
                <a:t>An </a:t>
              </a:r>
              <a:r>
                <a:rPr lang="it-IT" sz="2700" dirty="0" err="1">
                  <a:latin typeface="Times New Roman" panose="02020603050405020304" pitchFamily="18" charset="0"/>
                  <a:cs typeface="Times New Roman" panose="02020603050405020304" pitchFamily="18" charset="0"/>
                </a:rPr>
                <a:t>offer</a:t>
              </a:r>
              <a:r>
                <a:rPr lang="it-IT" sz="2700" dirty="0">
                  <a:latin typeface="Times New Roman" panose="02020603050405020304" pitchFamily="18" charset="0"/>
                  <a:cs typeface="Times New Roman" panose="02020603050405020304" pitchFamily="18" charset="0"/>
                </a:rPr>
                <a:t> </a:t>
              </a:r>
              <a:r>
                <a:rPr lang="it-IT" sz="2700" dirty="0" err="1">
                  <a:latin typeface="Times New Roman" panose="02020603050405020304" pitchFamily="18" charset="0"/>
                  <a:cs typeface="Times New Roman" panose="02020603050405020304" pitchFamily="18" charset="0"/>
                </a:rPr>
                <a:t>may</a:t>
              </a:r>
              <a:r>
                <a:rPr lang="it-IT" sz="2700" dirty="0">
                  <a:latin typeface="Times New Roman" panose="02020603050405020304" pitchFamily="18" charset="0"/>
                  <a:cs typeface="Times New Roman" panose="02020603050405020304" pitchFamily="18" charset="0"/>
                </a:rPr>
                <a:t> be made to </a:t>
              </a:r>
              <a:r>
                <a:rPr lang="it-IT" sz="2700" dirty="0" err="1">
                  <a:latin typeface="Times New Roman" panose="02020603050405020304" pitchFamily="18" charset="0"/>
                  <a:cs typeface="Times New Roman" panose="02020603050405020304" pitchFamily="18" charset="0"/>
                </a:rPr>
                <a:t>one</a:t>
              </a:r>
              <a:r>
                <a:rPr lang="it-IT" sz="2700" dirty="0">
                  <a:latin typeface="Times New Roman" panose="02020603050405020304" pitchFamily="18" charset="0"/>
                  <a:cs typeface="Times New Roman" panose="02020603050405020304" pitchFamily="18" charset="0"/>
                </a:rPr>
                <a:t> or more </a:t>
              </a:r>
              <a:r>
                <a:rPr lang="it-IT" sz="2700" dirty="0" err="1">
                  <a:latin typeface="Times New Roman" panose="02020603050405020304" pitchFamily="18" charset="0"/>
                  <a:cs typeface="Times New Roman" panose="02020603050405020304" pitchFamily="18" charset="0"/>
                </a:rPr>
                <a:t>specific</a:t>
              </a:r>
              <a:r>
                <a:rPr lang="it-IT" sz="2700" dirty="0">
                  <a:latin typeface="Times New Roman" panose="02020603050405020304" pitchFamily="18" charset="0"/>
                  <a:cs typeface="Times New Roman" panose="02020603050405020304" pitchFamily="18" charset="0"/>
                </a:rPr>
                <a:t> </a:t>
              </a:r>
              <a:r>
                <a:rPr lang="it-IT" sz="2700" dirty="0" err="1">
                  <a:latin typeface="Times New Roman" panose="02020603050405020304" pitchFamily="18" charset="0"/>
                  <a:cs typeface="Times New Roman" panose="02020603050405020304" pitchFamily="18" charset="0"/>
                </a:rPr>
                <a:t>persons</a:t>
              </a:r>
              <a:r>
                <a:rPr lang="it-IT" sz="2700" dirty="0">
                  <a:latin typeface="Times New Roman" panose="02020603050405020304" pitchFamily="18" charset="0"/>
                  <a:cs typeface="Times New Roman" panose="02020603050405020304" pitchFamily="18" charset="0"/>
                </a:rPr>
                <a:t> or to the public. </a:t>
              </a:r>
            </a:p>
            <a:p>
              <a:pPr marL="514350" indent="-514350">
                <a:buAutoNum type="arabicPeriod"/>
              </a:pPr>
              <a:r>
                <a:rPr lang="it-IT" sz="2700" dirty="0">
                  <a:latin typeface="Times New Roman" panose="02020603050405020304" pitchFamily="18" charset="0"/>
                  <a:cs typeface="Times New Roman" panose="02020603050405020304" pitchFamily="18" charset="0"/>
                </a:rPr>
                <a:t>A </a:t>
              </a:r>
              <a:r>
                <a:rPr lang="it-IT" sz="2700" dirty="0" err="1">
                  <a:latin typeface="Times New Roman" panose="02020603050405020304" pitchFamily="18" charset="0"/>
                  <a:cs typeface="Times New Roman" panose="02020603050405020304" pitchFamily="18" charset="0"/>
                </a:rPr>
                <a:t>proposal</a:t>
              </a:r>
              <a:r>
                <a:rPr lang="it-IT" sz="2700" dirty="0">
                  <a:latin typeface="Times New Roman" panose="02020603050405020304" pitchFamily="18" charset="0"/>
                  <a:cs typeface="Times New Roman" panose="02020603050405020304" pitchFamily="18" charset="0"/>
                </a:rPr>
                <a:t> to </a:t>
              </a:r>
              <a:r>
                <a:rPr lang="it-IT" sz="2700" dirty="0" err="1">
                  <a:latin typeface="Times New Roman" panose="02020603050405020304" pitchFamily="18" charset="0"/>
                  <a:cs typeface="Times New Roman" panose="02020603050405020304" pitchFamily="18" charset="0"/>
                </a:rPr>
                <a:t>supply</a:t>
              </a:r>
              <a:r>
                <a:rPr lang="it-IT" sz="2700" dirty="0">
                  <a:latin typeface="Times New Roman" panose="02020603050405020304" pitchFamily="18" charset="0"/>
                  <a:cs typeface="Times New Roman" panose="02020603050405020304" pitchFamily="18" charset="0"/>
                </a:rPr>
                <a:t> </a:t>
              </a:r>
              <a:r>
                <a:rPr lang="it-IT" sz="2700" dirty="0" err="1">
                  <a:latin typeface="Times New Roman" panose="02020603050405020304" pitchFamily="18" charset="0"/>
                  <a:cs typeface="Times New Roman" panose="02020603050405020304" pitchFamily="18" charset="0"/>
                </a:rPr>
                <a:t>goods</a:t>
              </a:r>
              <a:r>
                <a:rPr lang="it-IT" sz="2700" dirty="0">
                  <a:latin typeface="Times New Roman" panose="02020603050405020304" pitchFamily="18" charset="0"/>
                  <a:cs typeface="Times New Roman" panose="02020603050405020304" pitchFamily="18" charset="0"/>
                </a:rPr>
                <a:t> or </a:t>
              </a:r>
              <a:r>
                <a:rPr lang="it-IT" sz="2700" dirty="0" err="1">
                  <a:latin typeface="Times New Roman" panose="02020603050405020304" pitchFamily="18" charset="0"/>
                  <a:cs typeface="Times New Roman" panose="02020603050405020304" pitchFamily="18" charset="0"/>
                </a:rPr>
                <a:t>services</a:t>
              </a:r>
              <a:r>
                <a:rPr lang="it-IT" sz="2700" dirty="0">
                  <a:latin typeface="Times New Roman" panose="02020603050405020304" pitchFamily="18" charset="0"/>
                  <a:cs typeface="Times New Roman" panose="02020603050405020304" pitchFamily="18" charset="0"/>
                </a:rPr>
                <a:t> </a:t>
              </a:r>
              <a:r>
                <a:rPr lang="it-IT" sz="2700" dirty="0" err="1">
                  <a:latin typeface="Times New Roman" panose="02020603050405020304" pitchFamily="18" charset="0"/>
                  <a:cs typeface="Times New Roman" panose="02020603050405020304" pitchFamily="18" charset="0"/>
                </a:rPr>
                <a:t>at</a:t>
              </a:r>
              <a:r>
                <a:rPr lang="it-IT" sz="2700" dirty="0">
                  <a:latin typeface="Times New Roman" panose="02020603050405020304" pitchFamily="18" charset="0"/>
                  <a:cs typeface="Times New Roman" panose="02020603050405020304" pitchFamily="18" charset="0"/>
                </a:rPr>
                <a:t> </a:t>
              </a:r>
              <a:r>
                <a:rPr lang="it-IT" sz="2700" dirty="0" err="1">
                  <a:latin typeface="Times New Roman" panose="02020603050405020304" pitchFamily="18" charset="0"/>
                  <a:cs typeface="Times New Roman" panose="02020603050405020304" pitchFamily="18" charset="0"/>
                </a:rPr>
                <a:t>stated</a:t>
              </a:r>
              <a:r>
                <a:rPr lang="it-IT" sz="2700" dirty="0">
                  <a:latin typeface="Times New Roman" panose="02020603050405020304" pitchFamily="18" charset="0"/>
                  <a:cs typeface="Times New Roman" panose="02020603050405020304" pitchFamily="18" charset="0"/>
                </a:rPr>
                <a:t> </a:t>
              </a:r>
              <a:r>
                <a:rPr lang="it-IT" sz="2700" dirty="0" err="1">
                  <a:latin typeface="Times New Roman" panose="02020603050405020304" pitchFamily="18" charset="0"/>
                  <a:cs typeface="Times New Roman" panose="02020603050405020304" pitchFamily="18" charset="0"/>
                </a:rPr>
                <a:t>prices</a:t>
              </a:r>
              <a:r>
                <a:rPr lang="it-IT" sz="2700" dirty="0">
                  <a:latin typeface="Times New Roman" panose="02020603050405020304" pitchFamily="18" charset="0"/>
                  <a:cs typeface="Times New Roman" panose="02020603050405020304" pitchFamily="18" charset="0"/>
                </a:rPr>
                <a:t> made by a </a:t>
              </a:r>
              <a:r>
                <a:rPr lang="it-IT" sz="2700" dirty="0" err="1">
                  <a:latin typeface="Times New Roman" panose="02020603050405020304" pitchFamily="18" charset="0"/>
                  <a:cs typeface="Times New Roman" panose="02020603050405020304" pitchFamily="18" charset="0"/>
                </a:rPr>
                <a:t>professional</a:t>
              </a:r>
              <a:r>
                <a:rPr lang="it-IT" sz="2700" dirty="0">
                  <a:latin typeface="Times New Roman" panose="02020603050405020304" pitchFamily="18" charset="0"/>
                  <a:cs typeface="Times New Roman" panose="02020603050405020304" pitchFamily="18" charset="0"/>
                </a:rPr>
                <a:t> </a:t>
              </a:r>
              <a:r>
                <a:rPr lang="it-IT" sz="2700" dirty="0" err="1">
                  <a:latin typeface="Times New Roman" panose="02020603050405020304" pitchFamily="18" charset="0"/>
                  <a:cs typeface="Times New Roman" panose="02020603050405020304" pitchFamily="18" charset="0"/>
                </a:rPr>
                <a:t>supplier</a:t>
              </a:r>
              <a:r>
                <a:rPr lang="it-IT" sz="2700" dirty="0">
                  <a:latin typeface="Times New Roman" panose="02020603050405020304" pitchFamily="18" charset="0"/>
                  <a:cs typeface="Times New Roman" panose="02020603050405020304" pitchFamily="18" charset="0"/>
                </a:rPr>
                <a:t> 95 in a public </a:t>
              </a:r>
              <a:r>
                <a:rPr lang="it-IT" sz="2700" dirty="0" err="1">
                  <a:latin typeface="Times New Roman" panose="02020603050405020304" pitchFamily="18" charset="0"/>
                  <a:cs typeface="Times New Roman" panose="02020603050405020304" pitchFamily="18" charset="0"/>
                </a:rPr>
                <a:t>advertisement</a:t>
              </a:r>
              <a:r>
                <a:rPr lang="it-IT" sz="2700" dirty="0">
                  <a:latin typeface="Times New Roman" panose="02020603050405020304" pitchFamily="18" charset="0"/>
                  <a:cs typeface="Times New Roman" panose="02020603050405020304" pitchFamily="18" charset="0"/>
                </a:rPr>
                <a:t> or a </a:t>
              </a:r>
              <a:r>
                <a:rPr lang="it-IT" sz="2700" dirty="0" err="1">
                  <a:latin typeface="Times New Roman" panose="02020603050405020304" pitchFamily="18" charset="0"/>
                  <a:cs typeface="Times New Roman" panose="02020603050405020304" pitchFamily="18" charset="0"/>
                </a:rPr>
                <a:t>catalogue</a:t>
              </a:r>
              <a:r>
                <a:rPr lang="it-IT" sz="2700" dirty="0">
                  <a:latin typeface="Times New Roman" panose="02020603050405020304" pitchFamily="18" charset="0"/>
                  <a:cs typeface="Times New Roman" panose="02020603050405020304" pitchFamily="18" charset="0"/>
                </a:rPr>
                <a:t>, or by a display of </a:t>
              </a:r>
              <a:r>
                <a:rPr lang="it-IT" sz="2700" dirty="0" err="1">
                  <a:latin typeface="Times New Roman" panose="02020603050405020304" pitchFamily="18" charset="0"/>
                  <a:cs typeface="Times New Roman" panose="02020603050405020304" pitchFamily="18" charset="0"/>
                </a:rPr>
                <a:t>goods</a:t>
              </a:r>
              <a:r>
                <a:rPr lang="it-IT" sz="2700" dirty="0">
                  <a:latin typeface="Times New Roman" panose="02020603050405020304" pitchFamily="18" charset="0"/>
                  <a:cs typeface="Times New Roman" panose="02020603050405020304" pitchFamily="18" charset="0"/>
                </a:rPr>
                <a:t>, </a:t>
              </a:r>
              <a:r>
                <a:rPr lang="it-IT" sz="2700" dirty="0" err="1">
                  <a:latin typeface="Times New Roman" panose="02020603050405020304" pitchFamily="18" charset="0"/>
                  <a:cs typeface="Times New Roman" panose="02020603050405020304" pitchFamily="18" charset="0"/>
                </a:rPr>
                <a:t>is</a:t>
              </a:r>
              <a:r>
                <a:rPr lang="it-IT" sz="2700" dirty="0">
                  <a:latin typeface="Times New Roman" panose="02020603050405020304" pitchFamily="18" charset="0"/>
                  <a:cs typeface="Times New Roman" panose="02020603050405020304" pitchFamily="18" charset="0"/>
                </a:rPr>
                <a:t> </a:t>
              </a:r>
              <a:r>
                <a:rPr lang="it-IT" sz="2700" dirty="0" err="1">
                  <a:latin typeface="Times New Roman" panose="02020603050405020304" pitchFamily="18" charset="0"/>
                  <a:cs typeface="Times New Roman" panose="02020603050405020304" pitchFamily="18" charset="0"/>
                </a:rPr>
                <a:t>presumed</a:t>
              </a:r>
              <a:r>
                <a:rPr lang="it-IT" sz="2700" dirty="0">
                  <a:latin typeface="Times New Roman" panose="02020603050405020304" pitchFamily="18" charset="0"/>
                  <a:cs typeface="Times New Roman" panose="02020603050405020304" pitchFamily="18" charset="0"/>
                </a:rPr>
                <a:t> to be an </a:t>
              </a:r>
              <a:r>
                <a:rPr lang="it-IT" sz="2700" dirty="0" err="1">
                  <a:latin typeface="Times New Roman" panose="02020603050405020304" pitchFamily="18" charset="0"/>
                  <a:cs typeface="Times New Roman" panose="02020603050405020304" pitchFamily="18" charset="0"/>
                </a:rPr>
                <a:t>offer</a:t>
              </a:r>
              <a:r>
                <a:rPr lang="it-IT" sz="2700" dirty="0">
                  <a:latin typeface="Times New Roman" panose="02020603050405020304" pitchFamily="18" charset="0"/>
                  <a:cs typeface="Times New Roman" panose="02020603050405020304" pitchFamily="18" charset="0"/>
                </a:rPr>
                <a:t> to sell or </a:t>
              </a:r>
              <a:r>
                <a:rPr lang="it-IT" sz="2700" dirty="0" err="1">
                  <a:latin typeface="Times New Roman" panose="02020603050405020304" pitchFamily="18" charset="0"/>
                  <a:cs typeface="Times New Roman" panose="02020603050405020304" pitchFamily="18" charset="0"/>
                </a:rPr>
                <a:t>supply</a:t>
              </a:r>
              <a:r>
                <a:rPr lang="it-IT" sz="2700" dirty="0">
                  <a:latin typeface="Times New Roman" panose="02020603050405020304" pitchFamily="18" charset="0"/>
                  <a:cs typeface="Times New Roman" panose="02020603050405020304" pitchFamily="18" charset="0"/>
                </a:rPr>
                <a:t> </a:t>
              </a:r>
              <a:r>
                <a:rPr lang="it-IT" sz="2700" dirty="0" err="1">
                  <a:latin typeface="Times New Roman" panose="02020603050405020304" pitchFamily="18" charset="0"/>
                  <a:cs typeface="Times New Roman" panose="02020603050405020304" pitchFamily="18" charset="0"/>
                </a:rPr>
                <a:t>at</a:t>
              </a:r>
              <a:r>
                <a:rPr lang="it-IT" sz="2700" dirty="0">
                  <a:latin typeface="Times New Roman" panose="02020603050405020304" pitchFamily="18" charset="0"/>
                  <a:cs typeface="Times New Roman" panose="02020603050405020304" pitchFamily="18" charset="0"/>
                </a:rPr>
                <a:t> </a:t>
              </a:r>
              <a:r>
                <a:rPr lang="it-IT" sz="2700" dirty="0" err="1">
                  <a:latin typeface="Times New Roman" panose="02020603050405020304" pitchFamily="18" charset="0"/>
                  <a:cs typeface="Times New Roman" panose="02020603050405020304" pitchFamily="18" charset="0"/>
                </a:rPr>
                <a:t>that</a:t>
              </a:r>
              <a:r>
                <a:rPr lang="it-IT" sz="2700" dirty="0">
                  <a:latin typeface="Times New Roman" panose="02020603050405020304" pitchFamily="18" charset="0"/>
                  <a:cs typeface="Times New Roman" panose="02020603050405020304" pitchFamily="18" charset="0"/>
                </a:rPr>
                <a:t> </a:t>
              </a:r>
              <a:r>
                <a:rPr lang="it-IT" sz="2700" dirty="0" err="1">
                  <a:latin typeface="Times New Roman" panose="02020603050405020304" pitchFamily="18" charset="0"/>
                  <a:cs typeface="Times New Roman" panose="02020603050405020304" pitchFamily="18" charset="0"/>
                </a:rPr>
                <a:t>price</a:t>
              </a:r>
              <a:r>
                <a:rPr lang="it-IT" sz="2700" dirty="0">
                  <a:latin typeface="Times New Roman" panose="02020603050405020304" pitchFamily="18" charset="0"/>
                  <a:cs typeface="Times New Roman" panose="02020603050405020304" pitchFamily="18" charset="0"/>
                </a:rPr>
                <a:t> </a:t>
              </a:r>
              <a:r>
                <a:rPr lang="it-IT" sz="2700" dirty="0" err="1">
                  <a:latin typeface="Times New Roman" panose="02020603050405020304" pitchFamily="18" charset="0"/>
                  <a:cs typeface="Times New Roman" panose="02020603050405020304" pitchFamily="18" charset="0"/>
                </a:rPr>
                <a:t>until</a:t>
              </a:r>
              <a:r>
                <a:rPr lang="it-IT" sz="2700" dirty="0">
                  <a:latin typeface="Times New Roman" panose="02020603050405020304" pitchFamily="18" charset="0"/>
                  <a:cs typeface="Times New Roman" panose="02020603050405020304" pitchFamily="18" charset="0"/>
                </a:rPr>
                <a:t> the stock of </a:t>
              </a:r>
              <a:r>
                <a:rPr lang="it-IT" sz="2700" dirty="0" err="1">
                  <a:latin typeface="Times New Roman" panose="02020603050405020304" pitchFamily="18" charset="0"/>
                  <a:cs typeface="Times New Roman" panose="02020603050405020304" pitchFamily="18" charset="0"/>
                </a:rPr>
                <a:t>goods</a:t>
              </a:r>
              <a:r>
                <a:rPr lang="it-IT" sz="2700" dirty="0">
                  <a:latin typeface="Times New Roman" panose="02020603050405020304" pitchFamily="18" charset="0"/>
                  <a:cs typeface="Times New Roman" panose="02020603050405020304" pitchFamily="18" charset="0"/>
                </a:rPr>
                <a:t>, or the </a:t>
              </a:r>
              <a:r>
                <a:rPr lang="it-IT" sz="2700" dirty="0" err="1">
                  <a:latin typeface="Times New Roman" panose="02020603050405020304" pitchFamily="18" charset="0"/>
                  <a:cs typeface="Times New Roman" panose="02020603050405020304" pitchFamily="18" charset="0"/>
                </a:rPr>
                <a:t>supplier's</a:t>
              </a:r>
              <a:r>
                <a:rPr lang="it-IT" sz="2700" dirty="0">
                  <a:latin typeface="Times New Roman" panose="02020603050405020304" pitchFamily="18" charset="0"/>
                  <a:cs typeface="Times New Roman" panose="02020603050405020304" pitchFamily="18" charset="0"/>
                </a:rPr>
                <a:t> </a:t>
              </a:r>
              <a:r>
                <a:rPr lang="it-IT" sz="2700" dirty="0" err="1">
                  <a:latin typeface="Times New Roman" panose="02020603050405020304" pitchFamily="18" charset="0"/>
                  <a:cs typeface="Times New Roman" panose="02020603050405020304" pitchFamily="18" charset="0"/>
                </a:rPr>
                <a:t>capacity</a:t>
              </a:r>
              <a:r>
                <a:rPr lang="it-IT" sz="2700" dirty="0">
                  <a:latin typeface="Times New Roman" panose="02020603050405020304" pitchFamily="18" charset="0"/>
                  <a:cs typeface="Times New Roman" panose="02020603050405020304" pitchFamily="18" charset="0"/>
                </a:rPr>
                <a:t> to </a:t>
              </a:r>
              <a:r>
                <a:rPr lang="it-IT" sz="2700" dirty="0" err="1">
                  <a:latin typeface="Times New Roman" panose="02020603050405020304" pitchFamily="18" charset="0"/>
                  <a:cs typeface="Times New Roman" panose="02020603050405020304" pitchFamily="18" charset="0"/>
                </a:rPr>
                <a:t>supply</a:t>
              </a:r>
              <a:r>
                <a:rPr lang="it-IT" sz="2700" dirty="0">
                  <a:latin typeface="Times New Roman" panose="02020603050405020304" pitchFamily="18" charset="0"/>
                  <a:cs typeface="Times New Roman" panose="02020603050405020304" pitchFamily="18" charset="0"/>
                </a:rPr>
                <a:t> the service, </a:t>
              </a:r>
              <a:r>
                <a:rPr lang="it-IT" sz="2700" dirty="0" err="1">
                  <a:latin typeface="Times New Roman" panose="02020603050405020304" pitchFamily="18" charset="0"/>
                  <a:cs typeface="Times New Roman" panose="02020603050405020304" pitchFamily="18" charset="0"/>
                </a:rPr>
                <a:t>is</a:t>
              </a:r>
              <a:r>
                <a:rPr lang="it-IT" sz="2700" dirty="0">
                  <a:latin typeface="Times New Roman" panose="02020603050405020304" pitchFamily="18" charset="0"/>
                  <a:cs typeface="Times New Roman" panose="02020603050405020304" pitchFamily="18" charset="0"/>
                </a:rPr>
                <a:t> </a:t>
              </a:r>
              <a:r>
                <a:rPr lang="it-IT" sz="2700" dirty="0" err="1">
                  <a:latin typeface="Times New Roman" panose="02020603050405020304" pitchFamily="18" charset="0"/>
                  <a:cs typeface="Times New Roman" panose="02020603050405020304" pitchFamily="18" charset="0"/>
                </a:rPr>
                <a:t>exhausted</a:t>
              </a:r>
              <a:r>
                <a:rPr lang="it-IT" sz="2700" dirty="0">
                  <a:latin typeface="Times New Roman" panose="02020603050405020304" pitchFamily="18" charset="0"/>
                  <a:cs typeface="Times New Roman" panose="02020603050405020304" pitchFamily="18" charset="0"/>
                </a:rPr>
                <a:t>. </a:t>
              </a:r>
            </a:p>
          </p:txBody>
        </p:sp>
        <p:sp>
          <p:nvSpPr>
            <p:cNvPr id="14" name="Figura a mano libera 13">
              <a:extLst>
                <a:ext uri="{FF2B5EF4-FFF2-40B4-BE49-F238E27FC236}">
                  <a16:creationId xmlns:a16="http://schemas.microsoft.com/office/drawing/2014/main" id="{0B87E656-1683-0248-BEE5-68AA76076D0E}"/>
                </a:ext>
              </a:extLst>
            </p:cNvPr>
            <p:cNvSpPr/>
            <p:nvPr/>
          </p:nvSpPr>
          <p:spPr>
            <a:xfrm rot="10800000">
              <a:off x="-72788" y="-507129"/>
              <a:ext cx="12337576" cy="6748818"/>
            </a:xfrm>
            <a:custGeom>
              <a:avLst/>
              <a:gdLst>
                <a:gd name="connsiteX0" fmla="*/ 12337576 w 12337576"/>
                <a:gd name="connsiteY0" fmla="*/ 6748818 h 6748818"/>
                <a:gd name="connsiteX1" fmla="*/ 0 w 12337576"/>
                <a:gd name="connsiteY1" fmla="*/ 6748818 h 6748818"/>
                <a:gd name="connsiteX2" fmla="*/ 0 w 12337576"/>
                <a:gd name="connsiteY2" fmla="*/ 320722 h 6748818"/>
                <a:gd name="connsiteX3" fmla="*/ 5684293 w 12337576"/>
                <a:gd name="connsiteY3" fmla="*/ 320722 h 6748818"/>
                <a:gd name="connsiteX4" fmla="*/ 5684293 w 12337576"/>
                <a:gd name="connsiteY4" fmla="*/ 75064 h 6748818"/>
                <a:gd name="connsiteX5" fmla="*/ 5759357 w 12337576"/>
                <a:gd name="connsiteY5" fmla="*/ 0 h 6748818"/>
                <a:gd name="connsiteX6" fmla="*/ 6578220 w 12337576"/>
                <a:gd name="connsiteY6" fmla="*/ 0 h 6748818"/>
                <a:gd name="connsiteX7" fmla="*/ 6653284 w 12337576"/>
                <a:gd name="connsiteY7" fmla="*/ 75064 h 6748818"/>
                <a:gd name="connsiteX8" fmla="*/ 6653284 w 12337576"/>
                <a:gd name="connsiteY8" fmla="*/ 320722 h 6748818"/>
                <a:gd name="connsiteX9" fmla="*/ 12337576 w 12337576"/>
                <a:gd name="connsiteY9" fmla="*/ 320722 h 6748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37576" h="6748818">
                  <a:moveTo>
                    <a:pt x="12337576" y="6748818"/>
                  </a:moveTo>
                  <a:lnTo>
                    <a:pt x="0" y="6748818"/>
                  </a:lnTo>
                  <a:lnTo>
                    <a:pt x="0" y="320722"/>
                  </a:lnTo>
                  <a:lnTo>
                    <a:pt x="5684293" y="320722"/>
                  </a:lnTo>
                  <a:lnTo>
                    <a:pt x="5684293" y="75064"/>
                  </a:lnTo>
                  <a:cubicBezTo>
                    <a:pt x="5684293" y="33607"/>
                    <a:pt x="5717900" y="0"/>
                    <a:pt x="5759357" y="0"/>
                  </a:cubicBezTo>
                  <a:lnTo>
                    <a:pt x="6578220" y="0"/>
                  </a:lnTo>
                  <a:cubicBezTo>
                    <a:pt x="6619677" y="0"/>
                    <a:pt x="6653284" y="33607"/>
                    <a:pt x="6653284" y="75064"/>
                  </a:cubicBezTo>
                  <a:lnTo>
                    <a:pt x="6653284" y="320722"/>
                  </a:lnTo>
                  <a:lnTo>
                    <a:pt x="12337576" y="320722"/>
                  </a:lnTo>
                  <a:close/>
                </a:path>
              </a:pathLst>
            </a:custGeom>
            <a:solidFill>
              <a:srgbClr val="1B4A7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t-IT"/>
            </a:p>
          </p:txBody>
        </p:sp>
        <p:sp>
          <p:nvSpPr>
            <p:cNvPr id="18" name="Rettangolo 17">
              <a:extLst>
                <a:ext uri="{FF2B5EF4-FFF2-40B4-BE49-F238E27FC236}">
                  <a16:creationId xmlns:a16="http://schemas.microsoft.com/office/drawing/2014/main" id="{62FD9A41-FF42-7742-8694-141DCB4DA22B}"/>
                </a:ext>
              </a:extLst>
            </p:cNvPr>
            <p:cNvSpPr/>
            <p:nvPr/>
          </p:nvSpPr>
          <p:spPr>
            <a:xfrm>
              <a:off x="1665959" y="159207"/>
              <a:ext cx="8860085" cy="5416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CasellaDiTesto 18">
              <a:extLst>
                <a:ext uri="{FF2B5EF4-FFF2-40B4-BE49-F238E27FC236}">
                  <a16:creationId xmlns:a16="http://schemas.microsoft.com/office/drawing/2014/main" id="{76F9990A-9919-2746-B061-238F874B07B7}"/>
                </a:ext>
              </a:extLst>
            </p:cNvPr>
            <p:cNvSpPr txBox="1"/>
            <p:nvPr/>
          </p:nvSpPr>
          <p:spPr>
            <a:xfrm>
              <a:off x="1812066" y="466623"/>
              <a:ext cx="8713977" cy="4801314"/>
            </a:xfrm>
            <a:prstGeom prst="rect">
              <a:avLst/>
            </a:prstGeom>
            <a:noFill/>
          </p:spPr>
          <p:txBody>
            <a:bodyPr wrap="square" rtlCol="0">
              <a:spAutoFit/>
            </a:bodyPr>
            <a:lstStyle/>
            <a:p>
              <a:r>
                <a:rPr lang="it-IT" sz="4000" b="1" dirty="0">
                  <a:solidFill>
                    <a:srgbClr val="19436B"/>
                  </a:solidFill>
                  <a:latin typeface="Times New Roman" panose="02020603050405020304" pitchFamily="18" charset="0"/>
                  <a:cs typeface="Times New Roman" panose="02020603050405020304" pitchFamily="18" charset="0"/>
                </a:rPr>
                <a:t>OFFERTA</a:t>
              </a:r>
              <a:r>
                <a:rPr lang="it-IT" sz="2400" dirty="0">
                  <a:latin typeface="Times New Roman" panose="02020603050405020304" pitchFamily="18" charset="0"/>
                  <a:cs typeface="Times New Roman" panose="02020603050405020304" pitchFamily="18" charset="0"/>
                </a:rPr>
                <a:t> </a:t>
              </a:r>
              <a:r>
                <a:rPr lang="it-IT" sz="2400" b="1" dirty="0">
                  <a:solidFill>
                    <a:schemeClr val="bg2">
                      <a:lumMod val="25000"/>
                    </a:schemeClr>
                  </a:solidFill>
                  <a:latin typeface="Times New Roman" panose="02020603050405020304" pitchFamily="18" charset="0"/>
                  <a:cs typeface="Times New Roman" panose="02020603050405020304" pitchFamily="18" charset="0"/>
                </a:rPr>
                <a:t>– Art. 2:201</a:t>
              </a:r>
              <a:endParaRPr lang="it-IT" sz="2400" dirty="0">
                <a:latin typeface="Times New Roman" panose="02020603050405020304" pitchFamily="18" charset="0"/>
                <a:cs typeface="Times New Roman" panose="02020603050405020304" pitchFamily="18" charset="0"/>
              </a:endParaRPr>
            </a:p>
            <a:p>
              <a:endParaRPr lang="it-IT" sz="1400" dirty="0">
                <a:latin typeface="Times New Roman" panose="02020603050405020304" pitchFamily="18" charset="0"/>
                <a:cs typeface="Times New Roman" panose="02020603050405020304" pitchFamily="18" charset="0"/>
              </a:endParaRPr>
            </a:p>
            <a:p>
              <a:pPr marL="457200" indent="-457200">
                <a:buAutoNum type="arabicPeriod"/>
              </a:pPr>
              <a:r>
                <a:rPr lang="it-IT" sz="2400" dirty="0">
                  <a:latin typeface="Times New Roman" panose="02020603050405020304" pitchFamily="18" charset="0"/>
                  <a:cs typeface="Times New Roman" panose="02020603050405020304" pitchFamily="18" charset="0"/>
                </a:rPr>
                <a:t>Un’offerta ammonta a proposta quando:</a:t>
              </a:r>
            </a:p>
            <a:p>
              <a:pPr marL="914400" lvl="1" indent="-457200">
                <a:buFont typeface="+mj-lt"/>
                <a:buAutoNum type="alphaLcParenR"/>
              </a:pPr>
              <a:r>
                <a:rPr lang="it-IT" sz="2400" dirty="0">
                  <a:latin typeface="Times New Roman" panose="02020603050405020304" pitchFamily="18" charset="0"/>
                  <a:cs typeface="Times New Roman" panose="02020603050405020304" pitchFamily="18" charset="0"/>
                </a:rPr>
                <a:t>è volta alla conclusione di un contratto se l’altra parte la accetta, e</a:t>
              </a:r>
            </a:p>
            <a:p>
              <a:pPr marL="914400" lvl="1" indent="-457200">
                <a:buFont typeface="+mj-lt"/>
                <a:buAutoNum type="alphaLcParenR"/>
              </a:pPr>
              <a:r>
                <a:rPr lang="it-IT" sz="2400" dirty="0">
                  <a:latin typeface="Times New Roman" panose="02020603050405020304" pitchFamily="18" charset="0"/>
                  <a:cs typeface="Times New Roman" panose="02020603050405020304" pitchFamily="18" charset="0"/>
                </a:rPr>
                <a:t>contiene clausole sufficientemente precise ai fini della conclusione del contratto.</a:t>
              </a:r>
            </a:p>
            <a:p>
              <a:pPr marL="914400" lvl="1" indent="-457200">
                <a:buFont typeface="+mj-lt"/>
                <a:buAutoNum type="alphaLcParenR"/>
              </a:pPr>
              <a:endParaRPr lang="it-IT" sz="800" dirty="0">
                <a:latin typeface="Times New Roman" panose="02020603050405020304" pitchFamily="18" charset="0"/>
                <a:cs typeface="Times New Roman" panose="02020603050405020304" pitchFamily="18" charset="0"/>
              </a:endParaRPr>
            </a:p>
            <a:p>
              <a:pPr marL="457200" indent="-457200">
                <a:buAutoNum type="arabicPeriod"/>
              </a:pPr>
              <a:r>
                <a:rPr lang="it-IT" dirty="0">
                  <a:latin typeface="Times New Roman" panose="02020603050405020304" pitchFamily="18" charset="0"/>
                  <a:cs typeface="Times New Roman" panose="02020603050405020304" pitchFamily="18" charset="0"/>
                </a:rPr>
                <a:t>La proposta può essere rivolta a una o più persone determinate o al pubblico.</a:t>
              </a:r>
            </a:p>
            <a:p>
              <a:pPr marL="457200" indent="-457200">
                <a:buAutoNum type="arabicPeriod"/>
              </a:pPr>
              <a:endParaRPr lang="it-IT" sz="800" dirty="0">
                <a:latin typeface="Times New Roman" panose="02020603050405020304" pitchFamily="18" charset="0"/>
                <a:cs typeface="Times New Roman" panose="02020603050405020304" pitchFamily="18" charset="0"/>
              </a:endParaRPr>
            </a:p>
            <a:p>
              <a:pPr marL="457200" indent="-457200">
                <a:buAutoNum type="arabicPeriod"/>
              </a:pPr>
              <a:r>
                <a:rPr lang="it-IT" sz="2000" dirty="0">
                  <a:latin typeface="Times New Roman" panose="02020603050405020304" pitchFamily="18" charset="0"/>
                  <a:cs typeface="Times New Roman" panose="02020603050405020304" pitchFamily="18" charset="0"/>
                </a:rPr>
                <a:t>L’offerta di beni e servizi a un prezzo determinato fatta da un professionista mediante pubblicità o cataloghi o con l’esposizione di beni si presume proposta di vendita o di fornitura a quel prezzo fino a quando la scorta dei beni offerti o la capacità dell’offerente di fornire il servizio sia esaurita.</a:t>
              </a:r>
            </a:p>
            <a:p>
              <a:endParaRPr lang="it-IT" dirty="0"/>
            </a:p>
          </p:txBody>
        </p:sp>
      </p:grpSp>
    </p:spTree>
    <p:extLst>
      <p:ext uri="{BB962C8B-B14F-4D97-AF65-F5344CB8AC3E}">
        <p14:creationId xmlns:p14="http://schemas.microsoft.com/office/powerpoint/2010/main" val="33579368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0 0.0081 L 0 0.85764 " pathEditMode="relative" rAng="0" ptsTypes="AA">
                                      <p:cBhvr>
                                        <p:cTn id="6" dur="2000" fill="hold"/>
                                        <p:tgtEl>
                                          <p:spTgt spid="20"/>
                                        </p:tgtEl>
                                        <p:attrNameLst>
                                          <p:attrName>ppt_x</p:attrName>
                                          <p:attrName>ppt_y</p:attrName>
                                        </p:attrNameLst>
                                      </p:cBhvr>
                                      <p:rCtr x="0" y="4247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DEC73EE3-8AEB-E44C-BC92-BD6C47B5C811}"/>
              </a:ext>
            </a:extLst>
          </p:cNvPr>
          <p:cNvSpPr txBox="1"/>
          <p:nvPr/>
        </p:nvSpPr>
        <p:spPr>
          <a:xfrm>
            <a:off x="588794" y="559440"/>
            <a:ext cx="4594561" cy="1200329"/>
          </a:xfrm>
          <a:prstGeom prst="rect">
            <a:avLst/>
          </a:prstGeom>
          <a:noFill/>
        </p:spPr>
        <p:txBody>
          <a:bodyPr wrap="square" rtlCol="0">
            <a:spAutoFit/>
          </a:bodyPr>
          <a:lstStyle/>
          <a:p>
            <a:pPr algn="ctr"/>
            <a:r>
              <a:rPr lang="it-IT" sz="3600" b="1" dirty="0">
                <a:solidFill>
                  <a:srgbClr val="19436B"/>
                </a:solidFill>
                <a:latin typeface="Times New Roman" panose="02020603050405020304" pitchFamily="18" charset="0"/>
                <a:cs typeface="Times New Roman" panose="02020603050405020304" pitchFamily="18" charset="0"/>
              </a:rPr>
              <a:t>REVOCA della PROPOSTA </a:t>
            </a:r>
            <a:r>
              <a:rPr lang="it-IT" sz="3600" dirty="0">
                <a:latin typeface="Times New Roman" panose="02020603050405020304" pitchFamily="18" charset="0"/>
                <a:cs typeface="Times New Roman" panose="02020603050405020304" pitchFamily="18" charset="0"/>
              </a:rPr>
              <a:t>– </a:t>
            </a:r>
            <a:r>
              <a:rPr lang="it-IT" sz="3600" dirty="0">
                <a:solidFill>
                  <a:schemeClr val="bg2">
                    <a:lumMod val="25000"/>
                  </a:schemeClr>
                </a:solidFill>
                <a:latin typeface="Times New Roman" panose="02020603050405020304" pitchFamily="18" charset="0"/>
                <a:cs typeface="Times New Roman" panose="02020603050405020304" pitchFamily="18" charset="0"/>
              </a:rPr>
              <a:t>2:202</a:t>
            </a:r>
            <a:endParaRPr lang="it-IT" sz="3600" dirty="0">
              <a:solidFill>
                <a:srgbClr val="19436B"/>
              </a:solidFill>
              <a:latin typeface="Times New Roman" panose="02020603050405020304" pitchFamily="18" charset="0"/>
              <a:cs typeface="Times New Roman" panose="02020603050405020304" pitchFamily="18" charset="0"/>
            </a:endParaRPr>
          </a:p>
        </p:txBody>
      </p:sp>
      <p:sp>
        <p:nvSpPr>
          <p:cNvPr id="8" name="Freccia giù 7">
            <a:extLst>
              <a:ext uri="{FF2B5EF4-FFF2-40B4-BE49-F238E27FC236}">
                <a16:creationId xmlns:a16="http://schemas.microsoft.com/office/drawing/2014/main" id="{4B406A17-9D2E-EE4E-A886-A5632C8F6DEE}"/>
              </a:ext>
            </a:extLst>
          </p:cNvPr>
          <p:cNvSpPr/>
          <p:nvPr/>
        </p:nvSpPr>
        <p:spPr>
          <a:xfrm>
            <a:off x="2667664" y="2249113"/>
            <a:ext cx="436820" cy="900166"/>
          </a:xfrm>
          <a:prstGeom prst="downArrow">
            <a:avLst/>
          </a:prstGeom>
          <a:solidFill>
            <a:srgbClr val="19436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CasellaDiTesto 8">
            <a:extLst>
              <a:ext uri="{FF2B5EF4-FFF2-40B4-BE49-F238E27FC236}">
                <a16:creationId xmlns:a16="http://schemas.microsoft.com/office/drawing/2014/main" id="{AAFA89C3-3B25-A64D-AA59-60F3847D6FFB}"/>
              </a:ext>
            </a:extLst>
          </p:cNvPr>
          <p:cNvSpPr txBox="1"/>
          <p:nvPr/>
        </p:nvSpPr>
        <p:spPr>
          <a:xfrm>
            <a:off x="588794" y="3616606"/>
            <a:ext cx="4594561" cy="1077218"/>
          </a:xfrm>
          <a:prstGeom prst="rect">
            <a:avLst/>
          </a:prstGeom>
          <a:noFill/>
        </p:spPr>
        <p:txBody>
          <a:bodyPr wrap="square" rtlCol="0">
            <a:spAutoFit/>
          </a:bodyPr>
          <a:lstStyle/>
          <a:p>
            <a:pPr algn="ctr"/>
            <a:r>
              <a:rPr lang="it-IT" sz="3200" dirty="0">
                <a:latin typeface="Times New Roman" panose="02020603050405020304" pitchFamily="18" charset="0"/>
                <a:cs typeface="Times New Roman" panose="02020603050405020304" pitchFamily="18" charset="0"/>
              </a:rPr>
              <a:t>TEORIA della SPEDIZIONE</a:t>
            </a:r>
          </a:p>
        </p:txBody>
      </p:sp>
      <p:sp>
        <p:nvSpPr>
          <p:cNvPr id="10" name="CasellaDiTesto 9">
            <a:extLst>
              <a:ext uri="{FF2B5EF4-FFF2-40B4-BE49-F238E27FC236}">
                <a16:creationId xmlns:a16="http://schemas.microsoft.com/office/drawing/2014/main" id="{D5035EB7-365A-AF4B-86C6-9083A133C30D}"/>
              </a:ext>
            </a:extLst>
          </p:cNvPr>
          <p:cNvSpPr txBox="1"/>
          <p:nvPr/>
        </p:nvSpPr>
        <p:spPr>
          <a:xfrm>
            <a:off x="7097864" y="559440"/>
            <a:ext cx="4157662" cy="646331"/>
          </a:xfrm>
          <a:prstGeom prst="rect">
            <a:avLst/>
          </a:prstGeom>
          <a:noFill/>
        </p:spPr>
        <p:txBody>
          <a:bodyPr wrap="square" rtlCol="0">
            <a:spAutoFit/>
          </a:bodyPr>
          <a:lstStyle/>
          <a:p>
            <a:pPr algn="ctr"/>
            <a:r>
              <a:rPr lang="it-IT" sz="3600" b="1" dirty="0">
                <a:solidFill>
                  <a:srgbClr val="19436B"/>
                </a:solidFill>
                <a:latin typeface="Times New Roman" panose="02020603050405020304" pitchFamily="18" charset="0"/>
                <a:cs typeface="Times New Roman" panose="02020603050405020304" pitchFamily="18" charset="0"/>
              </a:rPr>
              <a:t>INEFFICACIA</a:t>
            </a:r>
          </a:p>
        </p:txBody>
      </p:sp>
      <p:cxnSp>
        <p:nvCxnSpPr>
          <p:cNvPr id="12" name="Connettore 1 11">
            <a:extLst>
              <a:ext uri="{FF2B5EF4-FFF2-40B4-BE49-F238E27FC236}">
                <a16:creationId xmlns:a16="http://schemas.microsoft.com/office/drawing/2014/main" id="{5D7B44F8-89D4-1545-9737-6037C38CF4E6}"/>
              </a:ext>
            </a:extLst>
          </p:cNvPr>
          <p:cNvCxnSpPr/>
          <p:nvPr/>
        </p:nvCxnSpPr>
        <p:spPr>
          <a:xfrm>
            <a:off x="6096000" y="349954"/>
            <a:ext cx="0" cy="6158091"/>
          </a:xfrm>
          <a:prstGeom prst="line">
            <a:avLst/>
          </a:prstGeom>
          <a:ln>
            <a:solidFill>
              <a:srgbClr val="19436B"/>
            </a:solidFill>
          </a:ln>
        </p:spPr>
        <p:style>
          <a:lnRef idx="1">
            <a:schemeClr val="accent1"/>
          </a:lnRef>
          <a:fillRef idx="0">
            <a:schemeClr val="accent1"/>
          </a:fillRef>
          <a:effectRef idx="0">
            <a:schemeClr val="accent1"/>
          </a:effectRef>
          <a:fontRef idx="minor">
            <a:schemeClr val="tx1"/>
          </a:fontRef>
        </p:style>
      </p:cxnSp>
      <p:grpSp>
        <p:nvGrpSpPr>
          <p:cNvPr id="13" name="Gruppo 12">
            <a:extLst>
              <a:ext uri="{FF2B5EF4-FFF2-40B4-BE49-F238E27FC236}">
                <a16:creationId xmlns:a16="http://schemas.microsoft.com/office/drawing/2014/main" id="{6C0157C9-C9F9-7941-A4EB-A68B3F2C937E}"/>
              </a:ext>
            </a:extLst>
          </p:cNvPr>
          <p:cNvGrpSpPr/>
          <p:nvPr/>
        </p:nvGrpSpPr>
        <p:grpSpPr>
          <a:xfrm>
            <a:off x="7008646" y="1694716"/>
            <a:ext cx="1778000" cy="1239520"/>
            <a:chOff x="4104640" y="2141220"/>
            <a:chExt cx="1778000" cy="1239520"/>
          </a:xfrm>
        </p:grpSpPr>
        <p:sp>
          <p:nvSpPr>
            <p:cNvPr id="28" name="Rettangolo con angoli arrotondati sullo stesso lato 27">
              <a:extLst>
                <a:ext uri="{FF2B5EF4-FFF2-40B4-BE49-F238E27FC236}">
                  <a16:creationId xmlns:a16="http://schemas.microsoft.com/office/drawing/2014/main" id="{3B3564F1-C309-5B4A-970B-7663D6276F83}"/>
                </a:ext>
              </a:extLst>
            </p:cNvPr>
            <p:cNvSpPr/>
            <p:nvPr/>
          </p:nvSpPr>
          <p:spPr>
            <a:xfrm rot="16200000">
              <a:off x="4373880" y="1871980"/>
              <a:ext cx="1239520" cy="1778000"/>
            </a:xfrm>
            <a:prstGeom prst="round2SameRect">
              <a:avLst/>
            </a:prstGeom>
            <a:solidFill>
              <a:srgbClr val="1B4A7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it-IT">
                <a:solidFill>
                  <a:srgbClr val="19436B"/>
                </a:solidFill>
              </a:endParaRPr>
            </a:p>
          </p:txBody>
        </p:sp>
        <p:sp>
          <p:nvSpPr>
            <p:cNvPr id="29" name="CasellaDiTesto 3">
              <a:extLst>
                <a:ext uri="{FF2B5EF4-FFF2-40B4-BE49-F238E27FC236}">
                  <a16:creationId xmlns:a16="http://schemas.microsoft.com/office/drawing/2014/main" id="{4F44E2A2-E093-3449-99E4-8EB40A0F8676}"/>
                </a:ext>
              </a:extLst>
            </p:cNvPr>
            <p:cNvSpPr txBox="1"/>
            <p:nvPr/>
          </p:nvSpPr>
          <p:spPr>
            <a:xfrm>
              <a:off x="4422140" y="2376259"/>
              <a:ext cx="431800" cy="769441"/>
            </a:xfrm>
            <a:prstGeom prst="rect">
              <a:avLst/>
            </a:prstGeom>
            <a:noFill/>
          </p:spPr>
          <p:txBody>
            <a:bodyPr wrap="square" rtlCol="0">
              <a:spAutoFit/>
            </a:bodyPr>
            <a:lstStyle/>
            <a:p>
              <a:pPr algn="ctr"/>
              <a:r>
                <a:rPr lang="it-IT" sz="4400" dirty="0">
                  <a:solidFill>
                    <a:schemeClr val="bg1"/>
                  </a:solidFill>
                  <a:latin typeface="Times New Roman" panose="02020603050405020304" pitchFamily="18" charset="0"/>
                  <a:cs typeface="Times New Roman" panose="02020603050405020304" pitchFamily="18" charset="0"/>
                </a:rPr>
                <a:t>1</a:t>
              </a:r>
              <a:endParaRPr lang="it-IT" sz="4000" dirty="0">
                <a:solidFill>
                  <a:schemeClr val="bg1"/>
                </a:solidFill>
                <a:latin typeface="Times New Roman" panose="02020603050405020304" pitchFamily="18" charset="0"/>
                <a:cs typeface="Times New Roman" panose="02020603050405020304" pitchFamily="18" charset="0"/>
              </a:endParaRPr>
            </a:p>
          </p:txBody>
        </p:sp>
      </p:grpSp>
      <p:sp>
        <p:nvSpPr>
          <p:cNvPr id="14" name="Figura a mano libera 13">
            <a:extLst>
              <a:ext uri="{FF2B5EF4-FFF2-40B4-BE49-F238E27FC236}">
                <a16:creationId xmlns:a16="http://schemas.microsoft.com/office/drawing/2014/main" id="{9A5FB0C8-BEE4-924A-BD35-FC78FDCF605B}"/>
              </a:ext>
            </a:extLst>
          </p:cNvPr>
          <p:cNvSpPr/>
          <p:nvPr/>
        </p:nvSpPr>
        <p:spPr>
          <a:xfrm rot="5400000">
            <a:off x="8730766" y="457736"/>
            <a:ext cx="1336040" cy="3713480"/>
          </a:xfrm>
          <a:custGeom>
            <a:avLst/>
            <a:gdLst>
              <a:gd name="connsiteX0" fmla="*/ 0 w 1442720"/>
              <a:gd name="connsiteY0" fmla="*/ 3713480 h 3713480"/>
              <a:gd name="connsiteX1" fmla="*/ 0 w 1442720"/>
              <a:gd name="connsiteY1" fmla="*/ 240458 h 3713480"/>
              <a:gd name="connsiteX2" fmla="*/ 240458 w 1442720"/>
              <a:gd name="connsiteY2" fmla="*/ 0 h 3713480"/>
              <a:gd name="connsiteX3" fmla="*/ 1202262 w 1442720"/>
              <a:gd name="connsiteY3" fmla="*/ 0 h 3713480"/>
              <a:gd name="connsiteX4" fmla="*/ 1442720 w 1442720"/>
              <a:gd name="connsiteY4" fmla="*/ 240458 h 3713480"/>
              <a:gd name="connsiteX5" fmla="*/ 1442720 w 1442720"/>
              <a:gd name="connsiteY5" fmla="*/ 3713480 h 3713480"/>
              <a:gd name="connsiteX6" fmla="*/ 1214120 w 1442720"/>
              <a:gd name="connsiteY6" fmla="*/ 3713480 h 3713480"/>
              <a:gd name="connsiteX7" fmla="*/ 716280 w 1442720"/>
              <a:gd name="connsiteY7" fmla="*/ 3210560 h 3713480"/>
              <a:gd name="connsiteX8" fmla="*/ 218440 w 1442720"/>
              <a:gd name="connsiteY8" fmla="*/ 3713480 h 3713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2720" h="3713480">
                <a:moveTo>
                  <a:pt x="0" y="3713480"/>
                </a:moveTo>
                <a:lnTo>
                  <a:pt x="0" y="240458"/>
                </a:lnTo>
                <a:cubicBezTo>
                  <a:pt x="0" y="107657"/>
                  <a:pt x="107657" y="0"/>
                  <a:pt x="240458" y="0"/>
                </a:cubicBezTo>
                <a:lnTo>
                  <a:pt x="1202262" y="0"/>
                </a:lnTo>
                <a:cubicBezTo>
                  <a:pt x="1335063" y="0"/>
                  <a:pt x="1442720" y="107657"/>
                  <a:pt x="1442720" y="240458"/>
                </a:cubicBezTo>
                <a:lnTo>
                  <a:pt x="1442720" y="3713480"/>
                </a:lnTo>
                <a:lnTo>
                  <a:pt x="1214120" y="3713480"/>
                </a:lnTo>
                <a:cubicBezTo>
                  <a:pt x="1214120" y="3435725"/>
                  <a:pt x="991229" y="3210560"/>
                  <a:pt x="716280" y="3210560"/>
                </a:cubicBezTo>
                <a:cubicBezTo>
                  <a:pt x="441331" y="3210560"/>
                  <a:pt x="218440" y="3435725"/>
                  <a:pt x="218440" y="3713480"/>
                </a:cubicBezTo>
                <a:close/>
              </a:path>
            </a:pathLst>
          </a:custGeom>
          <a:solidFill>
            <a:schemeClr val="bg1"/>
          </a:solidFill>
          <a:ln>
            <a:noFill/>
          </a:ln>
          <a:effectLst>
            <a:outerShdw blurRad="63500" sx="102000" sy="102000" algn="ctr" rotWithShape="0">
              <a:prstClr val="black">
                <a:alpha val="31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it-IT" dirty="0"/>
          </a:p>
        </p:txBody>
      </p:sp>
      <p:sp>
        <p:nvSpPr>
          <p:cNvPr id="15" name="CasellaDiTesto 5">
            <a:extLst>
              <a:ext uri="{FF2B5EF4-FFF2-40B4-BE49-F238E27FC236}">
                <a16:creationId xmlns:a16="http://schemas.microsoft.com/office/drawing/2014/main" id="{73E087C7-6738-8549-A558-9F3AFB894529}"/>
              </a:ext>
            </a:extLst>
          </p:cNvPr>
          <p:cNvSpPr txBox="1"/>
          <p:nvPr/>
        </p:nvSpPr>
        <p:spPr>
          <a:xfrm>
            <a:off x="8276106" y="1991309"/>
            <a:ext cx="2672080" cy="646331"/>
          </a:xfrm>
          <a:prstGeom prst="rect">
            <a:avLst/>
          </a:prstGeom>
          <a:noFill/>
        </p:spPr>
        <p:style>
          <a:lnRef idx="0">
            <a:scrgbClr r="0" g="0" b="0"/>
          </a:lnRef>
          <a:fillRef idx="0">
            <a:scrgbClr r="0" g="0" b="0"/>
          </a:fillRef>
          <a:effectRef idx="0">
            <a:scrgbClr r="0" g="0" b="0"/>
          </a:effectRef>
          <a:fontRef idx="major"/>
        </p:style>
        <p:txBody>
          <a:bodyPr wrap="square"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r>
              <a:rPr lang="it-IT" dirty="0">
                <a:solidFill>
                  <a:srgbClr val="1B4A76"/>
                </a:solidFill>
                <a:latin typeface="Times New Roman" panose="02020603050405020304" pitchFamily="18" charset="0"/>
                <a:cs typeface="Times New Roman" panose="02020603050405020304" pitchFamily="18" charset="0"/>
              </a:rPr>
              <a:t>PROPOSTA IRREVOCABILE</a:t>
            </a:r>
          </a:p>
        </p:txBody>
      </p:sp>
      <p:grpSp>
        <p:nvGrpSpPr>
          <p:cNvPr id="16" name="Gruppo 15">
            <a:extLst>
              <a:ext uri="{FF2B5EF4-FFF2-40B4-BE49-F238E27FC236}">
                <a16:creationId xmlns:a16="http://schemas.microsoft.com/office/drawing/2014/main" id="{9B9A07FB-4788-7C47-BEB8-67BB550F7A64}"/>
              </a:ext>
            </a:extLst>
          </p:cNvPr>
          <p:cNvGrpSpPr/>
          <p:nvPr/>
        </p:nvGrpSpPr>
        <p:grpSpPr>
          <a:xfrm>
            <a:off x="7008646" y="3406044"/>
            <a:ext cx="1778000" cy="1239520"/>
            <a:chOff x="4104640" y="2141220"/>
            <a:chExt cx="1778000" cy="1239520"/>
          </a:xfrm>
        </p:grpSpPr>
        <p:sp>
          <p:nvSpPr>
            <p:cNvPr id="26" name="Rettangolo con angoli arrotondati sullo stesso lato 25">
              <a:extLst>
                <a:ext uri="{FF2B5EF4-FFF2-40B4-BE49-F238E27FC236}">
                  <a16:creationId xmlns:a16="http://schemas.microsoft.com/office/drawing/2014/main" id="{6C8A0DE9-1A8A-4243-8CEC-005945C27878}"/>
                </a:ext>
              </a:extLst>
            </p:cNvPr>
            <p:cNvSpPr/>
            <p:nvPr/>
          </p:nvSpPr>
          <p:spPr>
            <a:xfrm rot="16200000">
              <a:off x="4373880" y="1871980"/>
              <a:ext cx="1239520" cy="1778000"/>
            </a:xfrm>
            <a:prstGeom prst="round2SameRect">
              <a:avLst/>
            </a:prstGeom>
            <a:solidFill>
              <a:srgbClr val="1B4A7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it-IT">
                <a:solidFill>
                  <a:srgbClr val="19436B"/>
                </a:solidFill>
              </a:endParaRPr>
            </a:p>
          </p:txBody>
        </p:sp>
        <p:sp>
          <p:nvSpPr>
            <p:cNvPr id="27" name="CasellaDiTesto 8">
              <a:extLst>
                <a:ext uri="{FF2B5EF4-FFF2-40B4-BE49-F238E27FC236}">
                  <a16:creationId xmlns:a16="http://schemas.microsoft.com/office/drawing/2014/main" id="{F811A239-456E-2044-B69D-F8562FD43F69}"/>
                </a:ext>
              </a:extLst>
            </p:cNvPr>
            <p:cNvSpPr txBox="1"/>
            <p:nvPr/>
          </p:nvSpPr>
          <p:spPr>
            <a:xfrm>
              <a:off x="4422140" y="2376259"/>
              <a:ext cx="431800" cy="769441"/>
            </a:xfrm>
            <a:prstGeom prst="rect">
              <a:avLst/>
            </a:prstGeom>
            <a:noFill/>
          </p:spPr>
          <p:txBody>
            <a:bodyPr wrap="square" rtlCol="0">
              <a:spAutoFit/>
            </a:bodyPr>
            <a:lstStyle/>
            <a:p>
              <a:pPr algn="ctr"/>
              <a:r>
                <a:rPr lang="it-IT" sz="4400" dirty="0">
                  <a:solidFill>
                    <a:schemeClr val="bg1"/>
                  </a:solidFill>
                  <a:latin typeface="Times New Roman" panose="02020603050405020304" pitchFamily="18" charset="0"/>
                  <a:cs typeface="Times New Roman" panose="02020603050405020304" pitchFamily="18" charset="0"/>
                </a:rPr>
                <a:t>2</a:t>
              </a:r>
              <a:endParaRPr lang="it-IT" sz="4000" dirty="0">
                <a:solidFill>
                  <a:schemeClr val="bg1"/>
                </a:solidFill>
                <a:latin typeface="Times New Roman" panose="02020603050405020304" pitchFamily="18" charset="0"/>
                <a:cs typeface="Times New Roman" panose="02020603050405020304" pitchFamily="18" charset="0"/>
              </a:endParaRPr>
            </a:p>
          </p:txBody>
        </p:sp>
      </p:grpSp>
      <p:sp>
        <p:nvSpPr>
          <p:cNvPr id="17" name="Figura a mano libera 16">
            <a:extLst>
              <a:ext uri="{FF2B5EF4-FFF2-40B4-BE49-F238E27FC236}">
                <a16:creationId xmlns:a16="http://schemas.microsoft.com/office/drawing/2014/main" id="{61883C8F-3BB6-FB4E-8B27-B4D720FACB64}"/>
              </a:ext>
            </a:extLst>
          </p:cNvPr>
          <p:cNvSpPr/>
          <p:nvPr/>
        </p:nvSpPr>
        <p:spPr>
          <a:xfrm rot="5400000">
            <a:off x="8730766" y="2169064"/>
            <a:ext cx="1336040" cy="3713480"/>
          </a:xfrm>
          <a:custGeom>
            <a:avLst/>
            <a:gdLst>
              <a:gd name="connsiteX0" fmla="*/ 0 w 1442720"/>
              <a:gd name="connsiteY0" fmla="*/ 3713480 h 3713480"/>
              <a:gd name="connsiteX1" fmla="*/ 0 w 1442720"/>
              <a:gd name="connsiteY1" fmla="*/ 240458 h 3713480"/>
              <a:gd name="connsiteX2" fmla="*/ 240458 w 1442720"/>
              <a:gd name="connsiteY2" fmla="*/ 0 h 3713480"/>
              <a:gd name="connsiteX3" fmla="*/ 1202262 w 1442720"/>
              <a:gd name="connsiteY3" fmla="*/ 0 h 3713480"/>
              <a:gd name="connsiteX4" fmla="*/ 1442720 w 1442720"/>
              <a:gd name="connsiteY4" fmla="*/ 240458 h 3713480"/>
              <a:gd name="connsiteX5" fmla="*/ 1442720 w 1442720"/>
              <a:gd name="connsiteY5" fmla="*/ 3713480 h 3713480"/>
              <a:gd name="connsiteX6" fmla="*/ 1214120 w 1442720"/>
              <a:gd name="connsiteY6" fmla="*/ 3713480 h 3713480"/>
              <a:gd name="connsiteX7" fmla="*/ 716280 w 1442720"/>
              <a:gd name="connsiteY7" fmla="*/ 3210560 h 3713480"/>
              <a:gd name="connsiteX8" fmla="*/ 218440 w 1442720"/>
              <a:gd name="connsiteY8" fmla="*/ 3713480 h 3713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2720" h="3713480">
                <a:moveTo>
                  <a:pt x="0" y="3713480"/>
                </a:moveTo>
                <a:lnTo>
                  <a:pt x="0" y="240458"/>
                </a:lnTo>
                <a:cubicBezTo>
                  <a:pt x="0" y="107657"/>
                  <a:pt x="107657" y="0"/>
                  <a:pt x="240458" y="0"/>
                </a:cubicBezTo>
                <a:lnTo>
                  <a:pt x="1202262" y="0"/>
                </a:lnTo>
                <a:cubicBezTo>
                  <a:pt x="1335063" y="0"/>
                  <a:pt x="1442720" y="107657"/>
                  <a:pt x="1442720" y="240458"/>
                </a:cubicBezTo>
                <a:lnTo>
                  <a:pt x="1442720" y="3713480"/>
                </a:lnTo>
                <a:lnTo>
                  <a:pt x="1214120" y="3713480"/>
                </a:lnTo>
                <a:cubicBezTo>
                  <a:pt x="1214120" y="3435725"/>
                  <a:pt x="991229" y="3210560"/>
                  <a:pt x="716280" y="3210560"/>
                </a:cubicBezTo>
                <a:cubicBezTo>
                  <a:pt x="441331" y="3210560"/>
                  <a:pt x="218440" y="3435725"/>
                  <a:pt x="218440" y="3713480"/>
                </a:cubicBezTo>
                <a:close/>
              </a:path>
            </a:pathLst>
          </a:custGeom>
          <a:solidFill>
            <a:schemeClr val="bg1"/>
          </a:solidFill>
          <a:ln>
            <a:noFill/>
          </a:ln>
          <a:effectLst>
            <a:outerShdw blurRad="63500" sx="102000" sy="102000" algn="ctr" rotWithShape="0">
              <a:prstClr val="black">
                <a:alpha val="31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it-IT"/>
          </a:p>
        </p:txBody>
      </p:sp>
      <p:grpSp>
        <p:nvGrpSpPr>
          <p:cNvPr id="18" name="Gruppo 17">
            <a:extLst>
              <a:ext uri="{FF2B5EF4-FFF2-40B4-BE49-F238E27FC236}">
                <a16:creationId xmlns:a16="http://schemas.microsoft.com/office/drawing/2014/main" id="{975BB70C-D7AA-9344-8C2B-9101433BC515}"/>
              </a:ext>
            </a:extLst>
          </p:cNvPr>
          <p:cNvGrpSpPr/>
          <p:nvPr/>
        </p:nvGrpSpPr>
        <p:grpSpPr>
          <a:xfrm>
            <a:off x="7008646" y="5071735"/>
            <a:ext cx="1778000" cy="1239520"/>
            <a:chOff x="4104640" y="2141220"/>
            <a:chExt cx="1778000" cy="1239520"/>
          </a:xfrm>
        </p:grpSpPr>
        <p:sp>
          <p:nvSpPr>
            <p:cNvPr id="24" name="Rettangolo con angoli arrotondati sullo stesso lato 23">
              <a:extLst>
                <a:ext uri="{FF2B5EF4-FFF2-40B4-BE49-F238E27FC236}">
                  <a16:creationId xmlns:a16="http://schemas.microsoft.com/office/drawing/2014/main" id="{88D75663-9D4B-8C42-8493-D42137D61B02}"/>
                </a:ext>
              </a:extLst>
            </p:cNvPr>
            <p:cNvSpPr/>
            <p:nvPr/>
          </p:nvSpPr>
          <p:spPr>
            <a:xfrm rot="16200000">
              <a:off x="4373880" y="1871980"/>
              <a:ext cx="1239520" cy="1778000"/>
            </a:xfrm>
            <a:prstGeom prst="round2SameRect">
              <a:avLst/>
            </a:prstGeom>
            <a:solidFill>
              <a:srgbClr val="1B4A7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it-IT">
                <a:solidFill>
                  <a:srgbClr val="19436B"/>
                </a:solidFill>
              </a:endParaRPr>
            </a:p>
          </p:txBody>
        </p:sp>
        <p:sp>
          <p:nvSpPr>
            <p:cNvPr id="25" name="CasellaDiTesto 12">
              <a:extLst>
                <a:ext uri="{FF2B5EF4-FFF2-40B4-BE49-F238E27FC236}">
                  <a16:creationId xmlns:a16="http://schemas.microsoft.com/office/drawing/2014/main" id="{59B2BA2A-0B61-804B-BB7B-3E36870CD194}"/>
                </a:ext>
              </a:extLst>
            </p:cNvPr>
            <p:cNvSpPr txBox="1"/>
            <p:nvPr/>
          </p:nvSpPr>
          <p:spPr>
            <a:xfrm>
              <a:off x="4422140" y="2376259"/>
              <a:ext cx="431800" cy="769441"/>
            </a:xfrm>
            <a:prstGeom prst="rect">
              <a:avLst/>
            </a:prstGeom>
            <a:noFill/>
          </p:spPr>
          <p:txBody>
            <a:bodyPr wrap="square" rtlCol="0">
              <a:spAutoFit/>
            </a:bodyPr>
            <a:lstStyle/>
            <a:p>
              <a:pPr algn="ctr"/>
              <a:r>
                <a:rPr lang="it-IT" sz="4400" dirty="0">
                  <a:solidFill>
                    <a:schemeClr val="bg1"/>
                  </a:solidFill>
                  <a:latin typeface="Times New Roman" panose="02020603050405020304" pitchFamily="18" charset="0"/>
                  <a:cs typeface="Times New Roman" panose="02020603050405020304" pitchFamily="18" charset="0"/>
                </a:rPr>
                <a:t>3</a:t>
              </a:r>
              <a:endParaRPr lang="it-IT" sz="4000" dirty="0">
                <a:solidFill>
                  <a:schemeClr val="bg1"/>
                </a:solidFill>
                <a:latin typeface="Times New Roman" panose="02020603050405020304" pitchFamily="18" charset="0"/>
                <a:cs typeface="Times New Roman" panose="02020603050405020304" pitchFamily="18" charset="0"/>
              </a:endParaRPr>
            </a:p>
          </p:txBody>
        </p:sp>
      </p:grpSp>
      <p:sp>
        <p:nvSpPr>
          <p:cNvPr id="19" name="Figura a mano libera 18">
            <a:extLst>
              <a:ext uri="{FF2B5EF4-FFF2-40B4-BE49-F238E27FC236}">
                <a16:creationId xmlns:a16="http://schemas.microsoft.com/office/drawing/2014/main" id="{AC88F0C6-9E90-254F-9ECF-544406CB81DE}"/>
              </a:ext>
            </a:extLst>
          </p:cNvPr>
          <p:cNvSpPr/>
          <p:nvPr/>
        </p:nvSpPr>
        <p:spPr>
          <a:xfrm rot="5400000">
            <a:off x="8730766" y="3834755"/>
            <a:ext cx="1336040" cy="3713480"/>
          </a:xfrm>
          <a:custGeom>
            <a:avLst/>
            <a:gdLst>
              <a:gd name="connsiteX0" fmla="*/ 0 w 1442720"/>
              <a:gd name="connsiteY0" fmla="*/ 3713480 h 3713480"/>
              <a:gd name="connsiteX1" fmla="*/ 0 w 1442720"/>
              <a:gd name="connsiteY1" fmla="*/ 240458 h 3713480"/>
              <a:gd name="connsiteX2" fmla="*/ 240458 w 1442720"/>
              <a:gd name="connsiteY2" fmla="*/ 0 h 3713480"/>
              <a:gd name="connsiteX3" fmla="*/ 1202262 w 1442720"/>
              <a:gd name="connsiteY3" fmla="*/ 0 h 3713480"/>
              <a:gd name="connsiteX4" fmla="*/ 1442720 w 1442720"/>
              <a:gd name="connsiteY4" fmla="*/ 240458 h 3713480"/>
              <a:gd name="connsiteX5" fmla="*/ 1442720 w 1442720"/>
              <a:gd name="connsiteY5" fmla="*/ 3713480 h 3713480"/>
              <a:gd name="connsiteX6" fmla="*/ 1214120 w 1442720"/>
              <a:gd name="connsiteY6" fmla="*/ 3713480 h 3713480"/>
              <a:gd name="connsiteX7" fmla="*/ 716280 w 1442720"/>
              <a:gd name="connsiteY7" fmla="*/ 3210560 h 3713480"/>
              <a:gd name="connsiteX8" fmla="*/ 218440 w 1442720"/>
              <a:gd name="connsiteY8" fmla="*/ 3713480 h 3713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2720" h="3713480">
                <a:moveTo>
                  <a:pt x="0" y="3713480"/>
                </a:moveTo>
                <a:lnTo>
                  <a:pt x="0" y="240458"/>
                </a:lnTo>
                <a:cubicBezTo>
                  <a:pt x="0" y="107657"/>
                  <a:pt x="107657" y="0"/>
                  <a:pt x="240458" y="0"/>
                </a:cubicBezTo>
                <a:lnTo>
                  <a:pt x="1202262" y="0"/>
                </a:lnTo>
                <a:cubicBezTo>
                  <a:pt x="1335063" y="0"/>
                  <a:pt x="1442720" y="107657"/>
                  <a:pt x="1442720" y="240458"/>
                </a:cubicBezTo>
                <a:lnTo>
                  <a:pt x="1442720" y="3713480"/>
                </a:lnTo>
                <a:lnTo>
                  <a:pt x="1214120" y="3713480"/>
                </a:lnTo>
                <a:cubicBezTo>
                  <a:pt x="1214120" y="3435725"/>
                  <a:pt x="991229" y="3210560"/>
                  <a:pt x="716280" y="3210560"/>
                </a:cubicBezTo>
                <a:cubicBezTo>
                  <a:pt x="441331" y="3210560"/>
                  <a:pt x="218440" y="3435725"/>
                  <a:pt x="218440" y="3713480"/>
                </a:cubicBezTo>
                <a:close/>
              </a:path>
            </a:pathLst>
          </a:custGeom>
          <a:solidFill>
            <a:schemeClr val="bg1"/>
          </a:solidFill>
          <a:ln>
            <a:noFill/>
          </a:ln>
          <a:effectLst>
            <a:outerShdw blurRad="63500" sx="102000" sy="102000" algn="ctr" rotWithShape="0">
              <a:prstClr val="black">
                <a:alpha val="31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it-IT"/>
          </a:p>
        </p:txBody>
      </p:sp>
      <p:sp>
        <p:nvSpPr>
          <p:cNvPr id="20" name="CasellaDiTesto 14">
            <a:extLst>
              <a:ext uri="{FF2B5EF4-FFF2-40B4-BE49-F238E27FC236}">
                <a16:creationId xmlns:a16="http://schemas.microsoft.com/office/drawing/2014/main" id="{3EE184F1-38CA-8B45-8210-879FA6A7C2F3}"/>
              </a:ext>
            </a:extLst>
          </p:cNvPr>
          <p:cNvSpPr txBox="1"/>
          <p:nvPr/>
        </p:nvSpPr>
        <p:spPr>
          <a:xfrm>
            <a:off x="8061476" y="3576250"/>
            <a:ext cx="3101340" cy="647421"/>
          </a:xfrm>
          <a:prstGeom prst="rect">
            <a:avLst/>
          </a:prstGeom>
          <a:noFill/>
        </p:spPr>
        <p:style>
          <a:lnRef idx="0">
            <a:scrgbClr r="0" g="0" b="0"/>
          </a:lnRef>
          <a:fillRef idx="0">
            <a:scrgbClr r="0" g="0" b="0"/>
          </a:fillRef>
          <a:effectRef idx="0">
            <a:scrgbClr r="0" g="0" b="0"/>
          </a:effectRef>
          <a:fontRef idx="major"/>
        </p:style>
        <p:txBody>
          <a:bodyPr wrap="square" lIns="0" tIns="46800" rIns="0"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r>
              <a:rPr lang="it-IT" dirty="0">
                <a:solidFill>
                  <a:srgbClr val="1B4A76"/>
                </a:solidFill>
                <a:latin typeface="Times New Roman" panose="02020603050405020304" pitchFamily="18" charset="0"/>
                <a:cs typeface="Times New Roman" panose="02020603050405020304" pitchFamily="18" charset="0"/>
              </a:rPr>
              <a:t>FISSAZIONE di un TERMINE per l’ACCETTAZIONE</a:t>
            </a:r>
          </a:p>
        </p:txBody>
      </p:sp>
      <p:sp>
        <p:nvSpPr>
          <p:cNvPr id="21" name="CasellaDiTesto 15">
            <a:extLst>
              <a:ext uri="{FF2B5EF4-FFF2-40B4-BE49-F238E27FC236}">
                <a16:creationId xmlns:a16="http://schemas.microsoft.com/office/drawing/2014/main" id="{FD109A3C-D073-6B43-AEBC-9256553A89C0}"/>
              </a:ext>
            </a:extLst>
          </p:cNvPr>
          <p:cNvSpPr txBox="1"/>
          <p:nvPr/>
        </p:nvSpPr>
        <p:spPr>
          <a:xfrm>
            <a:off x="8354846" y="4217106"/>
            <a:ext cx="2595880" cy="338554"/>
          </a:xfrm>
          <a:prstGeom prst="rect">
            <a:avLst/>
          </a:prstGeom>
          <a:noFill/>
        </p:spPr>
        <p:style>
          <a:lnRef idx="0">
            <a:scrgbClr r="0" g="0" b="0"/>
          </a:lnRef>
          <a:fillRef idx="0">
            <a:scrgbClr r="0" g="0" b="0"/>
          </a:fillRef>
          <a:effectRef idx="0">
            <a:scrgbClr r="0" g="0" b="0"/>
          </a:effectRef>
          <a:fontRef idx="major"/>
        </p:style>
        <p:txBody>
          <a:bodyPr wrap="square"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r>
              <a:rPr lang="it-IT" sz="1600" dirty="0">
                <a:solidFill>
                  <a:schemeClr val="bg2">
                    <a:lumMod val="50000"/>
                  </a:schemeClr>
                </a:solidFill>
                <a:latin typeface="Times New Roman" panose="02020603050405020304" pitchFamily="18" charset="0"/>
                <a:cs typeface="Times New Roman" panose="02020603050405020304" pitchFamily="18" charset="0"/>
              </a:rPr>
              <a:t>non ancora decorso</a:t>
            </a:r>
          </a:p>
        </p:txBody>
      </p:sp>
      <p:sp>
        <p:nvSpPr>
          <p:cNvPr id="22" name="CasellaDiTesto 16">
            <a:extLst>
              <a:ext uri="{FF2B5EF4-FFF2-40B4-BE49-F238E27FC236}">
                <a16:creationId xmlns:a16="http://schemas.microsoft.com/office/drawing/2014/main" id="{5ED3EA72-128D-9C49-A248-7CFD6392F2CF}"/>
              </a:ext>
            </a:extLst>
          </p:cNvPr>
          <p:cNvSpPr txBox="1"/>
          <p:nvPr/>
        </p:nvSpPr>
        <p:spPr>
          <a:xfrm>
            <a:off x="8316746" y="5147351"/>
            <a:ext cx="2672080" cy="707886"/>
          </a:xfrm>
          <a:prstGeom prst="rect">
            <a:avLst/>
          </a:prstGeom>
          <a:noFill/>
        </p:spPr>
        <p:style>
          <a:lnRef idx="0">
            <a:scrgbClr r="0" g="0" b="0"/>
          </a:lnRef>
          <a:fillRef idx="0">
            <a:scrgbClr r="0" g="0" b="0"/>
          </a:fillRef>
          <a:effectRef idx="0">
            <a:scrgbClr r="0" g="0" b="0"/>
          </a:effectRef>
          <a:fontRef idx="major"/>
        </p:style>
        <p:txBody>
          <a:bodyPr wrap="square"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r>
              <a:rPr lang="it-IT" sz="2000" dirty="0">
                <a:solidFill>
                  <a:srgbClr val="1B4A76"/>
                </a:solidFill>
                <a:latin typeface="Times New Roman" panose="02020603050405020304" pitchFamily="18" charset="0"/>
                <a:cs typeface="Times New Roman" panose="02020603050405020304" pitchFamily="18" charset="0"/>
              </a:rPr>
              <a:t>RAGIONEVOLE AFFIDAMENTO</a:t>
            </a:r>
          </a:p>
        </p:txBody>
      </p:sp>
      <p:sp>
        <p:nvSpPr>
          <p:cNvPr id="23" name="CasellaDiTesto 17">
            <a:extLst>
              <a:ext uri="{FF2B5EF4-FFF2-40B4-BE49-F238E27FC236}">
                <a16:creationId xmlns:a16="http://schemas.microsoft.com/office/drawing/2014/main" id="{F5825687-4E62-834D-AE82-8EE3792E4736}"/>
              </a:ext>
            </a:extLst>
          </p:cNvPr>
          <p:cNvSpPr txBox="1"/>
          <p:nvPr/>
        </p:nvSpPr>
        <p:spPr>
          <a:xfrm>
            <a:off x="8175776" y="5827554"/>
            <a:ext cx="2872740" cy="338554"/>
          </a:xfrm>
          <a:prstGeom prst="rect">
            <a:avLst/>
          </a:prstGeom>
          <a:noFill/>
        </p:spPr>
        <p:style>
          <a:lnRef idx="0">
            <a:scrgbClr r="0" g="0" b="0"/>
          </a:lnRef>
          <a:fillRef idx="0">
            <a:scrgbClr r="0" g="0" b="0"/>
          </a:fillRef>
          <a:effectRef idx="0">
            <a:scrgbClr r="0" g="0" b="0"/>
          </a:effectRef>
          <a:fontRef idx="major"/>
        </p:style>
        <p:txBody>
          <a:bodyPr wrap="square"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r>
              <a:rPr lang="it-IT" sz="1600" dirty="0">
                <a:solidFill>
                  <a:schemeClr val="bg2">
                    <a:lumMod val="50000"/>
                  </a:schemeClr>
                </a:solidFill>
                <a:latin typeface="Times New Roman" panose="02020603050405020304" pitchFamily="18" charset="0"/>
                <a:cs typeface="Times New Roman" panose="02020603050405020304" pitchFamily="18" charset="0"/>
              </a:rPr>
              <a:t>sull’irrevocabilità della proposta</a:t>
            </a:r>
            <a:endParaRPr lang="it-IT" sz="1600" dirty="0"/>
          </a:p>
        </p:txBody>
      </p:sp>
    </p:spTree>
    <p:extLst>
      <p:ext uri="{BB962C8B-B14F-4D97-AF65-F5344CB8AC3E}">
        <p14:creationId xmlns:p14="http://schemas.microsoft.com/office/powerpoint/2010/main" val="33957082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par>
                          <p:cTn id="10" fill="hold">
                            <p:stCondLst>
                              <p:cond delay="500"/>
                            </p:stCondLst>
                            <p:childTnLst>
                              <p:par>
                                <p:cTn id="11" presetID="2" presetClass="entr" presetSubtype="8" fill="hold" grpId="0" nodeType="after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1250" fill="hold"/>
                                        <p:tgtEl>
                                          <p:spTgt spid="9"/>
                                        </p:tgtEl>
                                        <p:attrNameLst>
                                          <p:attrName>ppt_x</p:attrName>
                                        </p:attrNameLst>
                                      </p:cBhvr>
                                      <p:tavLst>
                                        <p:tav tm="0">
                                          <p:val>
                                            <p:strVal val="0-#ppt_w/2"/>
                                          </p:val>
                                        </p:tav>
                                        <p:tav tm="100000">
                                          <p:val>
                                            <p:strVal val="#ppt_x"/>
                                          </p:val>
                                        </p:tav>
                                      </p:tavLst>
                                    </p:anim>
                                    <p:anim calcmode="lin" valueType="num">
                                      <p:cBhvr additive="base">
                                        <p:cTn id="14" dur="125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p:cTn id="19" dur="1000" fill="hold"/>
                                        <p:tgtEl>
                                          <p:spTgt spid="12"/>
                                        </p:tgtEl>
                                        <p:attrNameLst>
                                          <p:attrName>ppt_w</p:attrName>
                                        </p:attrNameLst>
                                      </p:cBhvr>
                                      <p:tavLst>
                                        <p:tav tm="0">
                                          <p:val>
                                            <p:fltVal val="0"/>
                                          </p:val>
                                        </p:tav>
                                        <p:tav tm="100000">
                                          <p:val>
                                            <p:strVal val="#ppt_w"/>
                                          </p:val>
                                        </p:tav>
                                      </p:tavLst>
                                    </p:anim>
                                    <p:anim calcmode="lin" valueType="num">
                                      <p:cBhvr>
                                        <p:cTn id="20" dur="1000" fill="hold"/>
                                        <p:tgtEl>
                                          <p:spTgt spid="12"/>
                                        </p:tgtEl>
                                        <p:attrNameLst>
                                          <p:attrName>ppt_h</p:attrName>
                                        </p:attrNameLst>
                                      </p:cBhvr>
                                      <p:tavLst>
                                        <p:tav tm="0">
                                          <p:val>
                                            <p:fltVal val="0"/>
                                          </p:val>
                                        </p:tav>
                                        <p:tav tm="100000">
                                          <p:val>
                                            <p:strVal val="#ppt_h"/>
                                          </p:val>
                                        </p:tav>
                                      </p:tavLst>
                                    </p:anim>
                                    <p:animEffect transition="in" filter="fade">
                                      <p:cBhvr>
                                        <p:cTn id="21" dur="1000"/>
                                        <p:tgtEl>
                                          <p:spTgt spid="12"/>
                                        </p:tgtEl>
                                      </p:cBhvr>
                                    </p:animEffect>
                                  </p:childTnLst>
                                </p:cTn>
                              </p:par>
                            </p:childTnLst>
                          </p:cTn>
                        </p:par>
                        <p:par>
                          <p:cTn id="22" fill="hold">
                            <p:stCondLst>
                              <p:cond delay="1000"/>
                            </p:stCondLst>
                            <p:childTnLst>
                              <p:par>
                                <p:cTn id="23" presetID="2" presetClass="entr" presetSubtype="2" fill="hold" grpId="0" nodeType="afterEffect">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cBhvr additive="base">
                                        <p:cTn id="25" dur="1250" fill="hold"/>
                                        <p:tgtEl>
                                          <p:spTgt spid="10"/>
                                        </p:tgtEl>
                                        <p:attrNameLst>
                                          <p:attrName>ppt_x</p:attrName>
                                        </p:attrNameLst>
                                      </p:cBhvr>
                                      <p:tavLst>
                                        <p:tav tm="0">
                                          <p:val>
                                            <p:strVal val="1+#ppt_w/2"/>
                                          </p:val>
                                        </p:tav>
                                        <p:tav tm="100000">
                                          <p:val>
                                            <p:strVal val="#ppt_x"/>
                                          </p:val>
                                        </p:tav>
                                      </p:tavLst>
                                    </p:anim>
                                    <p:anim calcmode="lin" valueType="num">
                                      <p:cBhvr additive="base">
                                        <p:cTn id="26" dur="125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2" fill="hold" grpId="0" nodeType="clickEffect">
                                  <p:stCondLst>
                                    <p:cond delay="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1000" fill="hold"/>
                                        <p:tgtEl>
                                          <p:spTgt spid="14"/>
                                        </p:tgtEl>
                                        <p:attrNameLst>
                                          <p:attrName>ppt_x</p:attrName>
                                        </p:attrNameLst>
                                      </p:cBhvr>
                                      <p:tavLst>
                                        <p:tav tm="0">
                                          <p:val>
                                            <p:strVal val="1+#ppt_w/2"/>
                                          </p:val>
                                        </p:tav>
                                        <p:tav tm="100000">
                                          <p:val>
                                            <p:strVal val="#ppt_x"/>
                                          </p:val>
                                        </p:tav>
                                      </p:tavLst>
                                    </p:anim>
                                    <p:anim calcmode="lin" valueType="num">
                                      <p:cBhvr additive="base">
                                        <p:cTn id="32" dur="1000" fill="hold"/>
                                        <p:tgtEl>
                                          <p:spTgt spid="14"/>
                                        </p:tgtEl>
                                        <p:attrNameLst>
                                          <p:attrName>ppt_y</p:attrName>
                                        </p:attrNameLst>
                                      </p:cBhvr>
                                      <p:tavLst>
                                        <p:tav tm="0">
                                          <p:val>
                                            <p:strVal val="#ppt_y"/>
                                          </p:val>
                                        </p:tav>
                                        <p:tav tm="100000">
                                          <p:val>
                                            <p:strVal val="#ppt_y"/>
                                          </p:val>
                                        </p:tav>
                                      </p:tavLst>
                                    </p:anim>
                                  </p:childTnLst>
                                </p:cTn>
                              </p:par>
                            </p:childTnLst>
                          </p:cTn>
                        </p:par>
                        <p:par>
                          <p:cTn id="33" fill="hold">
                            <p:stCondLst>
                              <p:cond delay="1000"/>
                            </p:stCondLst>
                            <p:childTnLst>
                              <p:par>
                                <p:cTn id="34" presetID="2" presetClass="entr" presetSubtype="2" fill="hold" nodeType="afterEffect">
                                  <p:stCondLst>
                                    <p:cond delay="0"/>
                                  </p:stCondLst>
                                  <p:childTnLst>
                                    <p:set>
                                      <p:cBhvr>
                                        <p:cTn id="35" dur="1" fill="hold">
                                          <p:stCondLst>
                                            <p:cond delay="0"/>
                                          </p:stCondLst>
                                        </p:cTn>
                                        <p:tgtEl>
                                          <p:spTgt spid="13"/>
                                        </p:tgtEl>
                                        <p:attrNameLst>
                                          <p:attrName>style.visibility</p:attrName>
                                        </p:attrNameLst>
                                      </p:cBhvr>
                                      <p:to>
                                        <p:strVal val="visible"/>
                                      </p:to>
                                    </p:set>
                                    <p:anim calcmode="lin" valueType="num">
                                      <p:cBhvr additive="base">
                                        <p:cTn id="36" dur="500" fill="hold"/>
                                        <p:tgtEl>
                                          <p:spTgt spid="13"/>
                                        </p:tgtEl>
                                        <p:attrNameLst>
                                          <p:attrName>ppt_x</p:attrName>
                                        </p:attrNameLst>
                                      </p:cBhvr>
                                      <p:tavLst>
                                        <p:tav tm="0">
                                          <p:val>
                                            <p:strVal val="1+#ppt_w/2"/>
                                          </p:val>
                                        </p:tav>
                                        <p:tav tm="100000">
                                          <p:val>
                                            <p:strVal val="#ppt_x"/>
                                          </p:val>
                                        </p:tav>
                                      </p:tavLst>
                                    </p:anim>
                                    <p:anim calcmode="lin" valueType="num">
                                      <p:cBhvr additive="base">
                                        <p:cTn id="37" dur="500" fill="hold"/>
                                        <p:tgtEl>
                                          <p:spTgt spid="13"/>
                                        </p:tgtEl>
                                        <p:attrNameLst>
                                          <p:attrName>ppt_y</p:attrName>
                                        </p:attrNameLst>
                                      </p:cBhvr>
                                      <p:tavLst>
                                        <p:tav tm="0">
                                          <p:val>
                                            <p:strVal val="#ppt_y"/>
                                          </p:val>
                                        </p:tav>
                                        <p:tav tm="100000">
                                          <p:val>
                                            <p:strVal val="#ppt_y"/>
                                          </p:val>
                                        </p:tav>
                                      </p:tavLst>
                                    </p:anim>
                                  </p:childTnLst>
                                </p:cTn>
                              </p:par>
                            </p:childTnLst>
                          </p:cTn>
                        </p:par>
                        <p:par>
                          <p:cTn id="38" fill="hold">
                            <p:stCondLst>
                              <p:cond delay="1500"/>
                            </p:stCondLst>
                            <p:childTnLst>
                              <p:par>
                                <p:cTn id="39" presetID="53" presetClass="entr" presetSubtype="16" fill="hold" grpId="0" nodeType="afterEffect">
                                  <p:stCondLst>
                                    <p:cond delay="0"/>
                                  </p:stCondLst>
                                  <p:childTnLst>
                                    <p:set>
                                      <p:cBhvr>
                                        <p:cTn id="40" dur="1" fill="hold">
                                          <p:stCondLst>
                                            <p:cond delay="0"/>
                                          </p:stCondLst>
                                        </p:cTn>
                                        <p:tgtEl>
                                          <p:spTgt spid="15"/>
                                        </p:tgtEl>
                                        <p:attrNameLst>
                                          <p:attrName>style.visibility</p:attrName>
                                        </p:attrNameLst>
                                      </p:cBhvr>
                                      <p:to>
                                        <p:strVal val="visible"/>
                                      </p:to>
                                    </p:set>
                                    <p:anim calcmode="lin" valueType="num">
                                      <p:cBhvr>
                                        <p:cTn id="41" dur="500" fill="hold"/>
                                        <p:tgtEl>
                                          <p:spTgt spid="15"/>
                                        </p:tgtEl>
                                        <p:attrNameLst>
                                          <p:attrName>ppt_w</p:attrName>
                                        </p:attrNameLst>
                                      </p:cBhvr>
                                      <p:tavLst>
                                        <p:tav tm="0">
                                          <p:val>
                                            <p:fltVal val="0"/>
                                          </p:val>
                                        </p:tav>
                                        <p:tav tm="100000">
                                          <p:val>
                                            <p:strVal val="#ppt_w"/>
                                          </p:val>
                                        </p:tav>
                                      </p:tavLst>
                                    </p:anim>
                                    <p:anim calcmode="lin" valueType="num">
                                      <p:cBhvr>
                                        <p:cTn id="42" dur="500" fill="hold"/>
                                        <p:tgtEl>
                                          <p:spTgt spid="15"/>
                                        </p:tgtEl>
                                        <p:attrNameLst>
                                          <p:attrName>ppt_h</p:attrName>
                                        </p:attrNameLst>
                                      </p:cBhvr>
                                      <p:tavLst>
                                        <p:tav tm="0">
                                          <p:val>
                                            <p:fltVal val="0"/>
                                          </p:val>
                                        </p:tav>
                                        <p:tav tm="100000">
                                          <p:val>
                                            <p:strVal val="#ppt_h"/>
                                          </p:val>
                                        </p:tav>
                                      </p:tavLst>
                                    </p:anim>
                                    <p:animEffect transition="in" filter="fade">
                                      <p:cBhvr>
                                        <p:cTn id="43" dur="500"/>
                                        <p:tgtEl>
                                          <p:spTgt spid="15"/>
                                        </p:tgtEl>
                                      </p:cBhvr>
                                    </p:animEffect>
                                  </p:childTnLst>
                                </p:cTn>
                              </p:par>
                            </p:childTnLst>
                          </p:cTn>
                        </p:par>
                      </p:childTnLst>
                    </p:cTn>
                  </p:par>
                  <p:par>
                    <p:cTn id="44" fill="hold">
                      <p:stCondLst>
                        <p:cond delay="indefinite"/>
                      </p:stCondLst>
                      <p:childTnLst>
                        <p:par>
                          <p:cTn id="45" fill="hold">
                            <p:stCondLst>
                              <p:cond delay="0"/>
                            </p:stCondLst>
                            <p:childTnLst>
                              <p:par>
                                <p:cTn id="46" presetID="2" presetClass="entr" presetSubtype="2" fill="hold" grpId="0" nodeType="clickEffect">
                                  <p:stCondLst>
                                    <p:cond delay="0"/>
                                  </p:stCondLst>
                                  <p:childTnLst>
                                    <p:set>
                                      <p:cBhvr>
                                        <p:cTn id="47" dur="1" fill="hold">
                                          <p:stCondLst>
                                            <p:cond delay="0"/>
                                          </p:stCondLst>
                                        </p:cTn>
                                        <p:tgtEl>
                                          <p:spTgt spid="17"/>
                                        </p:tgtEl>
                                        <p:attrNameLst>
                                          <p:attrName>style.visibility</p:attrName>
                                        </p:attrNameLst>
                                      </p:cBhvr>
                                      <p:to>
                                        <p:strVal val="visible"/>
                                      </p:to>
                                    </p:set>
                                    <p:anim calcmode="lin" valueType="num">
                                      <p:cBhvr additive="base">
                                        <p:cTn id="48" dur="1000" fill="hold"/>
                                        <p:tgtEl>
                                          <p:spTgt spid="17"/>
                                        </p:tgtEl>
                                        <p:attrNameLst>
                                          <p:attrName>ppt_x</p:attrName>
                                        </p:attrNameLst>
                                      </p:cBhvr>
                                      <p:tavLst>
                                        <p:tav tm="0">
                                          <p:val>
                                            <p:strVal val="1+#ppt_w/2"/>
                                          </p:val>
                                        </p:tav>
                                        <p:tav tm="100000">
                                          <p:val>
                                            <p:strVal val="#ppt_x"/>
                                          </p:val>
                                        </p:tav>
                                      </p:tavLst>
                                    </p:anim>
                                    <p:anim calcmode="lin" valueType="num">
                                      <p:cBhvr additive="base">
                                        <p:cTn id="49" dur="1000" fill="hold"/>
                                        <p:tgtEl>
                                          <p:spTgt spid="17"/>
                                        </p:tgtEl>
                                        <p:attrNameLst>
                                          <p:attrName>ppt_y</p:attrName>
                                        </p:attrNameLst>
                                      </p:cBhvr>
                                      <p:tavLst>
                                        <p:tav tm="0">
                                          <p:val>
                                            <p:strVal val="#ppt_y"/>
                                          </p:val>
                                        </p:tav>
                                        <p:tav tm="100000">
                                          <p:val>
                                            <p:strVal val="#ppt_y"/>
                                          </p:val>
                                        </p:tav>
                                      </p:tavLst>
                                    </p:anim>
                                  </p:childTnLst>
                                </p:cTn>
                              </p:par>
                            </p:childTnLst>
                          </p:cTn>
                        </p:par>
                        <p:par>
                          <p:cTn id="50" fill="hold">
                            <p:stCondLst>
                              <p:cond delay="1000"/>
                            </p:stCondLst>
                            <p:childTnLst>
                              <p:par>
                                <p:cTn id="51" presetID="2" presetClass="entr" presetSubtype="2" fill="hold" nodeType="afterEffect">
                                  <p:stCondLst>
                                    <p:cond delay="0"/>
                                  </p:stCondLst>
                                  <p:childTnLst>
                                    <p:set>
                                      <p:cBhvr>
                                        <p:cTn id="52" dur="1" fill="hold">
                                          <p:stCondLst>
                                            <p:cond delay="0"/>
                                          </p:stCondLst>
                                        </p:cTn>
                                        <p:tgtEl>
                                          <p:spTgt spid="16"/>
                                        </p:tgtEl>
                                        <p:attrNameLst>
                                          <p:attrName>style.visibility</p:attrName>
                                        </p:attrNameLst>
                                      </p:cBhvr>
                                      <p:to>
                                        <p:strVal val="visible"/>
                                      </p:to>
                                    </p:set>
                                    <p:anim calcmode="lin" valueType="num">
                                      <p:cBhvr additive="base">
                                        <p:cTn id="53" dur="500" fill="hold"/>
                                        <p:tgtEl>
                                          <p:spTgt spid="16"/>
                                        </p:tgtEl>
                                        <p:attrNameLst>
                                          <p:attrName>ppt_x</p:attrName>
                                        </p:attrNameLst>
                                      </p:cBhvr>
                                      <p:tavLst>
                                        <p:tav tm="0">
                                          <p:val>
                                            <p:strVal val="1+#ppt_w/2"/>
                                          </p:val>
                                        </p:tav>
                                        <p:tav tm="100000">
                                          <p:val>
                                            <p:strVal val="#ppt_x"/>
                                          </p:val>
                                        </p:tav>
                                      </p:tavLst>
                                    </p:anim>
                                    <p:anim calcmode="lin" valueType="num">
                                      <p:cBhvr additive="base">
                                        <p:cTn id="54" dur="500" fill="hold"/>
                                        <p:tgtEl>
                                          <p:spTgt spid="16"/>
                                        </p:tgtEl>
                                        <p:attrNameLst>
                                          <p:attrName>ppt_y</p:attrName>
                                        </p:attrNameLst>
                                      </p:cBhvr>
                                      <p:tavLst>
                                        <p:tav tm="0">
                                          <p:val>
                                            <p:strVal val="#ppt_y"/>
                                          </p:val>
                                        </p:tav>
                                        <p:tav tm="100000">
                                          <p:val>
                                            <p:strVal val="#ppt_y"/>
                                          </p:val>
                                        </p:tav>
                                      </p:tavLst>
                                    </p:anim>
                                  </p:childTnLst>
                                </p:cTn>
                              </p:par>
                            </p:childTnLst>
                          </p:cTn>
                        </p:par>
                        <p:par>
                          <p:cTn id="55" fill="hold">
                            <p:stCondLst>
                              <p:cond delay="1500"/>
                            </p:stCondLst>
                            <p:childTnLst>
                              <p:par>
                                <p:cTn id="56" presetID="53" presetClass="entr" presetSubtype="16" fill="hold" grpId="0" nodeType="afterEffect">
                                  <p:stCondLst>
                                    <p:cond delay="0"/>
                                  </p:stCondLst>
                                  <p:childTnLst>
                                    <p:set>
                                      <p:cBhvr>
                                        <p:cTn id="57" dur="1" fill="hold">
                                          <p:stCondLst>
                                            <p:cond delay="0"/>
                                          </p:stCondLst>
                                        </p:cTn>
                                        <p:tgtEl>
                                          <p:spTgt spid="20"/>
                                        </p:tgtEl>
                                        <p:attrNameLst>
                                          <p:attrName>style.visibility</p:attrName>
                                        </p:attrNameLst>
                                      </p:cBhvr>
                                      <p:to>
                                        <p:strVal val="visible"/>
                                      </p:to>
                                    </p:set>
                                    <p:anim calcmode="lin" valueType="num">
                                      <p:cBhvr>
                                        <p:cTn id="58" dur="500" fill="hold"/>
                                        <p:tgtEl>
                                          <p:spTgt spid="20"/>
                                        </p:tgtEl>
                                        <p:attrNameLst>
                                          <p:attrName>ppt_w</p:attrName>
                                        </p:attrNameLst>
                                      </p:cBhvr>
                                      <p:tavLst>
                                        <p:tav tm="0">
                                          <p:val>
                                            <p:fltVal val="0"/>
                                          </p:val>
                                        </p:tav>
                                        <p:tav tm="100000">
                                          <p:val>
                                            <p:strVal val="#ppt_w"/>
                                          </p:val>
                                        </p:tav>
                                      </p:tavLst>
                                    </p:anim>
                                    <p:anim calcmode="lin" valueType="num">
                                      <p:cBhvr>
                                        <p:cTn id="59" dur="500" fill="hold"/>
                                        <p:tgtEl>
                                          <p:spTgt spid="20"/>
                                        </p:tgtEl>
                                        <p:attrNameLst>
                                          <p:attrName>ppt_h</p:attrName>
                                        </p:attrNameLst>
                                      </p:cBhvr>
                                      <p:tavLst>
                                        <p:tav tm="0">
                                          <p:val>
                                            <p:fltVal val="0"/>
                                          </p:val>
                                        </p:tav>
                                        <p:tav tm="100000">
                                          <p:val>
                                            <p:strVal val="#ppt_h"/>
                                          </p:val>
                                        </p:tav>
                                      </p:tavLst>
                                    </p:anim>
                                    <p:animEffect transition="in" filter="fade">
                                      <p:cBhvr>
                                        <p:cTn id="60" dur="500"/>
                                        <p:tgtEl>
                                          <p:spTgt spid="20"/>
                                        </p:tgtEl>
                                      </p:cBhvr>
                                    </p:animEffect>
                                  </p:childTnLst>
                                </p:cTn>
                              </p:par>
                            </p:childTnLst>
                          </p:cTn>
                        </p:par>
                      </p:childTnLst>
                    </p:cTn>
                  </p:par>
                  <p:par>
                    <p:cTn id="61" fill="hold">
                      <p:stCondLst>
                        <p:cond delay="indefinite"/>
                      </p:stCondLst>
                      <p:childTnLst>
                        <p:par>
                          <p:cTn id="62" fill="hold">
                            <p:stCondLst>
                              <p:cond delay="0"/>
                            </p:stCondLst>
                            <p:childTnLst>
                              <p:par>
                                <p:cTn id="63" presetID="53" presetClass="entr" presetSubtype="16" fill="hold" grpId="0" nodeType="clickEffect">
                                  <p:stCondLst>
                                    <p:cond delay="0"/>
                                  </p:stCondLst>
                                  <p:childTnLst>
                                    <p:set>
                                      <p:cBhvr>
                                        <p:cTn id="64" dur="1" fill="hold">
                                          <p:stCondLst>
                                            <p:cond delay="0"/>
                                          </p:stCondLst>
                                        </p:cTn>
                                        <p:tgtEl>
                                          <p:spTgt spid="21"/>
                                        </p:tgtEl>
                                        <p:attrNameLst>
                                          <p:attrName>style.visibility</p:attrName>
                                        </p:attrNameLst>
                                      </p:cBhvr>
                                      <p:to>
                                        <p:strVal val="visible"/>
                                      </p:to>
                                    </p:set>
                                    <p:anim calcmode="lin" valueType="num">
                                      <p:cBhvr>
                                        <p:cTn id="65" dur="500" fill="hold"/>
                                        <p:tgtEl>
                                          <p:spTgt spid="21"/>
                                        </p:tgtEl>
                                        <p:attrNameLst>
                                          <p:attrName>ppt_w</p:attrName>
                                        </p:attrNameLst>
                                      </p:cBhvr>
                                      <p:tavLst>
                                        <p:tav tm="0">
                                          <p:val>
                                            <p:fltVal val="0"/>
                                          </p:val>
                                        </p:tav>
                                        <p:tav tm="100000">
                                          <p:val>
                                            <p:strVal val="#ppt_w"/>
                                          </p:val>
                                        </p:tav>
                                      </p:tavLst>
                                    </p:anim>
                                    <p:anim calcmode="lin" valueType="num">
                                      <p:cBhvr>
                                        <p:cTn id="66" dur="500" fill="hold"/>
                                        <p:tgtEl>
                                          <p:spTgt spid="21"/>
                                        </p:tgtEl>
                                        <p:attrNameLst>
                                          <p:attrName>ppt_h</p:attrName>
                                        </p:attrNameLst>
                                      </p:cBhvr>
                                      <p:tavLst>
                                        <p:tav tm="0">
                                          <p:val>
                                            <p:fltVal val="0"/>
                                          </p:val>
                                        </p:tav>
                                        <p:tav tm="100000">
                                          <p:val>
                                            <p:strVal val="#ppt_h"/>
                                          </p:val>
                                        </p:tav>
                                      </p:tavLst>
                                    </p:anim>
                                    <p:animEffect transition="in" filter="fade">
                                      <p:cBhvr>
                                        <p:cTn id="67" dur="500"/>
                                        <p:tgtEl>
                                          <p:spTgt spid="21"/>
                                        </p:tgtEl>
                                      </p:cBhvr>
                                    </p:animEffect>
                                  </p:childTnLst>
                                </p:cTn>
                              </p:par>
                            </p:childTnLst>
                          </p:cTn>
                        </p:par>
                      </p:childTnLst>
                    </p:cTn>
                  </p:par>
                  <p:par>
                    <p:cTn id="68" fill="hold">
                      <p:stCondLst>
                        <p:cond delay="indefinite"/>
                      </p:stCondLst>
                      <p:childTnLst>
                        <p:par>
                          <p:cTn id="69" fill="hold">
                            <p:stCondLst>
                              <p:cond delay="0"/>
                            </p:stCondLst>
                            <p:childTnLst>
                              <p:par>
                                <p:cTn id="70" presetID="2" presetClass="entr" presetSubtype="2" fill="hold" grpId="0" nodeType="clickEffect">
                                  <p:stCondLst>
                                    <p:cond delay="0"/>
                                  </p:stCondLst>
                                  <p:childTnLst>
                                    <p:set>
                                      <p:cBhvr>
                                        <p:cTn id="71" dur="1" fill="hold">
                                          <p:stCondLst>
                                            <p:cond delay="0"/>
                                          </p:stCondLst>
                                        </p:cTn>
                                        <p:tgtEl>
                                          <p:spTgt spid="19"/>
                                        </p:tgtEl>
                                        <p:attrNameLst>
                                          <p:attrName>style.visibility</p:attrName>
                                        </p:attrNameLst>
                                      </p:cBhvr>
                                      <p:to>
                                        <p:strVal val="visible"/>
                                      </p:to>
                                    </p:set>
                                    <p:anim calcmode="lin" valueType="num">
                                      <p:cBhvr additive="base">
                                        <p:cTn id="72" dur="1000" fill="hold"/>
                                        <p:tgtEl>
                                          <p:spTgt spid="19"/>
                                        </p:tgtEl>
                                        <p:attrNameLst>
                                          <p:attrName>ppt_x</p:attrName>
                                        </p:attrNameLst>
                                      </p:cBhvr>
                                      <p:tavLst>
                                        <p:tav tm="0">
                                          <p:val>
                                            <p:strVal val="1+#ppt_w/2"/>
                                          </p:val>
                                        </p:tav>
                                        <p:tav tm="100000">
                                          <p:val>
                                            <p:strVal val="#ppt_x"/>
                                          </p:val>
                                        </p:tav>
                                      </p:tavLst>
                                    </p:anim>
                                    <p:anim calcmode="lin" valueType="num">
                                      <p:cBhvr additive="base">
                                        <p:cTn id="73" dur="1000" fill="hold"/>
                                        <p:tgtEl>
                                          <p:spTgt spid="19"/>
                                        </p:tgtEl>
                                        <p:attrNameLst>
                                          <p:attrName>ppt_y</p:attrName>
                                        </p:attrNameLst>
                                      </p:cBhvr>
                                      <p:tavLst>
                                        <p:tav tm="0">
                                          <p:val>
                                            <p:strVal val="#ppt_y"/>
                                          </p:val>
                                        </p:tav>
                                        <p:tav tm="100000">
                                          <p:val>
                                            <p:strVal val="#ppt_y"/>
                                          </p:val>
                                        </p:tav>
                                      </p:tavLst>
                                    </p:anim>
                                  </p:childTnLst>
                                </p:cTn>
                              </p:par>
                            </p:childTnLst>
                          </p:cTn>
                        </p:par>
                        <p:par>
                          <p:cTn id="74" fill="hold">
                            <p:stCondLst>
                              <p:cond delay="1000"/>
                            </p:stCondLst>
                            <p:childTnLst>
                              <p:par>
                                <p:cTn id="75" presetID="2" presetClass="entr" presetSubtype="2" fill="hold" nodeType="afterEffect">
                                  <p:stCondLst>
                                    <p:cond delay="0"/>
                                  </p:stCondLst>
                                  <p:childTnLst>
                                    <p:set>
                                      <p:cBhvr>
                                        <p:cTn id="76" dur="1" fill="hold">
                                          <p:stCondLst>
                                            <p:cond delay="0"/>
                                          </p:stCondLst>
                                        </p:cTn>
                                        <p:tgtEl>
                                          <p:spTgt spid="18"/>
                                        </p:tgtEl>
                                        <p:attrNameLst>
                                          <p:attrName>style.visibility</p:attrName>
                                        </p:attrNameLst>
                                      </p:cBhvr>
                                      <p:to>
                                        <p:strVal val="visible"/>
                                      </p:to>
                                    </p:set>
                                    <p:anim calcmode="lin" valueType="num">
                                      <p:cBhvr additive="base">
                                        <p:cTn id="77" dur="500" fill="hold"/>
                                        <p:tgtEl>
                                          <p:spTgt spid="18"/>
                                        </p:tgtEl>
                                        <p:attrNameLst>
                                          <p:attrName>ppt_x</p:attrName>
                                        </p:attrNameLst>
                                      </p:cBhvr>
                                      <p:tavLst>
                                        <p:tav tm="0">
                                          <p:val>
                                            <p:strVal val="1+#ppt_w/2"/>
                                          </p:val>
                                        </p:tav>
                                        <p:tav tm="100000">
                                          <p:val>
                                            <p:strVal val="#ppt_x"/>
                                          </p:val>
                                        </p:tav>
                                      </p:tavLst>
                                    </p:anim>
                                    <p:anim calcmode="lin" valueType="num">
                                      <p:cBhvr additive="base">
                                        <p:cTn id="78" dur="500" fill="hold"/>
                                        <p:tgtEl>
                                          <p:spTgt spid="18"/>
                                        </p:tgtEl>
                                        <p:attrNameLst>
                                          <p:attrName>ppt_y</p:attrName>
                                        </p:attrNameLst>
                                      </p:cBhvr>
                                      <p:tavLst>
                                        <p:tav tm="0">
                                          <p:val>
                                            <p:strVal val="#ppt_y"/>
                                          </p:val>
                                        </p:tav>
                                        <p:tav tm="100000">
                                          <p:val>
                                            <p:strVal val="#ppt_y"/>
                                          </p:val>
                                        </p:tav>
                                      </p:tavLst>
                                    </p:anim>
                                  </p:childTnLst>
                                </p:cTn>
                              </p:par>
                            </p:childTnLst>
                          </p:cTn>
                        </p:par>
                        <p:par>
                          <p:cTn id="79" fill="hold">
                            <p:stCondLst>
                              <p:cond delay="1500"/>
                            </p:stCondLst>
                            <p:childTnLst>
                              <p:par>
                                <p:cTn id="80" presetID="53" presetClass="entr" presetSubtype="16" fill="hold" grpId="0" nodeType="afterEffect">
                                  <p:stCondLst>
                                    <p:cond delay="0"/>
                                  </p:stCondLst>
                                  <p:childTnLst>
                                    <p:set>
                                      <p:cBhvr>
                                        <p:cTn id="81" dur="1" fill="hold">
                                          <p:stCondLst>
                                            <p:cond delay="0"/>
                                          </p:stCondLst>
                                        </p:cTn>
                                        <p:tgtEl>
                                          <p:spTgt spid="22"/>
                                        </p:tgtEl>
                                        <p:attrNameLst>
                                          <p:attrName>style.visibility</p:attrName>
                                        </p:attrNameLst>
                                      </p:cBhvr>
                                      <p:to>
                                        <p:strVal val="visible"/>
                                      </p:to>
                                    </p:set>
                                    <p:anim calcmode="lin" valueType="num">
                                      <p:cBhvr>
                                        <p:cTn id="82" dur="500" fill="hold"/>
                                        <p:tgtEl>
                                          <p:spTgt spid="22"/>
                                        </p:tgtEl>
                                        <p:attrNameLst>
                                          <p:attrName>ppt_w</p:attrName>
                                        </p:attrNameLst>
                                      </p:cBhvr>
                                      <p:tavLst>
                                        <p:tav tm="0">
                                          <p:val>
                                            <p:fltVal val="0"/>
                                          </p:val>
                                        </p:tav>
                                        <p:tav tm="100000">
                                          <p:val>
                                            <p:strVal val="#ppt_w"/>
                                          </p:val>
                                        </p:tav>
                                      </p:tavLst>
                                    </p:anim>
                                    <p:anim calcmode="lin" valueType="num">
                                      <p:cBhvr>
                                        <p:cTn id="83" dur="500" fill="hold"/>
                                        <p:tgtEl>
                                          <p:spTgt spid="22"/>
                                        </p:tgtEl>
                                        <p:attrNameLst>
                                          <p:attrName>ppt_h</p:attrName>
                                        </p:attrNameLst>
                                      </p:cBhvr>
                                      <p:tavLst>
                                        <p:tav tm="0">
                                          <p:val>
                                            <p:fltVal val="0"/>
                                          </p:val>
                                        </p:tav>
                                        <p:tav tm="100000">
                                          <p:val>
                                            <p:strVal val="#ppt_h"/>
                                          </p:val>
                                        </p:tav>
                                      </p:tavLst>
                                    </p:anim>
                                    <p:animEffect transition="in" filter="fade">
                                      <p:cBhvr>
                                        <p:cTn id="84" dur="500"/>
                                        <p:tgtEl>
                                          <p:spTgt spid="22"/>
                                        </p:tgtEl>
                                      </p:cBhvr>
                                    </p:animEffect>
                                  </p:childTnLst>
                                </p:cTn>
                              </p:par>
                            </p:childTnLst>
                          </p:cTn>
                        </p:par>
                        <p:par>
                          <p:cTn id="85" fill="hold">
                            <p:stCondLst>
                              <p:cond delay="2000"/>
                            </p:stCondLst>
                            <p:childTnLst>
                              <p:par>
                                <p:cTn id="86" presetID="53" presetClass="entr" presetSubtype="16" fill="hold" grpId="0" nodeType="afterEffect">
                                  <p:stCondLst>
                                    <p:cond delay="0"/>
                                  </p:stCondLst>
                                  <p:childTnLst>
                                    <p:set>
                                      <p:cBhvr>
                                        <p:cTn id="87" dur="1" fill="hold">
                                          <p:stCondLst>
                                            <p:cond delay="0"/>
                                          </p:stCondLst>
                                        </p:cTn>
                                        <p:tgtEl>
                                          <p:spTgt spid="23"/>
                                        </p:tgtEl>
                                        <p:attrNameLst>
                                          <p:attrName>style.visibility</p:attrName>
                                        </p:attrNameLst>
                                      </p:cBhvr>
                                      <p:to>
                                        <p:strVal val="visible"/>
                                      </p:to>
                                    </p:set>
                                    <p:anim calcmode="lin" valueType="num">
                                      <p:cBhvr>
                                        <p:cTn id="88" dur="500" fill="hold"/>
                                        <p:tgtEl>
                                          <p:spTgt spid="23"/>
                                        </p:tgtEl>
                                        <p:attrNameLst>
                                          <p:attrName>ppt_w</p:attrName>
                                        </p:attrNameLst>
                                      </p:cBhvr>
                                      <p:tavLst>
                                        <p:tav tm="0">
                                          <p:val>
                                            <p:fltVal val="0"/>
                                          </p:val>
                                        </p:tav>
                                        <p:tav tm="100000">
                                          <p:val>
                                            <p:strVal val="#ppt_w"/>
                                          </p:val>
                                        </p:tav>
                                      </p:tavLst>
                                    </p:anim>
                                    <p:anim calcmode="lin" valueType="num">
                                      <p:cBhvr>
                                        <p:cTn id="89" dur="500" fill="hold"/>
                                        <p:tgtEl>
                                          <p:spTgt spid="23"/>
                                        </p:tgtEl>
                                        <p:attrNameLst>
                                          <p:attrName>ppt_h</p:attrName>
                                        </p:attrNameLst>
                                      </p:cBhvr>
                                      <p:tavLst>
                                        <p:tav tm="0">
                                          <p:val>
                                            <p:fltVal val="0"/>
                                          </p:val>
                                        </p:tav>
                                        <p:tav tm="100000">
                                          <p:val>
                                            <p:strVal val="#ppt_h"/>
                                          </p:val>
                                        </p:tav>
                                      </p:tavLst>
                                    </p:anim>
                                    <p:animEffect transition="in" filter="fade">
                                      <p:cBhvr>
                                        <p:cTn id="90"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0" grpId="0"/>
      <p:bldP spid="14" grpId="0" animBg="1"/>
      <p:bldP spid="15" grpId="0"/>
      <p:bldP spid="17" grpId="0" animBg="1"/>
      <p:bldP spid="19" grpId="0" animBg="1"/>
      <p:bldP spid="20" grpId="0"/>
      <p:bldP spid="21" grpId="0"/>
      <p:bldP spid="22" grpId="0"/>
      <p:bldP spid="23"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40" name="Figura a mano libera 39">
            <a:extLst>
              <a:ext uri="{FF2B5EF4-FFF2-40B4-BE49-F238E27FC236}">
                <a16:creationId xmlns:a16="http://schemas.microsoft.com/office/drawing/2014/main" id="{0195617B-EBCC-EC4F-8A3A-77F6456160D0}"/>
              </a:ext>
            </a:extLst>
          </p:cNvPr>
          <p:cNvSpPr>
            <a:spLocks/>
          </p:cNvSpPr>
          <p:nvPr>
            <p:custDataLst>
              <p:tags r:id="rId1"/>
            </p:custDataLst>
          </p:nvPr>
        </p:nvSpPr>
        <p:spPr bwMode="auto">
          <a:xfrm>
            <a:off x="2783182" y="1500816"/>
            <a:ext cx="5706718" cy="5231187"/>
          </a:xfrm>
          <a:custGeom>
            <a:avLst/>
            <a:gdLst>
              <a:gd name="connsiteX0" fmla="*/ 0 w 1317625"/>
              <a:gd name="connsiteY0" fmla="*/ 1287463 h 1344613"/>
              <a:gd name="connsiteX1" fmla="*/ 6350 w 1317625"/>
              <a:gd name="connsiteY1" fmla="*/ 1287463 h 1344613"/>
              <a:gd name="connsiteX2" fmla="*/ 6106 w 1317625"/>
              <a:gd name="connsiteY2" fmla="*/ 1306513 h 1344613"/>
              <a:gd name="connsiteX3" fmla="*/ 5861 w 1317625"/>
              <a:gd name="connsiteY3" fmla="*/ 1323976 h 1344613"/>
              <a:gd name="connsiteX4" fmla="*/ 5617 w 1317625"/>
              <a:gd name="connsiteY4" fmla="*/ 1330326 h 1344613"/>
              <a:gd name="connsiteX5" fmla="*/ 5617 w 1317625"/>
              <a:gd name="connsiteY5" fmla="*/ 1336676 h 1344613"/>
              <a:gd name="connsiteX6" fmla="*/ 5861 w 1317625"/>
              <a:gd name="connsiteY6" fmla="*/ 1341438 h 1344613"/>
              <a:gd name="connsiteX7" fmla="*/ 6350 w 1317625"/>
              <a:gd name="connsiteY7" fmla="*/ 1344613 h 1344613"/>
              <a:gd name="connsiteX8" fmla="*/ 1465 w 1317625"/>
              <a:gd name="connsiteY8" fmla="*/ 1344613 h 1344613"/>
              <a:gd name="connsiteX9" fmla="*/ 1221 w 1317625"/>
              <a:gd name="connsiteY9" fmla="*/ 1335088 h 1344613"/>
              <a:gd name="connsiteX10" fmla="*/ 733 w 1317625"/>
              <a:gd name="connsiteY10" fmla="*/ 1319213 h 1344613"/>
              <a:gd name="connsiteX11" fmla="*/ 244 w 1317625"/>
              <a:gd name="connsiteY11" fmla="*/ 1303338 h 1344613"/>
              <a:gd name="connsiteX12" fmla="*/ 110807 w 1317625"/>
              <a:gd name="connsiteY12" fmla="*/ 1277938 h 1344613"/>
              <a:gd name="connsiteX13" fmla="*/ 112712 w 1317625"/>
              <a:gd name="connsiteY13" fmla="*/ 1277938 h 1344613"/>
              <a:gd name="connsiteX14" fmla="*/ 110807 w 1317625"/>
              <a:gd name="connsiteY14" fmla="*/ 1281027 h 1344613"/>
              <a:gd name="connsiteX15" fmla="*/ 108426 w 1317625"/>
              <a:gd name="connsiteY15" fmla="*/ 1285661 h 1344613"/>
              <a:gd name="connsiteX16" fmla="*/ 106997 w 1317625"/>
              <a:gd name="connsiteY16" fmla="*/ 1289523 h 1344613"/>
              <a:gd name="connsiteX17" fmla="*/ 106045 w 1317625"/>
              <a:gd name="connsiteY17" fmla="*/ 1294156 h 1344613"/>
              <a:gd name="connsiteX18" fmla="*/ 103663 w 1317625"/>
              <a:gd name="connsiteY18" fmla="*/ 1301879 h 1344613"/>
              <a:gd name="connsiteX19" fmla="*/ 101758 w 1317625"/>
              <a:gd name="connsiteY19" fmla="*/ 1310375 h 1344613"/>
              <a:gd name="connsiteX20" fmla="*/ 100806 w 1317625"/>
              <a:gd name="connsiteY20" fmla="*/ 1314236 h 1344613"/>
              <a:gd name="connsiteX21" fmla="*/ 99377 w 1317625"/>
              <a:gd name="connsiteY21" fmla="*/ 1317325 h 1344613"/>
              <a:gd name="connsiteX22" fmla="*/ 97948 w 1317625"/>
              <a:gd name="connsiteY22" fmla="*/ 1321187 h 1344613"/>
              <a:gd name="connsiteX23" fmla="*/ 96043 w 1317625"/>
              <a:gd name="connsiteY23" fmla="*/ 1324276 h 1344613"/>
              <a:gd name="connsiteX24" fmla="*/ 93662 w 1317625"/>
              <a:gd name="connsiteY24" fmla="*/ 1328137 h 1344613"/>
              <a:gd name="connsiteX25" fmla="*/ 91281 w 1317625"/>
              <a:gd name="connsiteY25" fmla="*/ 1331227 h 1344613"/>
              <a:gd name="connsiteX26" fmla="*/ 87947 w 1317625"/>
              <a:gd name="connsiteY26" fmla="*/ 1333544 h 1344613"/>
              <a:gd name="connsiteX27" fmla="*/ 84137 w 1317625"/>
              <a:gd name="connsiteY27" fmla="*/ 1335088 h 1344613"/>
              <a:gd name="connsiteX28" fmla="*/ 86518 w 1317625"/>
              <a:gd name="connsiteY28" fmla="*/ 1324276 h 1344613"/>
              <a:gd name="connsiteX29" fmla="*/ 89852 w 1317625"/>
              <a:gd name="connsiteY29" fmla="*/ 1314236 h 1344613"/>
              <a:gd name="connsiteX30" fmla="*/ 93186 w 1317625"/>
              <a:gd name="connsiteY30" fmla="*/ 1304196 h 1344613"/>
              <a:gd name="connsiteX31" fmla="*/ 96996 w 1317625"/>
              <a:gd name="connsiteY31" fmla="*/ 1295701 h 1344613"/>
              <a:gd name="connsiteX32" fmla="*/ 101282 w 1317625"/>
              <a:gd name="connsiteY32" fmla="*/ 1288750 h 1344613"/>
              <a:gd name="connsiteX33" fmla="*/ 104616 w 1317625"/>
              <a:gd name="connsiteY33" fmla="*/ 1282572 h 1344613"/>
              <a:gd name="connsiteX34" fmla="*/ 106997 w 1317625"/>
              <a:gd name="connsiteY34" fmla="*/ 1280255 h 1344613"/>
              <a:gd name="connsiteX35" fmla="*/ 108902 w 1317625"/>
              <a:gd name="connsiteY35" fmla="*/ 1278710 h 1344613"/>
              <a:gd name="connsiteX36" fmla="*/ 773112 w 1317625"/>
              <a:gd name="connsiteY36" fmla="*/ 1069975 h 1344613"/>
              <a:gd name="connsiteX37" fmla="*/ 773112 w 1317625"/>
              <a:gd name="connsiteY37" fmla="*/ 1106070 h 1344613"/>
              <a:gd name="connsiteX38" fmla="*/ 773112 w 1317625"/>
              <a:gd name="connsiteY38" fmla="*/ 1127125 h 1344613"/>
              <a:gd name="connsiteX39" fmla="*/ 763588 w 1317625"/>
              <a:gd name="connsiteY39" fmla="*/ 1127125 h 1344613"/>
              <a:gd name="connsiteX40" fmla="*/ 758825 w 1317625"/>
              <a:gd name="connsiteY40" fmla="*/ 1127125 h 1344613"/>
              <a:gd name="connsiteX41" fmla="*/ 763588 w 1317625"/>
              <a:gd name="connsiteY41" fmla="*/ 1106070 h 1344613"/>
              <a:gd name="connsiteX42" fmla="*/ 1015206 w 1317625"/>
              <a:gd name="connsiteY42" fmla="*/ 1040131 h 1344613"/>
              <a:gd name="connsiteX43" fmla="*/ 1029815 w 1317625"/>
              <a:gd name="connsiteY43" fmla="*/ 1041997 h 1344613"/>
              <a:gd name="connsiteX44" fmla="*/ 1042764 w 1317625"/>
              <a:gd name="connsiteY44" fmla="*/ 1045729 h 1344613"/>
              <a:gd name="connsiteX45" fmla="*/ 1049405 w 1317625"/>
              <a:gd name="connsiteY45" fmla="*/ 1047595 h 1344613"/>
              <a:gd name="connsiteX46" fmla="*/ 1055381 w 1317625"/>
              <a:gd name="connsiteY46" fmla="*/ 1046662 h 1344613"/>
              <a:gd name="connsiteX47" fmla="*/ 1058370 w 1317625"/>
              <a:gd name="connsiteY47" fmla="*/ 1045729 h 1344613"/>
              <a:gd name="connsiteX48" fmla="*/ 1060694 w 1317625"/>
              <a:gd name="connsiteY48" fmla="*/ 1044796 h 1344613"/>
              <a:gd name="connsiteX49" fmla="*/ 1063350 w 1317625"/>
              <a:gd name="connsiteY49" fmla="*/ 1042930 h 1344613"/>
              <a:gd name="connsiteX50" fmla="*/ 1066006 w 1317625"/>
              <a:gd name="connsiteY50" fmla="*/ 1040131 h 1344613"/>
              <a:gd name="connsiteX51" fmla="*/ 1066006 w 1317625"/>
              <a:gd name="connsiteY51" fmla="*/ 1048528 h 1344613"/>
              <a:gd name="connsiteX52" fmla="*/ 1066006 w 1317625"/>
              <a:gd name="connsiteY52" fmla="*/ 1063457 h 1344613"/>
              <a:gd name="connsiteX53" fmla="*/ 1062686 w 1317625"/>
              <a:gd name="connsiteY53" fmla="*/ 1069055 h 1344613"/>
              <a:gd name="connsiteX54" fmla="*/ 1059366 w 1317625"/>
              <a:gd name="connsiteY54" fmla="*/ 1073721 h 1344613"/>
              <a:gd name="connsiteX55" fmla="*/ 1056377 w 1317625"/>
              <a:gd name="connsiteY55" fmla="*/ 1077453 h 1344613"/>
              <a:gd name="connsiteX56" fmla="*/ 1053057 w 1317625"/>
              <a:gd name="connsiteY56" fmla="*/ 1081185 h 1344613"/>
              <a:gd name="connsiteX57" fmla="*/ 1050401 w 1317625"/>
              <a:gd name="connsiteY57" fmla="*/ 1083051 h 1344613"/>
              <a:gd name="connsiteX58" fmla="*/ 1048077 w 1317625"/>
              <a:gd name="connsiteY58" fmla="*/ 1084917 h 1344613"/>
              <a:gd name="connsiteX59" fmla="*/ 1045753 w 1317625"/>
              <a:gd name="connsiteY59" fmla="*/ 1085850 h 1344613"/>
              <a:gd name="connsiteX60" fmla="*/ 1044093 w 1317625"/>
              <a:gd name="connsiteY60" fmla="*/ 1085850 h 1344613"/>
              <a:gd name="connsiteX61" fmla="*/ 1039112 w 1317625"/>
              <a:gd name="connsiteY61" fmla="*/ 1084917 h 1344613"/>
              <a:gd name="connsiteX62" fmla="*/ 1035128 w 1317625"/>
              <a:gd name="connsiteY62" fmla="*/ 1083051 h 1344613"/>
              <a:gd name="connsiteX63" fmla="*/ 1031808 w 1317625"/>
              <a:gd name="connsiteY63" fmla="*/ 1080252 h 1344613"/>
              <a:gd name="connsiteX64" fmla="*/ 1028819 w 1317625"/>
              <a:gd name="connsiteY64" fmla="*/ 1075587 h 1344613"/>
              <a:gd name="connsiteX65" fmla="*/ 1022511 w 1317625"/>
              <a:gd name="connsiteY65" fmla="*/ 1067189 h 1344613"/>
              <a:gd name="connsiteX66" fmla="*/ 1015206 w 1317625"/>
              <a:gd name="connsiteY66" fmla="*/ 1057859 h 1344613"/>
              <a:gd name="connsiteX67" fmla="*/ 719137 w 1317625"/>
              <a:gd name="connsiteY67" fmla="*/ 990600 h 1344613"/>
              <a:gd name="connsiteX68" fmla="*/ 759919 w 1317625"/>
              <a:gd name="connsiteY68" fmla="*/ 990600 h 1344613"/>
              <a:gd name="connsiteX69" fmla="*/ 765559 w 1317625"/>
              <a:gd name="connsiteY69" fmla="*/ 1000125 h 1344613"/>
              <a:gd name="connsiteX70" fmla="*/ 767729 w 1317625"/>
              <a:gd name="connsiteY70" fmla="*/ 996950 h 1344613"/>
              <a:gd name="connsiteX71" fmla="*/ 769898 w 1317625"/>
              <a:gd name="connsiteY71" fmla="*/ 994834 h 1344613"/>
              <a:gd name="connsiteX72" fmla="*/ 772067 w 1317625"/>
              <a:gd name="connsiteY72" fmla="*/ 993246 h 1344613"/>
              <a:gd name="connsiteX73" fmla="*/ 774236 w 1317625"/>
              <a:gd name="connsiteY73" fmla="*/ 992188 h 1344613"/>
              <a:gd name="connsiteX74" fmla="*/ 778575 w 1317625"/>
              <a:gd name="connsiteY74" fmla="*/ 991129 h 1344613"/>
              <a:gd name="connsiteX75" fmla="*/ 783347 w 1317625"/>
              <a:gd name="connsiteY75" fmla="*/ 990600 h 1344613"/>
              <a:gd name="connsiteX76" fmla="*/ 784649 w 1317625"/>
              <a:gd name="connsiteY76" fmla="*/ 990600 h 1344613"/>
              <a:gd name="connsiteX77" fmla="*/ 788987 w 1317625"/>
              <a:gd name="connsiteY77" fmla="*/ 990600 h 1344613"/>
              <a:gd name="connsiteX78" fmla="*/ 788987 w 1317625"/>
              <a:gd name="connsiteY78" fmla="*/ 1039284 h 1344613"/>
              <a:gd name="connsiteX79" fmla="*/ 786384 w 1317625"/>
              <a:gd name="connsiteY79" fmla="*/ 1039813 h 1344613"/>
              <a:gd name="connsiteX80" fmla="*/ 784215 w 1317625"/>
              <a:gd name="connsiteY80" fmla="*/ 1039813 h 1344613"/>
              <a:gd name="connsiteX81" fmla="*/ 782046 w 1317625"/>
              <a:gd name="connsiteY81" fmla="*/ 1039284 h 1344613"/>
              <a:gd name="connsiteX82" fmla="*/ 779876 w 1317625"/>
              <a:gd name="connsiteY82" fmla="*/ 1038755 h 1344613"/>
              <a:gd name="connsiteX83" fmla="*/ 775104 w 1317625"/>
              <a:gd name="connsiteY83" fmla="*/ 1037167 h 1344613"/>
              <a:gd name="connsiteX84" fmla="*/ 771199 w 1317625"/>
              <a:gd name="connsiteY84" fmla="*/ 1033992 h 1344613"/>
              <a:gd name="connsiteX85" fmla="*/ 767295 w 1317625"/>
              <a:gd name="connsiteY85" fmla="*/ 1030288 h 1344613"/>
              <a:gd name="connsiteX86" fmla="*/ 764258 w 1317625"/>
              <a:gd name="connsiteY86" fmla="*/ 1026055 h 1344613"/>
              <a:gd name="connsiteX87" fmla="*/ 761221 w 1317625"/>
              <a:gd name="connsiteY87" fmla="*/ 1021821 h 1344613"/>
              <a:gd name="connsiteX88" fmla="*/ 759919 w 1317625"/>
              <a:gd name="connsiteY88" fmla="*/ 1016530 h 1344613"/>
              <a:gd name="connsiteX89" fmla="*/ 759052 w 1317625"/>
              <a:gd name="connsiteY89" fmla="*/ 1017059 h 1344613"/>
              <a:gd name="connsiteX90" fmla="*/ 757750 w 1317625"/>
              <a:gd name="connsiteY90" fmla="*/ 1017588 h 1344613"/>
              <a:gd name="connsiteX91" fmla="*/ 756448 w 1317625"/>
              <a:gd name="connsiteY91" fmla="*/ 1017588 h 1344613"/>
              <a:gd name="connsiteX92" fmla="*/ 755581 w 1317625"/>
              <a:gd name="connsiteY92" fmla="*/ 1017588 h 1344613"/>
              <a:gd name="connsiteX93" fmla="*/ 752978 w 1317625"/>
              <a:gd name="connsiteY93" fmla="*/ 1017059 h 1344613"/>
              <a:gd name="connsiteX94" fmla="*/ 751242 w 1317625"/>
              <a:gd name="connsiteY94" fmla="*/ 1016530 h 1344613"/>
              <a:gd name="connsiteX95" fmla="*/ 747338 w 1317625"/>
              <a:gd name="connsiteY95" fmla="*/ 1016000 h 1344613"/>
              <a:gd name="connsiteX96" fmla="*/ 742999 w 1317625"/>
              <a:gd name="connsiteY96" fmla="*/ 1014413 h 1344613"/>
              <a:gd name="connsiteX97" fmla="*/ 738227 w 1317625"/>
              <a:gd name="connsiteY97" fmla="*/ 1011767 h 1344613"/>
              <a:gd name="connsiteX98" fmla="*/ 733020 w 1317625"/>
              <a:gd name="connsiteY98" fmla="*/ 1008592 h 1344613"/>
              <a:gd name="connsiteX99" fmla="*/ 728248 w 1317625"/>
              <a:gd name="connsiteY99" fmla="*/ 1004359 h 1344613"/>
              <a:gd name="connsiteX100" fmla="*/ 724343 w 1317625"/>
              <a:gd name="connsiteY100" fmla="*/ 1000125 h 1344613"/>
              <a:gd name="connsiteX101" fmla="*/ 722608 w 1317625"/>
              <a:gd name="connsiteY101" fmla="*/ 998009 h 1344613"/>
              <a:gd name="connsiteX102" fmla="*/ 721307 w 1317625"/>
              <a:gd name="connsiteY102" fmla="*/ 995363 h 1344613"/>
              <a:gd name="connsiteX103" fmla="*/ 720439 w 1317625"/>
              <a:gd name="connsiteY103" fmla="*/ 993246 h 1344613"/>
              <a:gd name="connsiteX104" fmla="*/ 1317625 w 1317625"/>
              <a:gd name="connsiteY104" fmla="*/ 959644 h 1344613"/>
              <a:gd name="connsiteX105" fmla="*/ 1316948 w 1317625"/>
              <a:gd name="connsiteY105" fmla="*/ 961607 h 1344613"/>
              <a:gd name="connsiteX106" fmla="*/ 1316271 w 1317625"/>
              <a:gd name="connsiteY106" fmla="*/ 962916 h 1344613"/>
              <a:gd name="connsiteX107" fmla="*/ 1314239 w 1317625"/>
              <a:gd name="connsiteY107" fmla="*/ 964224 h 1344613"/>
              <a:gd name="connsiteX108" fmla="*/ 1312885 w 1317625"/>
              <a:gd name="connsiteY108" fmla="*/ 965533 h 1344613"/>
              <a:gd name="connsiteX109" fmla="*/ 1308145 w 1317625"/>
              <a:gd name="connsiteY109" fmla="*/ 967496 h 1344613"/>
              <a:gd name="connsiteX110" fmla="*/ 1304759 w 1317625"/>
              <a:gd name="connsiteY110" fmla="*/ 968150 h 1344613"/>
              <a:gd name="connsiteX111" fmla="*/ 1304081 w 1317625"/>
              <a:gd name="connsiteY111" fmla="*/ 972076 h 1344613"/>
              <a:gd name="connsiteX112" fmla="*/ 1302727 w 1317625"/>
              <a:gd name="connsiteY112" fmla="*/ 976656 h 1344613"/>
              <a:gd name="connsiteX113" fmla="*/ 1302050 w 1317625"/>
              <a:gd name="connsiteY113" fmla="*/ 980582 h 1344613"/>
              <a:gd name="connsiteX114" fmla="*/ 1300695 w 1317625"/>
              <a:gd name="connsiteY114" fmla="*/ 983853 h 1344613"/>
              <a:gd name="connsiteX115" fmla="*/ 1299341 w 1317625"/>
              <a:gd name="connsiteY115" fmla="*/ 986470 h 1344613"/>
              <a:gd name="connsiteX116" fmla="*/ 1297309 w 1317625"/>
              <a:gd name="connsiteY116" fmla="*/ 989088 h 1344613"/>
              <a:gd name="connsiteX117" fmla="*/ 1293923 w 1317625"/>
              <a:gd name="connsiteY117" fmla="*/ 991705 h 1344613"/>
              <a:gd name="connsiteX118" fmla="*/ 1291215 w 1317625"/>
              <a:gd name="connsiteY118" fmla="*/ 994322 h 1344613"/>
              <a:gd name="connsiteX119" fmla="*/ 1284443 w 1317625"/>
              <a:gd name="connsiteY119" fmla="*/ 998248 h 1344613"/>
              <a:gd name="connsiteX120" fmla="*/ 1275639 w 1317625"/>
              <a:gd name="connsiteY120" fmla="*/ 1002173 h 1344613"/>
              <a:gd name="connsiteX121" fmla="*/ 1266158 w 1317625"/>
              <a:gd name="connsiteY121" fmla="*/ 1004791 h 1344613"/>
              <a:gd name="connsiteX122" fmla="*/ 1254646 w 1317625"/>
              <a:gd name="connsiteY122" fmla="*/ 1008062 h 1344613"/>
              <a:gd name="connsiteX123" fmla="*/ 1241102 w 1317625"/>
              <a:gd name="connsiteY123" fmla="*/ 988433 h 1344613"/>
              <a:gd name="connsiteX124" fmla="*/ 1254646 w 1317625"/>
              <a:gd name="connsiteY124" fmla="*/ 981236 h 1344613"/>
              <a:gd name="connsiteX125" fmla="*/ 1274285 w 1317625"/>
              <a:gd name="connsiteY125" fmla="*/ 972076 h 1344613"/>
              <a:gd name="connsiteX126" fmla="*/ 1285120 w 1317625"/>
              <a:gd name="connsiteY126" fmla="*/ 968150 h 1344613"/>
              <a:gd name="connsiteX127" fmla="*/ 1296632 w 1317625"/>
              <a:gd name="connsiteY127" fmla="*/ 964879 h 1344613"/>
              <a:gd name="connsiteX128" fmla="*/ 1307467 w 1317625"/>
              <a:gd name="connsiteY128" fmla="*/ 962261 h 1344613"/>
              <a:gd name="connsiteX129" fmla="*/ 492125 w 1317625"/>
              <a:gd name="connsiteY129" fmla="*/ 931863 h 1344613"/>
              <a:gd name="connsiteX130" fmla="*/ 495860 w 1317625"/>
              <a:gd name="connsiteY130" fmla="*/ 931863 h 1344613"/>
              <a:gd name="connsiteX131" fmla="*/ 501930 w 1317625"/>
              <a:gd name="connsiteY131" fmla="*/ 931863 h 1344613"/>
              <a:gd name="connsiteX132" fmla="*/ 503798 w 1317625"/>
              <a:gd name="connsiteY132" fmla="*/ 941194 h 1344613"/>
              <a:gd name="connsiteX133" fmla="*/ 506132 w 1317625"/>
              <a:gd name="connsiteY133" fmla="*/ 945859 h 1344613"/>
              <a:gd name="connsiteX134" fmla="*/ 506599 w 1317625"/>
              <a:gd name="connsiteY134" fmla="*/ 949358 h 1344613"/>
              <a:gd name="connsiteX135" fmla="*/ 507533 w 1317625"/>
              <a:gd name="connsiteY135" fmla="*/ 951691 h 1344613"/>
              <a:gd name="connsiteX136" fmla="*/ 507533 w 1317625"/>
              <a:gd name="connsiteY136" fmla="*/ 956356 h 1344613"/>
              <a:gd name="connsiteX137" fmla="*/ 508000 w 1317625"/>
              <a:gd name="connsiteY137" fmla="*/ 961021 h 1344613"/>
              <a:gd name="connsiteX138" fmla="*/ 508000 w 1317625"/>
              <a:gd name="connsiteY138" fmla="*/ 971518 h 1344613"/>
              <a:gd name="connsiteX139" fmla="*/ 508000 w 1317625"/>
              <a:gd name="connsiteY139" fmla="*/ 989013 h 1344613"/>
              <a:gd name="connsiteX140" fmla="*/ 505666 w 1317625"/>
              <a:gd name="connsiteY140" fmla="*/ 985514 h 1344613"/>
              <a:gd name="connsiteX141" fmla="*/ 503331 w 1317625"/>
              <a:gd name="connsiteY141" fmla="*/ 982015 h 1344613"/>
              <a:gd name="connsiteX142" fmla="*/ 500996 w 1317625"/>
              <a:gd name="connsiteY142" fmla="*/ 977350 h 1344613"/>
              <a:gd name="connsiteX143" fmla="*/ 498662 w 1317625"/>
              <a:gd name="connsiteY143" fmla="*/ 971518 h 1344613"/>
              <a:gd name="connsiteX144" fmla="*/ 496794 w 1317625"/>
              <a:gd name="connsiteY144" fmla="*/ 963354 h 1344613"/>
              <a:gd name="connsiteX145" fmla="*/ 495394 w 1317625"/>
              <a:gd name="connsiteY145" fmla="*/ 955190 h 1344613"/>
              <a:gd name="connsiteX146" fmla="*/ 493526 w 1317625"/>
              <a:gd name="connsiteY146" fmla="*/ 944693 h 1344613"/>
              <a:gd name="connsiteX147" fmla="*/ 1037139 w 1317625"/>
              <a:gd name="connsiteY147" fmla="*/ 887842 h 1344613"/>
              <a:gd name="connsiteX148" fmla="*/ 1034397 w 1317625"/>
              <a:gd name="connsiteY148" fmla="*/ 890987 h 1344613"/>
              <a:gd name="connsiteX149" fmla="*/ 1031824 w 1317625"/>
              <a:gd name="connsiteY149" fmla="*/ 893151 h 1344613"/>
              <a:gd name="connsiteX150" fmla="*/ 1028823 w 1317625"/>
              <a:gd name="connsiteY150" fmla="*/ 895315 h 1344613"/>
              <a:gd name="connsiteX151" fmla="*/ 1028721 w 1317625"/>
              <a:gd name="connsiteY151" fmla="*/ 895358 h 1344613"/>
              <a:gd name="connsiteX152" fmla="*/ 1028767 w 1317625"/>
              <a:gd name="connsiteY152" fmla="*/ 895350 h 1344613"/>
              <a:gd name="connsiteX153" fmla="*/ 1030997 w 1317625"/>
              <a:gd name="connsiteY153" fmla="*/ 894292 h 1344613"/>
              <a:gd name="connsiteX154" fmla="*/ 1033673 w 1317625"/>
              <a:gd name="connsiteY154" fmla="*/ 892175 h 1344613"/>
              <a:gd name="connsiteX155" fmla="*/ 1035457 w 1317625"/>
              <a:gd name="connsiteY155" fmla="*/ 890058 h 1344613"/>
              <a:gd name="connsiteX156" fmla="*/ 297880 w 1317625"/>
              <a:gd name="connsiteY156" fmla="*/ 880096 h 1344613"/>
              <a:gd name="connsiteX157" fmla="*/ 300037 w 1317625"/>
              <a:gd name="connsiteY157" fmla="*/ 880334 h 1344613"/>
              <a:gd name="connsiteX158" fmla="*/ 300037 w 1317625"/>
              <a:gd name="connsiteY158" fmla="*/ 883468 h 1344613"/>
              <a:gd name="connsiteX159" fmla="*/ 300037 w 1317625"/>
              <a:gd name="connsiteY159" fmla="*/ 886601 h 1344613"/>
              <a:gd name="connsiteX160" fmla="*/ 298317 w 1317625"/>
              <a:gd name="connsiteY160" fmla="*/ 889735 h 1344613"/>
              <a:gd name="connsiteX161" fmla="*/ 296168 w 1317625"/>
              <a:gd name="connsiteY161" fmla="*/ 897047 h 1344613"/>
              <a:gd name="connsiteX162" fmla="*/ 292728 w 1317625"/>
              <a:gd name="connsiteY162" fmla="*/ 908014 h 1344613"/>
              <a:gd name="connsiteX163" fmla="*/ 289288 w 1317625"/>
              <a:gd name="connsiteY163" fmla="*/ 919504 h 1344613"/>
              <a:gd name="connsiteX164" fmla="*/ 285419 w 1317625"/>
              <a:gd name="connsiteY164" fmla="*/ 931516 h 1344613"/>
              <a:gd name="connsiteX165" fmla="*/ 282839 w 1317625"/>
              <a:gd name="connsiteY165" fmla="*/ 942484 h 1344613"/>
              <a:gd name="connsiteX166" fmla="*/ 280689 w 1317625"/>
              <a:gd name="connsiteY166" fmla="*/ 951363 h 1344613"/>
              <a:gd name="connsiteX167" fmla="*/ 280680 w 1317625"/>
              <a:gd name="connsiteY167" fmla="*/ 951487 h 1344613"/>
              <a:gd name="connsiteX168" fmla="*/ 282752 w 1317625"/>
              <a:gd name="connsiteY168" fmla="*/ 942942 h 1344613"/>
              <a:gd name="connsiteX169" fmla="*/ 285357 w 1317625"/>
              <a:gd name="connsiteY169" fmla="*/ 931877 h 1344613"/>
              <a:gd name="connsiteX170" fmla="*/ 289266 w 1317625"/>
              <a:gd name="connsiteY170" fmla="*/ 919758 h 1344613"/>
              <a:gd name="connsiteX171" fmla="*/ 292740 w 1317625"/>
              <a:gd name="connsiteY171" fmla="*/ 908165 h 1344613"/>
              <a:gd name="connsiteX172" fmla="*/ 296215 w 1317625"/>
              <a:gd name="connsiteY172" fmla="*/ 897100 h 1344613"/>
              <a:gd name="connsiteX173" fmla="*/ 298386 w 1317625"/>
              <a:gd name="connsiteY173" fmla="*/ 889723 h 1344613"/>
              <a:gd name="connsiteX174" fmla="*/ 300123 w 1317625"/>
              <a:gd name="connsiteY174" fmla="*/ 886562 h 1344613"/>
              <a:gd name="connsiteX175" fmla="*/ 300123 w 1317625"/>
              <a:gd name="connsiteY175" fmla="*/ 883400 h 1344613"/>
              <a:gd name="connsiteX176" fmla="*/ 300123 w 1317625"/>
              <a:gd name="connsiteY176" fmla="*/ 880239 h 1344613"/>
              <a:gd name="connsiteX177" fmla="*/ 276985 w 1317625"/>
              <a:gd name="connsiteY177" fmla="*/ 876326 h 1344613"/>
              <a:gd name="connsiteX178" fmla="*/ 278110 w 1317625"/>
              <a:gd name="connsiteY178" fmla="*/ 876678 h 1344613"/>
              <a:gd name="connsiteX179" fmla="*/ 284129 w 1317625"/>
              <a:gd name="connsiteY179" fmla="*/ 878245 h 1344613"/>
              <a:gd name="connsiteX180" fmla="*/ 287561 w 1317625"/>
              <a:gd name="connsiteY180" fmla="*/ 878840 h 1344613"/>
              <a:gd name="connsiteX181" fmla="*/ 284055 w 1317625"/>
              <a:gd name="connsiteY181" fmla="*/ 878131 h 1344613"/>
              <a:gd name="connsiteX182" fmla="*/ 243161 w 1317625"/>
              <a:gd name="connsiteY182" fmla="*/ 867038 h 1344613"/>
              <a:gd name="connsiteX183" fmla="*/ 252743 w 1317625"/>
              <a:gd name="connsiteY183" fmla="*/ 869366 h 1344613"/>
              <a:gd name="connsiteX184" fmla="*/ 264781 w 1317625"/>
              <a:gd name="connsiteY184" fmla="*/ 872500 h 1344613"/>
              <a:gd name="connsiteX185" fmla="*/ 274220 w 1317625"/>
              <a:gd name="connsiteY185" fmla="*/ 875459 h 1344613"/>
              <a:gd name="connsiteX186" fmla="*/ 268420 w 1317625"/>
              <a:gd name="connsiteY186" fmla="*/ 873389 h 1344613"/>
              <a:gd name="connsiteX187" fmla="*/ 260168 w 1317625"/>
              <a:gd name="connsiteY187" fmla="*/ 870755 h 1344613"/>
              <a:gd name="connsiteX188" fmla="*/ 252351 w 1317625"/>
              <a:gd name="connsiteY188" fmla="*/ 868647 h 1344613"/>
              <a:gd name="connsiteX189" fmla="*/ 243665 w 1317625"/>
              <a:gd name="connsiteY189" fmla="*/ 867066 h 1344613"/>
              <a:gd name="connsiteX190" fmla="*/ 966221 w 1317625"/>
              <a:gd name="connsiteY190" fmla="*/ 866642 h 1344613"/>
              <a:gd name="connsiteX191" fmla="*/ 965798 w 1317625"/>
              <a:gd name="connsiteY191" fmla="*/ 866909 h 1344613"/>
              <a:gd name="connsiteX192" fmla="*/ 966732 w 1317625"/>
              <a:gd name="connsiteY192" fmla="*/ 869543 h 1344613"/>
              <a:gd name="connsiteX193" fmla="*/ 467671 w 1317625"/>
              <a:gd name="connsiteY193" fmla="*/ 853571 h 1344613"/>
              <a:gd name="connsiteX194" fmla="*/ 459254 w 1317625"/>
              <a:gd name="connsiteY194" fmla="*/ 854046 h 1344613"/>
              <a:gd name="connsiteX195" fmla="*/ 463417 w 1317625"/>
              <a:gd name="connsiteY195" fmla="*/ 857582 h 1344613"/>
              <a:gd name="connsiteX196" fmla="*/ 465648 w 1317625"/>
              <a:gd name="connsiteY196" fmla="*/ 859872 h 1344613"/>
              <a:gd name="connsiteX197" fmla="*/ 435162 w 1317625"/>
              <a:gd name="connsiteY197" fmla="*/ 844060 h 1344613"/>
              <a:gd name="connsiteX198" fmla="*/ 433383 w 1317625"/>
              <a:gd name="connsiteY198" fmla="*/ 844587 h 1344613"/>
              <a:gd name="connsiteX199" fmla="*/ 431605 w 1317625"/>
              <a:gd name="connsiteY199" fmla="*/ 845641 h 1344613"/>
              <a:gd name="connsiteX200" fmla="*/ 430773 w 1317625"/>
              <a:gd name="connsiteY200" fmla="*/ 846381 h 1344613"/>
              <a:gd name="connsiteX201" fmla="*/ 433885 w 1317625"/>
              <a:gd name="connsiteY201" fmla="*/ 848097 h 1344613"/>
              <a:gd name="connsiteX202" fmla="*/ 440516 w 1317625"/>
              <a:gd name="connsiteY202" fmla="*/ 850396 h 1344613"/>
              <a:gd name="connsiteX203" fmla="*/ 439609 w 1317625"/>
              <a:gd name="connsiteY203" fmla="*/ 849858 h 1344613"/>
              <a:gd name="connsiteX204" fmla="*/ 437830 w 1317625"/>
              <a:gd name="connsiteY204" fmla="*/ 848277 h 1344613"/>
              <a:gd name="connsiteX205" fmla="*/ 436496 w 1317625"/>
              <a:gd name="connsiteY205" fmla="*/ 846168 h 1344613"/>
              <a:gd name="connsiteX206" fmla="*/ 646112 w 1317625"/>
              <a:gd name="connsiteY206" fmla="*/ 833438 h 1344613"/>
              <a:gd name="connsiteX207" fmla="*/ 644803 w 1317625"/>
              <a:gd name="connsiteY207" fmla="*/ 849416 h 1344613"/>
              <a:gd name="connsiteX208" fmla="*/ 643929 w 1317625"/>
              <a:gd name="connsiteY208" fmla="*/ 866007 h 1344613"/>
              <a:gd name="connsiteX209" fmla="*/ 643493 w 1317625"/>
              <a:gd name="connsiteY209" fmla="*/ 873382 h 1344613"/>
              <a:gd name="connsiteX210" fmla="*/ 643493 w 1317625"/>
              <a:gd name="connsiteY210" fmla="*/ 880756 h 1344613"/>
              <a:gd name="connsiteX211" fmla="*/ 643929 w 1317625"/>
              <a:gd name="connsiteY211" fmla="*/ 883828 h 1344613"/>
              <a:gd name="connsiteX212" fmla="*/ 644366 w 1317625"/>
              <a:gd name="connsiteY212" fmla="*/ 886287 h 1344613"/>
              <a:gd name="connsiteX213" fmla="*/ 644803 w 1317625"/>
              <a:gd name="connsiteY213" fmla="*/ 888745 h 1344613"/>
              <a:gd name="connsiteX214" fmla="*/ 645389 w 1317625"/>
              <a:gd name="connsiteY214" fmla="*/ 889570 h 1344613"/>
              <a:gd name="connsiteX215" fmla="*/ 646876 w 1317625"/>
              <a:gd name="connsiteY215" fmla="*/ 891025 h 1344613"/>
              <a:gd name="connsiteX216" fmla="*/ 647720 w 1317625"/>
              <a:gd name="connsiteY216" fmla="*/ 892573 h 1344613"/>
              <a:gd name="connsiteX217" fmla="*/ 648564 w 1317625"/>
              <a:gd name="connsiteY217" fmla="*/ 894636 h 1344613"/>
              <a:gd name="connsiteX218" fmla="*/ 649830 w 1317625"/>
              <a:gd name="connsiteY218" fmla="*/ 898764 h 1344613"/>
              <a:gd name="connsiteX219" fmla="*/ 651096 w 1317625"/>
              <a:gd name="connsiteY219" fmla="*/ 903923 h 1344613"/>
              <a:gd name="connsiteX220" fmla="*/ 651518 w 1317625"/>
              <a:gd name="connsiteY220" fmla="*/ 908051 h 1344613"/>
              <a:gd name="connsiteX221" fmla="*/ 651940 w 1317625"/>
              <a:gd name="connsiteY221" fmla="*/ 912694 h 1344613"/>
              <a:gd name="connsiteX222" fmla="*/ 652784 w 1317625"/>
              <a:gd name="connsiteY222" fmla="*/ 917338 h 1344613"/>
              <a:gd name="connsiteX223" fmla="*/ 654050 w 1317625"/>
              <a:gd name="connsiteY223" fmla="*/ 921981 h 1344613"/>
              <a:gd name="connsiteX224" fmla="*/ 654050 w 1317625"/>
              <a:gd name="connsiteY224" fmla="*/ 937975 h 1344613"/>
              <a:gd name="connsiteX225" fmla="*/ 649408 w 1317625"/>
              <a:gd name="connsiteY225" fmla="*/ 946746 h 1344613"/>
              <a:gd name="connsiteX226" fmla="*/ 645610 w 1317625"/>
              <a:gd name="connsiteY226" fmla="*/ 953969 h 1344613"/>
              <a:gd name="connsiteX227" fmla="*/ 643078 w 1317625"/>
              <a:gd name="connsiteY227" fmla="*/ 957581 h 1344613"/>
              <a:gd name="connsiteX228" fmla="*/ 641812 w 1317625"/>
              <a:gd name="connsiteY228" fmla="*/ 961708 h 1344613"/>
              <a:gd name="connsiteX229" fmla="*/ 640968 w 1317625"/>
              <a:gd name="connsiteY229" fmla="*/ 965320 h 1344613"/>
              <a:gd name="connsiteX230" fmla="*/ 640124 w 1317625"/>
              <a:gd name="connsiteY230" fmla="*/ 969963 h 1344613"/>
              <a:gd name="connsiteX231" fmla="*/ 637592 w 1317625"/>
              <a:gd name="connsiteY231" fmla="*/ 967383 h 1344613"/>
              <a:gd name="connsiteX232" fmla="*/ 634638 w 1317625"/>
              <a:gd name="connsiteY232" fmla="*/ 964804 h 1344613"/>
              <a:gd name="connsiteX233" fmla="*/ 632528 w 1317625"/>
              <a:gd name="connsiteY233" fmla="*/ 961708 h 1344613"/>
              <a:gd name="connsiteX234" fmla="*/ 629996 w 1317625"/>
              <a:gd name="connsiteY234" fmla="*/ 958097 h 1344613"/>
              <a:gd name="connsiteX235" fmla="*/ 628308 w 1317625"/>
              <a:gd name="connsiteY235" fmla="*/ 954485 h 1344613"/>
              <a:gd name="connsiteX236" fmla="*/ 627042 w 1317625"/>
              <a:gd name="connsiteY236" fmla="*/ 950873 h 1344613"/>
              <a:gd name="connsiteX237" fmla="*/ 625354 w 1317625"/>
              <a:gd name="connsiteY237" fmla="*/ 946746 h 1344613"/>
              <a:gd name="connsiteX238" fmla="*/ 624088 w 1317625"/>
              <a:gd name="connsiteY238" fmla="*/ 943134 h 1344613"/>
              <a:gd name="connsiteX239" fmla="*/ 622400 w 1317625"/>
              <a:gd name="connsiteY239" fmla="*/ 934363 h 1344613"/>
              <a:gd name="connsiteX240" fmla="*/ 621134 w 1317625"/>
              <a:gd name="connsiteY240" fmla="*/ 925077 h 1344613"/>
              <a:gd name="connsiteX241" fmla="*/ 620712 w 1317625"/>
              <a:gd name="connsiteY241" fmla="*/ 915790 h 1344613"/>
              <a:gd name="connsiteX242" fmla="*/ 620712 w 1317625"/>
              <a:gd name="connsiteY242" fmla="*/ 906503 h 1344613"/>
              <a:gd name="connsiteX243" fmla="*/ 623244 w 1317625"/>
              <a:gd name="connsiteY243" fmla="*/ 906503 h 1344613"/>
              <a:gd name="connsiteX244" fmla="*/ 625354 w 1317625"/>
              <a:gd name="connsiteY244" fmla="*/ 905987 h 1344613"/>
              <a:gd name="connsiteX245" fmla="*/ 627464 w 1317625"/>
              <a:gd name="connsiteY245" fmla="*/ 905471 h 1344613"/>
              <a:gd name="connsiteX246" fmla="*/ 628730 w 1317625"/>
              <a:gd name="connsiteY246" fmla="*/ 904439 h 1344613"/>
              <a:gd name="connsiteX247" fmla="*/ 631684 w 1317625"/>
              <a:gd name="connsiteY247" fmla="*/ 901859 h 1344613"/>
              <a:gd name="connsiteX248" fmla="*/ 633794 w 1317625"/>
              <a:gd name="connsiteY248" fmla="*/ 898764 h 1344613"/>
              <a:gd name="connsiteX249" fmla="*/ 636326 w 1317625"/>
              <a:gd name="connsiteY249" fmla="*/ 895668 h 1344613"/>
              <a:gd name="connsiteX250" fmla="*/ 638014 w 1317625"/>
              <a:gd name="connsiteY250" fmla="*/ 892573 h 1344613"/>
              <a:gd name="connsiteX251" fmla="*/ 639637 w 1317625"/>
              <a:gd name="connsiteY251" fmla="*/ 890588 h 1344613"/>
              <a:gd name="connsiteX252" fmla="*/ 634325 w 1317625"/>
              <a:gd name="connsiteY252" fmla="*/ 890588 h 1344613"/>
              <a:gd name="connsiteX253" fmla="*/ 633452 w 1317625"/>
              <a:gd name="connsiteY253" fmla="*/ 889974 h 1344613"/>
              <a:gd name="connsiteX254" fmla="*/ 632143 w 1317625"/>
              <a:gd name="connsiteY254" fmla="*/ 889359 h 1344613"/>
              <a:gd name="connsiteX255" fmla="*/ 631270 w 1317625"/>
              <a:gd name="connsiteY255" fmla="*/ 887516 h 1344613"/>
              <a:gd name="connsiteX256" fmla="*/ 630396 w 1317625"/>
              <a:gd name="connsiteY256" fmla="*/ 886287 h 1344613"/>
              <a:gd name="connsiteX257" fmla="*/ 629087 w 1317625"/>
              <a:gd name="connsiteY257" fmla="*/ 882599 h 1344613"/>
              <a:gd name="connsiteX258" fmla="*/ 628650 w 1317625"/>
              <a:gd name="connsiteY258" fmla="*/ 878298 h 1344613"/>
              <a:gd name="connsiteX259" fmla="*/ 629087 w 1317625"/>
              <a:gd name="connsiteY259" fmla="*/ 872767 h 1344613"/>
              <a:gd name="connsiteX260" fmla="*/ 629960 w 1317625"/>
              <a:gd name="connsiteY260" fmla="*/ 864164 h 1344613"/>
              <a:gd name="connsiteX261" fmla="*/ 631270 w 1317625"/>
              <a:gd name="connsiteY261" fmla="*/ 856175 h 1344613"/>
              <a:gd name="connsiteX262" fmla="*/ 631706 w 1317625"/>
              <a:gd name="connsiteY262" fmla="*/ 852488 h 1344613"/>
              <a:gd name="connsiteX263" fmla="*/ 633016 w 1317625"/>
              <a:gd name="connsiteY263" fmla="*/ 851874 h 1344613"/>
              <a:gd name="connsiteX264" fmla="*/ 634762 w 1317625"/>
              <a:gd name="connsiteY264" fmla="*/ 849416 h 1344613"/>
              <a:gd name="connsiteX265" fmla="*/ 637381 w 1317625"/>
              <a:gd name="connsiteY265" fmla="*/ 845728 h 1344613"/>
              <a:gd name="connsiteX266" fmla="*/ 639564 w 1317625"/>
              <a:gd name="connsiteY266" fmla="*/ 842656 h 1344613"/>
              <a:gd name="connsiteX267" fmla="*/ 643929 w 1317625"/>
              <a:gd name="connsiteY267" fmla="*/ 835896 h 1344613"/>
              <a:gd name="connsiteX268" fmla="*/ 963430 w 1317625"/>
              <a:gd name="connsiteY268" fmla="*/ 831987 h 1344613"/>
              <a:gd name="connsiteX269" fmla="*/ 963173 w 1317625"/>
              <a:gd name="connsiteY269" fmla="*/ 833829 h 1344613"/>
              <a:gd name="connsiteX270" fmla="*/ 961418 w 1317625"/>
              <a:gd name="connsiteY270" fmla="*/ 836456 h 1344613"/>
              <a:gd name="connsiteX271" fmla="*/ 959663 w 1317625"/>
              <a:gd name="connsiteY271" fmla="*/ 839083 h 1344613"/>
              <a:gd name="connsiteX272" fmla="*/ 957908 w 1317625"/>
              <a:gd name="connsiteY272" fmla="*/ 840660 h 1344613"/>
              <a:gd name="connsiteX273" fmla="*/ 955275 w 1317625"/>
              <a:gd name="connsiteY273" fmla="*/ 842761 h 1344613"/>
              <a:gd name="connsiteX274" fmla="*/ 953519 w 1317625"/>
              <a:gd name="connsiteY274" fmla="*/ 843812 h 1344613"/>
              <a:gd name="connsiteX275" fmla="*/ 952642 w 1317625"/>
              <a:gd name="connsiteY275" fmla="*/ 845389 h 1344613"/>
              <a:gd name="connsiteX276" fmla="*/ 952203 w 1317625"/>
              <a:gd name="connsiteY276" fmla="*/ 846965 h 1344613"/>
              <a:gd name="connsiteX277" fmla="*/ 944743 w 1317625"/>
              <a:gd name="connsiteY277" fmla="*/ 849592 h 1344613"/>
              <a:gd name="connsiteX278" fmla="*/ 938599 w 1317625"/>
              <a:gd name="connsiteY278" fmla="*/ 852745 h 1344613"/>
              <a:gd name="connsiteX279" fmla="*/ 932895 w 1317625"/>
              <a:gd name="connsiteY279" fmla="*/ 856423 h 1344613"/>
              <a:gd name="connsiteX280" fmla="*/ 929087 w 1317625"/>
              <a:gd name="connsiteY280" fmla="*/ 859462 h 1344613"/>
              <a:gd name="connsiteX281" fmla="*/ 936565 w 1317625"/>
              <a:gd name="connsiteY281" fmla="*/ 854944 h 1344613"/>
              <a:gd name="connsiteX282" fmla="*/ 944672 w 1317625"/>
              <a:gd name="connsiteY282" fmla="*/ 850819 h 1344613"/>
              <a:gd name="connsiteX283" fmla="*/ 951925 w 1317625"/>
              <a:gd name="connsiteY283" fmla="*/ 847725 h 1344613"/>
              <a:gd name="connsiteX284" fmla="*/ 951925 w 1317625"/>
              <a:gd name="connsiteY284" fmla="*/ 852366 h 1344613"/>
              <a:gd name="connsiteX285" fmla="*/ 951925 w 1317625"/>
              <a:gd name="connsiteY285" fmla="*/ 857006 h 1344613"/>
              <a:gd name="connsiteX286" fmla="*/ 952351 w 1317625"/>
              <a:gd name="connsiteY286" fmla="*/ 860615 h 1344613"/>
              <a:gd name="connsiteX287" fmla="*/ 953205 w 1317625"/>
              <a:gd name="connsiteY287" fmla="*/ 864224 h 1344613"/>
              <a:gd name="connsiteX288" fmla="*/ 953590 w 1317625"/>
              <a:gd name="connsiteY288" fmla="*/ 864689 h 1344613"/>
              <a:gd name="connsiteX289" fmla="*/ 952929 w 1317625"/>
              <a:gd name="connsiteY289" fmla="*/ 861773 h 1344613"/>
              <a:gd name="connsiteX290" fmla="*/ 952500 w 1317625"/>
              <a:gd name="connsiteY290" fmla="*/ 856905 h 1344613"/>
              <a:gd name="connsiteX291" fmla="*/ 952500 w 1317625"/>
              <a:gd name="connsiteY291" fmla="*/ 852036 h 1344613"/>
              <a:gd name="connsiteX292" fmla="*/ 952500 w 1317625"/>
              <a:gd name="connsiteY292" fmla="*/ 847167 h 1344613"/>
              <a:gd name="connsiteX293" fmla="*/ 952929 w 1317625"/>
              <a:gd name="connsiteY293" fmla="*/ 845544 h 1344613"/>
              <a:gd name="connsiteX294" fmla="*/ 953787 w 1317625"/>
              <a:gd name="connsiteY294" fmla="*/ 844462 h 1344613"/>
              <a:gd name="connsiteX295" fmla="*/ 955502 w 1317625"/>
              <a:gd name="connsiteY295" fmla="*/ 843380 h 1344613"/>
              <a:gd name="connsiteX296" fmla="*/ 958074 w 1317625"/>
              <a:gd name="connsiteY296" fmla="*/ 842298 h 1344613"/>
              <a:gd name="connsiteX297" fmla="*/ 959789 w 1317625"/>
              <a:gd name="connsiteY297" fmla="*/ 841216 h 1344613"/>
              <a:gd name="connsiteX298" fmla="*/ 961505 w 1317625"/>
              <a:gd name="connsiteY298" fmla="*/ 839052 h 1344613"/>
              <a:gd name="connsiteX299" fmla="*/ 962362 w 1317625"/>
              <a:gd name="connsiteY299" fmla="*/ 837970 h 1344613"/>
              <a:gd name="connsiteX300" fmla="*/ 963220 w 1317625"/>
              <a:gd name="connsiteY300" fmla="*/ 836888 h 1344613"/>
              <a:gd name="connsiteX301" fmla="*/ 963220 w 1317625"/>
              <a:gd name="connsiteY301" fmla="*/ 835265 h 1344613"/>
              <a:gd name="connsiteX302" fmla="*/ 963648 w 1317625"/>
              <a:gd name="connsiteY302" fmla="*/ 833642 h 1344613"/>
              <a:gd name="connsiteX303" fmla="*/ 875829 w 1317625"/>
              <a:gd name="connsiteY303" fmla="*/ 813822 h 1344613"/>
              <a:gd name="connsiteX304" fmla="*/ 870435 w 1317625"/>
              <a:gd name="connsiteY304" fmla="*/ 822771 h 1344613"/>
              <a:gd name="connsiteX305" fmla="*/ 872337 w 1317625"/>
              <a:gd name="connsiteY305" fmla="*/ 820167 h 1344613"/>
              <a:gd name="connsiteX306" fmla="*/ 875848 w 1317625"/>
              <a:gd name="connsiteY306" fmla="*/ 813862 h 1344613"/>
              <a:gd name="connsiteX307" fmla="*/ 933873 w 1317625"/>
              <a:gd name="connsiteY307" fmla="*/ 780327 h 1344613"/>
              <a:gd name="connsiteX308" fmla="*/ 939477 w 1317625"/>
              <a:gd name="connsiteY308" fmla="*/ 785488 h 1344613"/>
              <a:gd name="connsiteX309" fmla="*/ 942549 w 1317625"/>
              <a:gd name="connsiteY309" fmla="*/ 789167 h 1344613"/>
              <a:gd name="connsiteX310" fmla="*/ 944743 w 1317625"/>
              <a:gd name="connsiteY310" fmla="*/ 792845 h 1344613"/>
              <a:gd name="connsiteX311" fmla="*/ 947376 w 1317625"/>
              <a:gd name="connsiteY311" fmla="*/ 797048 h 1344613"/>
              <a:gd name="connsiteX312" fmla="*/ 948692 w 1317625"/>
              <a:gd name="connsiteY312" fmla="*/ 801252 h 1344613"/>
              <a:gd name="connsiteX313" fmla="*/ 952203 w 1317625"/>
              <a:gd name="connsiteY313" fmla="*/ 801252 h 1344613"/>
              <a:gd name="connsiteX314" fmla="*/ 954836 w 1317625"/>
              <a:gd name="connsiteY314" fmla="*/ 801252 h 1344613"/>
              <a:gd name="connsiteX315" fmla="*/ 953524 w 1317625"/>
              <a:gd name="connsiteY315" fmla="*/ 803346 h 1344613"/>
              <a:gd name="connsiteX316" fmla="*/ 953787 w 1317625"/>
              <a:gd name="connsiteY316" fmla="*/ 803346 h 1344613"/>
              <a:gd name="connsiteX317" fmla="*/ 955073 w 1317625"/>
              <a:gd name="connsiteY317" fmla="*/ 803346 h 1344613"/>
              <a:gd name="connsiteX318" fmla="*/ 954473 w 1317625"/>
              <a:gd name="connsiteY318" fmla="*/ 804355 h 1344613"/>
              <a:gd name="connsiteX319" fmla="*/ 953297 w 1317625"/>
              <a:gd name="connsiteY319" fmla="*/ 803753 h 1344613"/>
              <a:gd name="connsiteX320" fmla="*/ 952642 w 1317625"/>
              <a:gd name="connsiteY320" fmla="*/ 804930 h 1344613"/>
              <a:gd name="connsiteX321" fmla="*/ 952203 w 1317625"/>
              <a:gd name="connsiteY321" fmla="*/ 805981 h 1344613"/>
              <a:gd name="connsiteX322" fmla="*/ 952642 w 1317625"/>
              <a:gd name="connsiteY322" fmla="*/ 807557 h 1344613"/>
              <a:gd name="connsiteX323" fmla="*/ 952732 w 1317625"/>
              <a:gd name="connsiteY323" fmla="*/ 807880 h 1344613"/>
              <a:gd name="connsiteX324" fmla="*/ 952929 w 1317625"/>
              <a:gd name="connsiteY324" fmla="*/ 807133 h 1344613"/>
              <a:gd name="connsiteX325" fmla="*/ 953787 w 1317625"/>
              <a:gd name="connsiteY325" fmla="*/ 805510 h 1344613"/>
              <a:gd name="connsiteX326" fmla="*/ 954473 w 1317625"/>
              <a:gd name="connsiteY326" fmla="*/ 804355 h 1344613"/>
              <a:gd name="connsiteX327" fmla="*/ 986374 w 1317625"/>
              <a:gd name="connsiteY327" fmla="*/ 820658 h 1344613"/>
              <a:gd name="connsiteX328" fmla="*/ 994092 w 1317625"/>
              <a:gd name="connsiteY328" fmla="*/ 817953 h 1344613"/>
              <a:gd name="connsiteX329" fmla="*/ 995701 w 1317625"/>
              <a:gd name="connsiteY329" fmla="*/ 817163 h 1344613"/>
              <a:gd name="connsiteX330" fmla="*/ 989954 w 1317625"/>
              <a:gd name="connsiteY330" fmla="*/ 819150 h 1344613"/>
              <a:gd name="connsiteX331" fmla="*/ 956609 w 1317625"/>
              <a:gd name="connsiteY331" fmla="*/ 802341 h 1344613"/>
              <a:gd name="connsiteX332" fmla="*/ 953232 w 1317625"/>
              <a:gd name="connsiteY332" fmla="*/ 798664 h 1344613"/>
              <a:gd name="connsiteX333" fmla="*/ 950278 w 1317625"/>
              <a:gd name="connsiteY333" fmla="*/ 794987 h 1344613"/>
              <a:gd name="connsiteX334" fmla="*/ 947323 w 1317625"/>
              <a:gd name="connsiteY334" fmla="*/ 791836 h 1344613"/>
              <a:gd name="connsiteX335" fmla="*/ 943946 w 1317625"/>
              <a:gd name="connsiteY335" fmla="*/ 788684 h 1344613"/>
              <a:gd name="connsiteX336" fmla="*/ 936349 w 1317625"/>
              <a:gd name="connsiteY336" fmla="*/ 782381 h 1344613"/>
              <a:gd name="connsiteX337" fmla="*/ 742915 w 1317625"/>
              <a:gd name="connsiteY337" fmla="*/ 763881 h 1344613"/>
              <a:gd name="connsiteX338" fmla="*/ 744285 w 1317625"/>
              <a:gd name="connsiteY338" fmla="*/ 764212 h 1344613"/>
              <a:gd name="connsiteX339" fmla="*/ 745153 w 1317625"/>
              <a:gd name="connsiteY339" fmla="*/ 765260 h 1344613"/>
              <a:gd name="connsiteX340" fmla="*/ 746021 w 1317625"/>
              <a:gd name="connsiteY340" fmla="*/ 766309 h 1344613"/>
              <a:gd name="connsiteX341" fmla="*/ 746889 w 1317625"/>
              <a:gd name="connsiteY341" fmla="*/ 768405 h 1344613"/>
              <a:gd name="connsiteX342" fmla="*/ 747323 w 1317625"/>
              <a:gd name="connsiteY342" fmla="*/ 771026 h 1344613"/>
              <a:gd name="connsiteX343" fmla="*/ 745587 w 1317625"/>
              <a:gd name="connsiteY343" fmla="*/ 768405 h 1344613"/>
              <a:gd name="connsiteX344" fmla="*/ 744285 w 1317625"/>
              <a:gd name="connsiteY344" fmla="*/ 766309 h 1344613"/>
              <a:gd name="connsiteX345" fmla="*/ 742983 w 1317625"/>
              <a:gd name="connsiteY345" fmla="*/ 764212 h 1344613"/>
              <a:gd name="connsiteX346" fmla="*/ 1072988 w 1317625"/>
              <a:gd name="connsiteY346" fmla="*/ 753394 h 1344613"/>
              <a:gd name="connsiteX347" fmla="*/ 1073105 w 1317625"/>
              <a:gd name="connsiteY347" fmla="*/ 753491 h 1344613"/>
              <a:gd name="connsiteX348" fmla="*/ 1075637 w 1317625"/>
              <a:gd name="connsiteY348" fmla="*/ 755592 h 1344613"/>
              <a:gd name="connsiteX349" fmla="*/ 1078592 w 1317625"/>
              <a:gd name="connsiteY349" fmla="*/ 758218 h 1344613"/>
              <a:gd name="connsiteX350" fmla="*/ 1081426 w 1317625"/>
              <a:gd name="connsiteY350" fmla="*/ 759100 h 1344613"/>
              <a:gd name="connsiteX351" fmla="*/ 1079120 w 1317625"/>
              <a:gd name="connsiteY351" fmla="*/ 757854 h 1344613"/>
              <a:gd name="connsiteX352" fmla="*/ 1076079 w 1317625"/>
              <a:gd name="connsiteY352" fmla="*/ 755742 h 1344613"/>
              <a:gd name="connsiteX353" fmla="*/ 1067759 w 1317625"/>
              <a:gd name="connsiteY353" fmla="*/ 747713 h 1344613"/>
              <a:gd name="connsiteX354" fmla="*/ 1068462 w 1317625"/>
              <a:gd name="connsiteY354" fmla="*/ 748763 h 1344613"/>
              <a:gd name="connsiteX355" fmla="*/ 1070572 w 1317625"/>
              <a:gd name="connsiteY355" fmla="*/ 751390 h 1344613"/>
              <a:gd name="connsiteX356" fmla="*/ 1072534 w 1317625"/>
              <a:gd name="connsiteY356" fmla="*/ 753017 h 1344613"/>
              <a:gd name="connsiteX357" fmla="*/ 1069563 w 1317625"/>
              <a:gd name="connsiteY357" fmla="*/ 749406 h 1344613"/>
              <a:gd name="connsiteX358" fmla="*/ 1070723 w 1317625"/>
              <a:gd name="connsiteY358" fmla="*/ 747713 h 1344613"/>
              <a:gd name="connsiteX359" fmla="*/ 623094 w 1317625"/>
              <a:gd name="connsiteY359" fmla="*/ 739678 h 1344613"/>
              <a:gd name="connsiteX360" fmla="*/ 620903 w 1317625"/>
              <a:gd name="connsiteY360" fmla="*/ 741759 h 1344613"/>
              <a:gd name="connsiteX361" fmla="*/ 622778 w 1317625"/>
              <a:gd name="connsiteY361" fmla="*/ 740627 h 1344613"/>
              <a:gd name="connsiteX362" fmla="*/ 623139 w 1317625"/>
              <a:gd name="connsiteY362" fmla="*/ 740191 h 1344613"/>
              <a:gd name="connsiteX363" fmla="*/ 805058 w 1317625"/>
              <a:gd name="connsiteY363" fmla="*/ 716926 h 1344613"/>
              <a:gd name="connsiteX364" fmla="*/ 800977 w 1317625"/>
              <a:gd name="connsiteY364" fmla="*/ 720363 h 1344613"/>
              <a:gd name="connsiteX365" fmla="*/ 802971 w 1317625"/>
              <a:gd name="connsiteY365" fmla="*/ 721960 h 1344613"/>
              <a:gd name="connsiteX366" fmla="*/ 805319 w 1317625"/>
              <a:gd name="connsiteY366" fmla="*/ 725488 h 1344613"/>
              <a:gd name="connsiteX367" fmla="*/ 807668 w 1317625"/>
              <a:gd name="connsiteY367" fmla="*/ 729016 h 1344613"/>
              <a:gd name="connsiteX368" fmla="*/ 808972 w 1317625"/>
              <a:gd name="connsiteY368" fmla="*/ 730897 h 1344613"/>
              <a:gd name="connsiteX369" fmla="*/ 809190 w 1317625"/>
              <a:gd name="connsiteY369" fmla="*/ 730713 h 1344613"/>
              <a:gd name="connsiteX370" fmla="*/ 812235 w 1317625"/>
              <a:gd name="connsiteY370" fmla="*/ 728663 h 1344613"/>
              <a:gd name="connsiteX371" fmla="*/ 816584 w 1317625"/>
              <a:gd name="connsiteY371" fmla="*/ 732764 h 1344613"/>
              <a:gd name="connsiteX372" fmla="*/ 820933 w 1317625"/>
              <a:gd name="connsiteY372" fmla="*/ 735839 h 1344613"/>
              <a:gd name="connsiteX373" fmla="*/ 825718 w 1317625"/>
              <a:gd name="connsiteY373" fmla="*/ 739427 h 1344613"/>
              <a:gd name="connsiteX374" fmla="*/ 830502 w 1317625"/>
              <a:gd name="connsiteY374" fmla="*/ 741990 h 1344613"/>
              <a:gd name="connsiteX375" fmla="*/ 835286 w 1317625"/>
              <a:gd name="connsiteY375" fmla="*/ 744552 h 1344613"/>
              <a:gd name="connsiteX376" fmla="*/ 840940 w 1317625"/>
              <a:gd name="connsiteY376" fmla="*/ 746090 h 1344613"/>
              <a:gd name="connsiteX377" fmla="*/ 846594 w 1317625"/>
              <a:gd name="connsiteY377" fmla="*/ 747628 h 1344613"/>
              <a:gd name="connsiteX378" fmla="*/ 853118 w 1317625"/>
              <a:gd name="connsiteY378" fmla="*/ 747628 h 1344613"/>
              <a:gd name="connsiteX379" fmla="*/ 857033 w 1317625"/>
              <a:gd name="connsiteY379" fmla="*/ 747115 h 1344613"/>
              <a:gd name="connsiteX380" fmla="*/ 860077 w 1317625"/>
              <a:gd name="connsiteY380" fmla="*/ 746090 h 1344613"/>
              <a:gd name="connsiteX381" fmla="*/ 863557 w 1317625"/>
              <a:gd name="connsiteY381" fmla="*/ 745065 h 1344613"/>
              <a:gd name="connsiteX382" fmla="*/ 865029 w 1317625"/>
              <a:gd name="connsiteY382" fmla="*/ 744872 h 1344613"/>
              <a:gd name="connsiteX383" fmla="*/ 864928 w 1317625"/>
              <a:gd name="connsiteY383" fmla="*/ 744538 h 1344613"/>
              <a:gd name="connsiteX384" fmla="*/ 841873 w 1317625"/>
              <a:gd name="connsiteY384" fmla="*/ 744538 h 1344613"/>
              <a:gd name="connsiteX385" fmla="*/ 835823 w 1317625"/>
              <a:gd name="connsiteY385" fmla="*/ 741498 h 1344613"/>
              <a:gd name="connsiteX386" fmla="*/ 830206 w 1317625"/>
              <a:gd name="connsiteY386" fmla="*/ 738458 h 1344613"/>
              <a:gd name="connsiteX387" fmla="*/ 825453 w 1317625"/>
              <a:gd name="connsiteY387" fmla="*/ 734912 h 1344613"/>
              <a:gd name="connsiteX388" fmla="*/ 820700 w 1317625"/>
              <a:gd name="connsiteY388" fmla="*/ 731872 h 1344613"/>
              <a:gd name="connsiteX389" fmla="*/ 815947 w 1317625"/>
              <a:gd name="connsiteY389" fmla="*/ 727819 h 1344613"/>
              <a:gd name="connsiteX390" fmla="*/ 811626 w 1317625"/>
              <a:gd name="connsiteY390" fmla="*/ 723765 h 1344613"/>
              <a:gd name="connsiteX391" fmla="*/ 806872 w 1317625"/>
              <a:gd name="connsiteY391" fmla="*/ 718699 h 1344613"/>
              <a:gd name="connsiteX392" fmla="*/ 880446 w 1317625"/>
              <a:gd name="connsiteY392" fmla="*/ 673940 h 1344613"/>
              <a:gd name="connsiteX393" fmla="*/ 880100 w 1317625"/>
              <a:gd name="connsiteY393" fmla="*/ 673966 h 1344613"/>
              <a:gd name="connsiteX394" fmla="*/ 878077 w 1317625"/>
              <a:gd name="connsiteY394" fmla="*/ 675175 h 1344613"/>
              <a:gd name="connsiteX395" fmla="*/ 1046103 w 1317625"/>
              <a:gd name="connsiteY395" fmla="*/ 668088 h 1344613"/>
              <a:gd name="connsiteX396" fmla="*/ 1043927 w 1317625"/>
              <a:gd name="connsiteY396" fmla="*/ 669180 h 1344613"/>
              <a:gd name="connsiteX397" fmla="*/ 1060252 w 1317625"/>
              <a:gd name="connsiteY397" fmla="*/ 678131 h 1344613"/>
              <a:gd name="connsiteX398" fmla="*/ 1072307 w 1317625"/>
              <a:gd name="connsiteY398" fmla="*/ 684316 h 1344613"/>
              <a:gd name="connsiteX399" fmla="*/ 1084362 w 1317625"/>
              <a:gd name="connsiteY399" fmla="*/ 700810 h 1344613"/>
              <a:gd name="connsiteX400" fmla="*/ 1093292 w 1317625"/>
              <a:gd name="connsiteY400" fmla="*/ 716272 h 1344613"/>
              <a:gd name="connsiteX401" fmla="*/ 1104900 w 1317625"/>
              <a:gd name="connsiteY401" fmla="*/ 729158 h 1344613"/>
              <a:gd name="connsiteX402" fmla="*/ 1087041 w 1317625"/>
              <a:gd name="connsiteY402" fmla="*/ 732250 h 1344613"/>
              <a:gd name="connsiteX403" fmla="*/ 1075432 w 1317625"/>
              <a:gd name="connsiteY403" fmla="*/ 735343 h 1344613"/>
              <a:gd name="connsiteX404" fmla="*/ 1075432 w 1317625"/>
              <a:gd name="connsiteY404" fmla="*/ 740844 h 1344613"/>
              <a:gd name="connsiteX405" fmla="*/ 1078251 w 1317625"/>
              <a:gd name="connsiteY405" fmla="*/ 736733 h 1344613"/>
              <a:gd name="connsiteX406" fmla="*/ 1089547 w 1317625"/>
              <a:gd name="connsiteY406" fmla="*/ 733564 h 1344613"/>
              <a:gd name="connsiteX407" fmla="*/ 1106924 w 1317625"/>
              <a:gd name="connsiteY407" fmla="*/ 730396 h 1344613"/>
              <a:gd name="connsiteX408" fmla="*/ 1095629 w 1317625"/>
              <a:gd name="connsiteY408" fmla="*/ 717195 h 1344613"/>
              <a:gd name="connsiteX409" fmla="*/ 1086940 w 1317625"/>
              <a:gd name="connsiteY409" fmla="*/ 701354 h 1344613"/>
              <a:gd name="connsiteX410" fmla="*/ 1075210 w 1317625"/>
              <a:gd name="connsiteY410" fmla="*/ 684457 h 1344613"/>
              <a:gd name="connsiteX411" fmla="*/ 1063480 w 1317625"/>
              <a:gd name="connsiteY411" fmla="*/ 678120 h 1344613"/>
              <a:gd name="connsiteX412" fmla="*/ 818540 w 1317625"/>
              <a:gd name="connsiteY412" fmla="*/ 648759 h 1344613"/>
              <a:gd name="connsiteX413" fmla="*/ 819112 w 1317625"/>
              <a:gd name="connsiteY413" fmla="*/ 649143 h 1344613"/>
              <a:gd name="connsiteX414" fmla="*/ 820830 w 1317625"/>
              <a:gd name="connsiteY414" fmla="*/ 650298 h 1344613"/>
              <a:gd name="connsiteX415" fmla="*/ 822977 w 1317625"/>
              <a:gd name="connsiteY415" fmla="*/ 652607 h 1344613"/>
              <a:gd name="connsiteX416" fmla="*/ 825125 w 1317625"/>
              <a:gd name="connsiteY416" fmla="*/ 654339 h 1344613"/>
              <a:gd name="connsiteX417" fmla="*/ 827272 w 1317625"/>
              <a:gd name="connsiteY417" fmla="*/ 655493 h 1344613"/>
              <a:gd name="connsiteX418" fmla="*/ 829420 w 1317625"/>
              <a:gd name="connsiteY418" fmla="*/ 656648 h 1344613"/>
              <a:gd name="connsiteX419" fmla="*/ 831567 w 1317625"/>
              <a:gd name="connsiteY419" fmla="*/ 657225 h 1344613"/>
              <a:gd name="connsiteX420" fmla="*/ 833715 w 1317625"/>
              <a:gd name="connsiteY420" fmla="*/ 657802 h 1344613"/>
              <a:gd name="connsiteX421" fmla="*/ 835433 w 1317625"/>
              <a:gd name="connsiteY421" fmla="*/ 657802 h 1344613"/>
              <a:gd name="connsiteX422" fmla="*/ 837580 w 1317625"/>
              <a:gd name="connsiteY422" fmla="*/ 657225 h 1344613"/>
              <a:gd name="connsiteX423" fmla="*/ 839298 w 1317625"/>
              <a:gd name="connsiteY423" fmla="*/ 656648 h 1344613"/>
              <a:gd name="connsiteX424" fmla="*/ 839585 w 1317625"/>
              <a:gd name="connsiteY424" fmla="*/ 656519 h 1344613"/>
              <a:gd name="connsiteX425" fmla="*/ 838991 w 1317625"/>
              <a:gd name="connsiteY425" fmla="*/ 656696 h 1344613"/>
              <a:gd name="connsiteX426" fmla="*/ 836771 w 1317625"/>
              <a:gd name="connsiteY426" fmla="*/ 657226 h 1344613"/>
              <a:gd name="connsiteX427" fmla="*/ 834995 w 1317625"/>
              <a:gd name="connsiteY427" fmla="*/ 657226 h 1344613"/>
              <a:gd name="connsiteX428" fmla="*/ 832775 w 1317625"/>
              <a:gd name="connsiteY428" fmla="*/ 656696 h 1344613"/>
              <a:gd name="connsiteX429" fmla="*/ 830555 w 1317625"/>
              <a:gd name="connsiteY429" fmla="*/ 656167 h 1344613"/>
              <a:gd name="connsiteX430" fmla="*/ 828335 w 1317625"/>
              <a:gd name="connsiteY430" fmla="*/ 655109 h 1344613"/>
              <a:gd name="connsiteX431" fmla="*/ 826115 w 1317625"/>
              <a:gd name="connsiteY431" fmla="*/ 654051 h 1344613"/>
              <a:gd name="connsiteX432" fmla="*/ 823895 w 1317625"/>
              <a:gd name="connsiteY432" fmla="*/ 652463 h 1344613"/>
              <a:gd name="connsiteX433" fmla="*/ 821676 w 1317625"/>
              <a:gd name="connsiteY433" fmla="*/ 650346 h 1344613"/>
              <a:gd name="connsiteX434" fmla="*/ 819900 w 1317625"/>
              <a:gd name="connsiteY434" fmla="*/ 649288 h 1344613"/>
              <a:gd name="connsiteX435" fmla="*/ 819012 w 1317625"/>
              <a:gd name="connsiteY435" fmla="*/ 648759 h 1344613"/>
              <a:gd name="connsiteX436" fmla="*/ 861741 w 1317625"/>
              <a:gd name="connsiteY436" fmla="*/ 638002 h 1344613"/>
              <a:gd name="connsiteX437" fmla="*/ 859415 w 1317625"/>
              <a:gd name="connsiteY437" fmla="*/ 639234 h 1344613"/>
              <a:gd name="connsiteX438" fmla="*/ 859240 w 1317625"/>
              <a:gd name="connsiteY438" fmla="*/ 639339 h 1344613"/>
              <a:gd name="connsiteX439" fmla="*/ 861202 w 1317625"/>
              <a:gd name="connsiteY439" fmla="*/ 638752 h 1344613"/>
              <a:gd name="connsiteX440" fmla="*/ 862920 w 1317625"/>
              <a:gd name="connsiteY440" fmla="*/ 638175 h 1344613"/>
              <a:gd name="connsiteX441" fmla="*/ 863832 w 1317625"/>
              <a:gd name="connsiteY441" fmla="*/ 638175 h 1344613"/>
              <a:gd name="connsiteX442" fmla="*/ 707626 w 1317625"/>
              <a:gd name="connsiteY442" fmla="*/ 617607 h 1344613"/>
              <a:gd name="connsiteX443" fmla="*/ 709562 w 1317625"/>
              <a:gd name="connsiteY443" fmla="*/ 623001 h 1344613"/>
              <a:gd name="connsiteX444" fmla="*/ 712062 w 1317625"/>
              <a:gd name="connsiteY444" fmla="*/ 629337 h 1344613"/>
              <a:gd name="connsiteX445" fmla="*/ 713313 w 1317625"/>
              <a:gd name="connsiteY445" fmla="*/ 632505 h 1344613"/>
              <a:gd name="connsiteX446" fmla="*/ 715397 w 1317625"/>
              <a:gd name="connsiteY446" fmla="*/ 635673 h 1344613"/>
              <a:gd name="connsiteX447" fmla="*/ 717898 w 1317625"/>
              <a:gd name="connsiteY447" fmla="*/ 639369 h 1344613"/>
              <a:gd name="connsiteX448" fmla="*/ 720815 w 1317625"/>
              <a:gd name="connsiteY448" fmla="*/ 643593 h 1344613"/>
              <a:gd name="connsiteX449" fmla="*/ 724984 w 1317625"/>
              <a:gd name="connsiteY449" fmla="*/ 647289 h 1344613"/>
              <a:gd name="connsiteX450" fmla="*/ 729985 w 1317625"/>
              <a:gd name="connsiteY450" fmla="*/ 651513 h 1344613"/>
              <a:gd name="connsiteX451" fmla="*/ 736237 w 1317625"/>
              <a:gd name="connsiteY451" fmla="*/ 655737 h 1344613"/>
              <a:gd name="connsiteX452" fmla="*/ 743740 w 1317625"/>
              <a:gd name="connsiteY452" fmla="*/ 660489 h 1344613"/>
              <a:gd name="connsiteX453" fmla="*/ 738321 w 1317625"/>
              <a:gd name="connsiteY453" fmla="*/ 662073 h 1344613"/>
              <a:gd name="connsiteX454" fmla="*/ 732903 w 1317625"/>
              <a:gd name="connsiteY454" fmla="*/ 663657 h 1344613"/>
              <a:gd name="connsiteX455" fmla="*/ 732903 w 1317625"/>
              <a:gd name="connsiteY455" fmla="*/ 667353 h 1344613"/>
              <a:gd name="connsiteX456" fmla="*/ 732069 w 1317625"/>
              <a:gd name="connsiteY456" fmla="*/ 672104 h 1344613"/>
              <a:gd name="connsiteX457" fmla="*/ 731652 w 1317625"/>
              <a:gd name="connsiteY457" fmla="*/ 674744 h 1344613"/>
              <a:gd name="connsiteX458" fmla="*/ 730819 w 1317625"/>
              <a:gd name="connsiteY458" fmla="*/ 676856 h 1344613"/>
              <a:gd name="connsiteX459" fmla="*/ 729152 w 1317625"/>
              <a:gd name="connsiteY459" fmla="*/ 678968 h 1344613"/>
              <a:gd name="connsiteX460" fmla="*/ 727484 w 1317625"/>
              <a:gd name="connsiteY460" fmla="*/ 680024 h 1344613"/>
              <a:gd name="connsiteX461" fmla="*/ 728318 w 1317625"/>
              <a:gd name="connsiteY461" fmla="*/ 683192 h 1344613"/>
              <a:gd name="connsiteX462" fmla="*/ 729985 w 1317625"/>
              <a:gd name="connsiteY462" fmla="*/ 686360 h 1344613"/>
              <a:gd name="connsiteX463" fmla="*/ 732903 w 1317625"/>
              <a:gd name="connsiteY463" fmla="*/ 690056 h 1344613"/>
              <a:gd name="connsiteX464" fmla="*/ 735821 w 1317625"/>
              <a:gd name="connsiteY464" fmla="*/ 693224 h 1344613"/>
              <a:gd name="connsiteX465" fmla="*/ 728735 w 1317625"/>
              <a:gd name="connsiteY465" fmla="*/ 694280 h 1344613"/>
              <a:gd name="connsiteX466" fmla="*/ 720815 w 1317625"/>
              <a:gd name="connsiteY466" fmla="*/ 695336 h 1344613"/>
              <a:gd name="connsiteX467" fmla="*/ 712062 w 1317625"/>
              <a:gd name="connsiteY467" fmla="*/ 696392 h 1344613"/>
              <a:gd name="connsiteX468" fmla="*/ 702893 w 1317625"/>
              <a:gd name="connsiteY468" fmla="*/ 696920 h 1344613"/>
              <a:gd name="connsiteX469" fmla="*/ 692889 w 1317625"/>
              <a:gd name="connsiteY469" fmla="*/ 697448 h 1344613"/>
              <a:gd name="connsiteX470" fmla="*/ 682886 w 1317625"/>
              <a:gd name="connsiteY470" fmla="*/ 697448 h 1344613"/>
              <a:gd name="connsiteX471" fmla="*/ 672883 w 1317625"/>
              <a:gd name="connsiteY471" fmla="*/ 696920 h 1344613"/>
              <a:gd name="connsiteX472" fmla="*/ 663296 w 1317625"/>
              <a:gd name="connsiteY472" fmla="*/ 696392 h 1344613"/>
              <a:gd name="connsiteX473" fmla="*/ 661491 w 1317625"/>
              <a:gd name="connsiteY473" fmla="*/ 696512 h 1344613"/>
              <a:gd name="connsiteX474" fmla="*/ 650859 w 1317625"/>
              <a:gd name="connsiteY474" fmla="*/ 713906 h 1344613"/>
              <a:gd name="connsiteX475" fmla="*/ 650859 w 1317625"/>
              <a:gd name="connsiteY475" fmla="*/ 715704 h 1344613"/>
              <a:gd name="connsiteX476" fmla="*/ 650018 w 1317625"/>
              <a:gd name="connsiteY476" fmla="*/ 717502 h 1344613"/>
              <a:gd name="connsiteX477" fmla="*/ 649176 w 1317625"/>
              <a:gd name="connsiteY477" fmla="*/ 718700 h 1344613"/>
              <a:gd name="connsiteX478" fmla="*/ 648756 w 1317625"/>
              <a:gd name="connsiteY478" fmla="*/ 719899 h 1344613"/>
              <a:gd name="connsiteX479" fmla="*/ 647073 w 1317625"/>
              <a:gd name="connsiteY479" fmla="*/ 722297 h 1344613"/>
              <a:gd name="connsiteX480" fmla="*/ 646652 w 1317625"/>
              <a:gd name="connsiteY480" fmla="*/ 723495 h 1344613"/>
              <a:gd name="connsiteX481" fmla="*/ 646652 w 1317625"/>
              <a:gd name="connsiteY481" fmla="*/ 724694 h 1344613"/>
              <a:gd name="connsiteX482" fmla="*/ 647073 w 1317625"/>
              <a:gd name="connsiteY482" fmla="*/ 725293 h 1344613"/>
              <a:gd name="connsiteX483" fmla="*/ 647914 w 1317625"/>
              <a:gd name="connsiteY483" fmla="*/ 725293 h 1344613"/>
              <a:gd name="connsiteX484" fmla="*/ 649597 w 1317625"/>
              <a:gd name="connsiteY484" fmla="*/ 725893 h 1344613"/>
              <a:gd name="connsiteX485" fmla="*/ 655486 w 1317625"/>
              <a:gd name="connsiteY485" fmla="*/ 727092 h 1344613"/>
              <a:gd name="connsiteX486" fmla="*/ 665162 w 1317625"/>
              <a:gd name="connsiteY486" fmla="*/ 728290 h 1344613"/>
              <a:gd name="connsiteX487" fmla="*/ 663059 w 1317625"/>
              <a:gd name="connsiteY487" fmla="*/ 728890 h 1344613"/>
              <a:gd name="connsiteX488" fmla="*/ 659273 w 1317625"/>
              <a:gd name="connsiteY488" fmla="*/ 731287 h 1344613"/>
              <a:gd name="connsiteX489" fmla="*/ 655486 w 1317625"/>
              <a:gd name="connsiteY489" fmla="*/ 734284 h 1344613"/>
              <a:gd name="connsiteX490" fmla="*/ 650859 w 1317625"/>
              <a:gd name="connsiteY490" fmla="*/ 739079 h 1344613"/>
              <a:gd name="connsiteX491" fmla="*/ 646231 w 1317625"/>
              <a:gd name="connsiteY491" fmla="*/ 743275 h 1344613"/>
              <a:gd name="connsiteX492" fmla="*/ 644682 w 1317625"/>
              <a:gd name="connsiteY492" fmla="*/ 744820 h 1344613"/>
              <a:gd name="connsiteX493" fmla="*/ 646646 w 1317625"/>
              <a:gd name="connsiteY493" fmla="*/ 744820 h 1344613"/>
              <a:gd name="connsiteX494" fmla="*/ 648381 w 1317625"/>
              <a:gd name="connsiteY494" fmla="*/ 742199 h 1344613"/>
              <a:gd name="connsiteX495" fmla="*/ 652287 w 1317625"/>
              <a:gd name="connsiteY495" fmla="*/ 739055 h 1344613"/>
              <a:gd name="connsiteX496" fmla="*/ 657060 w 1317625"/>
              <a:gd name="connsiteY496" fmla="*/ 735386 h 1344613"/>
              <a:gd name="connsiteX497" fmla="*/ 662268 w 1317625"/>
              <a:gd name="connsiteY497" fmla="*/ 731717 h 1344613"/>
              <a:gd name="connsiteX498" fmla="*/ 667909 w 1317625"/>
              <a:gd name="connsiteY498" fmla="*/ 727524 h 1344613"/>
              <a:gd name="connsiteX499" fmla="*/ 672683 w 1317625"/>
              <a:gd name="connsiteY499" fmla="*/ 724903 h 1344613"/>
              <a:gd name="connsiteX500" fmla="*/ 676154 w 1317625"/>
              <a:gd name="connsiteY500" fmla="*/ 722807 h 1344613"/>
              <a:gd name="connsiteX501" fmla="*/ 678324 w 1317625"/>
              <a:gd name="connsiteY501" fmla="*/ 722283 h 1344613"/>
              <a:gd name="connsiteX502" fmla="*/ 706965 w 1317625"/>
              <a:gd name="connsiteY502" fmla="*/ 719138 h 1344613"/>
              <a:gd name="connsiteX503" fmla="*/ 708701 w 1317625"/>
              <a:gd name="connsiteY503" fmla="*/ 721235 h 1344613"/>
              <a:gd name="connsiteX504" fmla="*/ 710871 w 1317625"/>
              <a:gd name="connsiteY504" fmla="*/ 723331 h 1344613"/>
              <a:gd name="connsiteX505" fmla="*/ 712606 w 1317625"/>
              <a:gd name="connsiteY505" fmla="*/ 724903 h 1344613"/>
              <a:gd name="connsiteX506" fmla="*/ 714776 w 1317625"/>
              <a:gd name="connsiteY506" fmla="*/ 725952 h 1344613"/>
              <a:gd name="connsiteX507" fmla="*/ 718682 w 1317625"/>
              <a:gd name="connsiteY507" fmla="*/ 727524 h 1344613"/>
              <a:gd name="connsiteX508" fmla="*/ 724323 w 1317625"/>
              <a:gd name="connsiteY508" fmla="*/ 729096 h 1344613"/>
              <a:gd name="connsiteX509" fmla="*/ 726189 w 1317625"/>
              <a:gd name="connsiteY509" fmla="*/ 729186 h 1344613"/>
              <a:gd name="connsiteX510" fmla="*/ 723036 w 1317625"/>
              <a:gd name="connsiteY510" fmla="*/ 728191 h 1344613"/>
              <a:gd name="connsiteX511" fmla="*/ 718144 w 1317625"/>
              <a:gd name="connsiteY511" fmla="*/ 726646 h 1344613"/>
              <a:gd name="connsiteX512" fmla="*/ 714142 w 1317625"/>
              <a:gd name="connsiteY512" fmla="*/ 724587 h 1344613"/>
              <a:gd name="connsiteX513" fmla="*/ 711919 w 1317625"/>
              <a:gd name="connsiteY513" fmla="*/ 723042 h 1344613"/>
              <a:gd name="connsiteX514" fmla="*/ 710140 w 1317625"/>
              <a:gd name="connsiteY514" fmla="*/ 721497 h 1344613"/>
              <a:gd name="connsiteX515" fmla="*/ 707917 w 1317625"/>
              <a:gd name="connsiteY515" fmla="*/ 719438 h 1344613"/>
              <a:gd name="connsiteX516" fmla="*/ 706138 w 1317625"/>
              <a:gd name="connsiteY516" fmla="*/ 717379 h 1344613"/>
              <a:gd name="connsiteX517" fmla="*/ 679903 w 1317625"/>
              <a:gd name="connsiteY517" fmla="*/ 720468 h 1344613"/>
              <a:gd name="connsiteX518" fmla="*/ 669676 w 1317625"/>
              <a:gd name="connsiteY518" fmla="*/ 721497 h 1344613"/>
              <a:gd name="connsiteX519" fmla="*/ 662561 w 1317625"/>
              <a:gd name="connsiteY519" fmla="*/ 721497 h 1344613"/>
              <a:gd name="connsiteX520" fmla="*/ 660338 w 1317625"/>
              <a:gd name="connsiteY520" fmla="*/ 721497 h 1344613"/>
              <a:gd name="connsiteX521" fmla="*/ 659004 w 1317625"/>
              <a:gd name="connsiteY521" fmla="*/ 721497 h 1344613"/>
              <a:gd name="connsiteX522" fmla="*/ 657670 w 1317625"/>
              <a:gd name="connsiteY522" fmla="*/ 720983 h 1344613"/>
              <a:gd name="connsiteX523" fmla="*/ 657225 w 1317625"/>
              <a:gd name="connsiteY523" fmla="*/ 720468 h 1344613"/>
              <a:gd name="connsiteX524" fmla="*/ 657670 w 1317625"/>
              <a:gd name="connsiteY524" fmla="*/ 716864 h 1344613"/>
              <a:gd name="connsiteX525" fmla="*/ 659004 w 1317625"/>
              <a:gd name="connsiteY525" fmla="*/ 711200 h 1344613"/>
              <a:gd name="connsiteX526" fmla="*/ 674123 w 1317625"/>
              <a:gd name="connsiteY526" fmla="*/ 701933 h 1344613"/>
              <a:gd name="connsiteX527" fmla="*/ 680348 w 1317625"/>
              <a:gd name="connsiteY527" fmla="*/ 702962 h 1344613"/>
              <a:gd name="connsiteX528" fmla="*/ 686128 w 1317625"/>
              <a:gd name="connsiteY528" fmla="*/ 703477 h 1344613"/>
              <a:gd name="connsiteX529" fmla="*/ 691464 w 1317625"/>
              <a:gd name="connsiteY529" fmla="*/ 703992 h 1344613"/>
              <a:gd name="connsiteX530" fmla="*/ 696356 w 1317625"/>
              <a:gd name="connsiteY530" fmla="*/ 703992 h 1344613"/>
              <a:gd name="connsiteX531" fmla="*/ 705249 w 1317625"/>
              <a:gd name="connsiteY531" fmla="*/ 703477 h 1344613"/>
              <a:gd name="connsiteX532" fmla="*/ 712808 w 1317625"/>
              <a:gd name="connsiteY532" fmla="*/ 701933 h 1344613"/>
              <a:gd name="connsiteX533" fmla="*/ 726148 w 1317625"/>
              <a:gd name="connsiteY533" fmla="*/ 698329 h 1344613"/>
              <a:gd name="connsiteX534" fmla="*/ 739044 w 1317625"/>
              <a:gd name="connsiteY534" fmla="*/ 695239 h 1344613"/>
              <a:gd name="connsiteX535" fmla="*/ 735931 w 1317625"/>
              <a:gd name="connsiteY535" fmla="*/ 692150 h 1344613"/>
              <a:gd name="connsiteX536" fmla="*/ 732818 w 1317625"/>
              <a:gd name="connsiteY536" fmla="*/ 688546 h 1344613"/>
              <a:gd name="connsiteX537" fmla="*/ 731040 w 1317625"/>
              <a:gd name="connsiteY537" fmla="*/ 685457 h 1344613"/>
              <a:gd name="connsiteX538" fmla="*/ 730150 w 1317625"/>
              <a:gd name="connsiteY538" fmla="*/ 682368 h 1344613"/>
              <a:gd name="connsiteX539" fmla="*/ 731929 w 1317625"/>
              <a:gd name="connsiteY539" fmla="*/ 681338 h 1344613"/>
              <a:gd name="connsiteX540" fmla="*/ 733708 w 1317625"/>
              <a:gd name="connsiteY540" fmla="*/ 679279 h 1344613"/>
              <a:gd name="connsiteX541" fmla="*/ 734597 w 1317625"/>
              <a:gd name="connsiteY541" fmla="*/ 677219 h 1344613"/>
              <a:gd name="connsiteX542" fmla="*/ 735042 w 1317625"/>
              <a:gd name="connsiteY542" fmla="*/ 674645 h 1344613"/>
              <a:gd name="connsiteX543" fmla="*/ 735931 w 1317625"/>
              <a:gd name="connsiteY543" fmla="*/ 670011 h 1344613"/>
              <a:gd name="connsiteX544" fmla="*/ 735931 w 1317625"/>
              <a:gd name="connsiteY544" fmla="*/ 666407 h 1344613"/>
              <a:gd name="connsiteX545" fmla="*/ 741712 w 1317625"/>
              <a:gd name="connsiteY545" fmla="*/ 664862 h 1344613"/>
              <a:gd name="connsiteX546" fmla="*/ 747492 w 1317625"/>
              <a:gd name="connsiteY546" fmla="*/ 663318 h 1344613"/>
              <a:gd name="connsiteX547" fmla="*/ 791959 w 1317625"/>
              <a:gd name="connsiteY547" fmla="*/ 654050 h 1344613"/>
              <a:gd name="connsiteX548" fmla="*/ 799073 w 1317625"/>
              <a:gd name="connsiteY548" fmla="*/ 658169 h 1344613"/>
              <a:gd name="connsiteX549" fmla="*/ 803965 w 1317625"/>
              <a:gd name="connsiteY549" fmla="*/ 661258 h 1344613"/>
              <a:gd name="connsiteX550" fmla="*/ 805743 w 1317625"/>
              <a:gd name="connsiteY550" fmla="*/ 662803 h 1344613"/>
              <a:gd name="connsiteX551" fmla="*/ 808856 w 1317625"/>
              <a:gd name="connsiteY551" fmla="*/ 664347 h 1344613"/>
              <a:gd name="connsiteX552" fmla="*/ 811524 w 1317625"/>
              <a:gd name="connsiteY552" fmla="*/ 665377 h 1344613"/>
              <a:gd name="connsiteX553" fmla="*/ 814387 w 1317625"/>
              <a:gd name="connsiteY553" fmla="*/ 666114 h 1344613"/>
              <a:gd name="connsiteX554" fmla="*/ 814387 w 1317625"/>
              <a:gd name="connsiteY554" fmla="*/ 664997 h 1344613"/>
              <a:gd name="connsiteX555" fmla="*/ 811020 w 1317625"/>
              <a:gd name="connsiteY555" fmla="*/ 664105 h 1344613"/>
              <a:gd name="connsiteX556" fmla="*/ 808356 w 1317625"/>
              <a:gd name="connsiteY556" fmla="*/ 663046 h 1344613"/>
              <a:gd name="connsiteX557" fmla="*/ 805248 w 1317625"/>
              <a:gd name="connsiteY557" fmla="*/ 661459 h 1344613"/>
              <a:gd name="connsiteX558" fmla="*/ 803472 w 1317625"/>
              <a:gd name="connsiteY558" fmla="*/ 659871 h 1344613"/>
              <a:gd name="connsiteX559" fmla="*/ 798588 w 1317625"/>
              <a:gd name="connsiteY559" fmla="*/ 656696 h 1344613"/>
              <a:gd name="connsiteX560" fmla="*/ 791484 w 1317625"/>
              <a:gd name="connsiteY560" fmla="*/ 652463 h 1344613"/>
              <a:gd name="connsiteX561" fmla="*/ 747084 w 1317625"/>
              <a:gd name="connsiteY561" fmla="*/ 661988 h 1344613"/>
              <a:gd name="connsiteX562" fmla="*/ 739092 w 1317625"/>
              <a:gd name="connsiteY562" fmla="*/ 657226 h 1344613"/>
              <a:gd name="connsiteX563" fmla="*/ 732432 w 1317625"/>
              <a:gd name="connsiteY563" fmla="*/ 652992 h 1344613"/>
              <a:gd name="connsiteX564" fmla="*/ 727104 w 1317625"/>
              <a:gd name="connsiteY564" fmla="*/ 648759 h 1344613"/>
              <a:gd name="connsiteX565" fmla="*/ 722664 w 1317625"/>
              <a:gd name="connsiteY565" fmla="*/ 645055 h 1344613"/>
              <a:gd name="connsiteX566" fmla="*/ 719556 w 1317625"/>
              <a:gd name="connsiteY566" fmla="*/ 640821 h 1344613"/>
              <a:gd name="connsiteX567" fmla="*/ 716892 w 1317625"/>
              <a:gd name="connsiteY567" fmla="*/ 637117 h 1344613"/>
              <a:gd name="connsiteX568" fmla="*/ 714672 w 1317625"/>
              <a:gd name="connsiteY568" fmla="*/ 633942 h 1344613"/>
              <a:gd name="connsiteX569" fmla="*/ 713340 w 1317625"/>
              <a:gd name="connsiteY569" fmla="*/ 630767 h 1344613"/>
              <a:gd name="connsiteX570" fmla="*/ 710676 w 1317625"/>
              <a:gd name="connsiteY570" fmla="*/ 624417 h 1344613"/>
              <a:gd name="connsiteX571" fmla="*/ 708456 w 1317625"/>
              <a:gd name="connsiteY571" fmla="*/ 618596 h 1344613"/>
              <a:gd name="connsiteX572" fmla="*/ 468069 w 1317625"/>
              <a:gd name="connsiteY572" fmla="*/ 581025 h 1344613"/>
              <a:gd name="connsiteX573" fmla="*/ 468069 w 1317625"/>
              <a:gd name="connsiteY573" fmla="*/ 593676 h 1344613"/>
              <a:gd name="connsiteX574" fmla="*/ 476518 w 1317625"/>
              <a:gd name="connsiteY574" fmla="*/ 597893 h 1344613"/>
              <a:gd name="connsiteX575" fmla="*/ 484523 w 1317625"/>
              <a:gd name="connsiteY575" fmla="*/ 602110 h 1344613"/>
              <a:gd name="connsiteX576" fmla="*/ 492527 w 1317625"/>
              <a:gd name="connsiteY576" fmla="*/ 607381 h 1344613"/>
              <a:gd name="connsiteX577" fmla="*/ 500087 w 1317625"/>
              <a:gd name="connsiteY577" fmla="*/ 613180 h 1344613"/>
              <a:gd name="connsiteX578" fmla="*/ 508091 w 1317625"/>
              <a:gd name="connsiteY578" fmla="*/ 618978 h 1344613"/>
              <a:gd name="connsiteX579" fmla="*/ 516096 w 1317625"/>
              <a:gd name="connsiteY579" fmla="*/ 623722 h 1344613"/>
              <a:gd name="connsiteX580" fmla="*/ 524100 w 1317625"/>
              <a:gd name="connsiteY580" fmla="*/ 628466 h 1344613"/>
              <a:gd name="connsiteX581" fmla="*/ 532994 w 1317625"/>
              <a:gd name="connsiteY581" fmla="*/ 632683 h 1344613"/>
              <a:gd name="connsiteX582" fmla="*/ 536107 w 1317625"/>
              <a:gd name="connsiteY582" fmla="*/ 634265 h 1344613"/>
              <a:gd name="connsiteX583" fmla="*/ 542333 w 1317625"/>
              <a:gd name="connsiteY583" fmla="*/ 637427 h 1344613"/>
              <a:gd name="connsiteX584" fmla="*/ 546335 w 1317625"/>
              <a:gd name="connsiteY584" fmla="*/ 639536 h 1344613"/>
              <a:gd name="connsiteX585" fmla="*/ 549892 w 1317625"/>
              <a:gd name="connsiteY585" fmla="*/ 641117 h 1344613"/>
              <a:gd name="connsiteX586" fmla="*/ 553895 w 1317625"/>
              <a:gd name="connsiteY586" fmla="*/ 642171 h 1344613"/>
              <a:gd name="connsiteX587" fmla="*/ 556563 w 1317625"/>
              <a:gd name="connsiteY587" fmla="*/ 642699 h 1344613"/>
              <a:gd name="connsiteX588" fmla="*/ 565457 w 1317625"/>
              <a:gd name="connsiteY588" fmla="*/ 643226 h 1344613"/>
              <a:gd name="connsiteX589" fmla="*/ 569957 w 1317625"/>
              <a:gd name="connsiteY589" fmla="*/ 644068 h 1344613"/>
              <a:gd name="connsiteX590" fmla="*/ 570740 w 1317625"/>
              <a:gd name="connsiteY590" fmla="*/ 636080 h 1344613"/>
              <a:gd name="connsiteX591" fmla="*/ 570326 w 1317625"/>
              <a:gd name="connsiteY591" fmla="*/ 631254 h 1344613"/>
              <a:gd name="connsiteX592" fmla="*/ 570740 w 1317625"/>
              <a:gd name="connsiteY592" fmla="*/ 630048 h 1344613"/>
              <a:gd name="connsiteX593" fmla="*/ 571155 w 1317625"/>
              <a:gd name="connsiteY593" fmla="*/ 630048 h 1344613"/>
              <a:gd name="connsiteX594" fmla="*/ 572397 w 1317625"/>
              <a:gd name="connsiteY594" fmla="*/ 628841 h 1344613"/>
              <a:gd name="connsiteX595" fmla="*/ 575296 w 1317625"/>
              <a:gd name="connsiteY595" fmla="*/ 628841 h 1344613"/>
              <a:gd name="connsiteX596" fmla="*/ 588962 w 1317625"/>
              <a:gd name="connsiteY596" fmla="*/ 614363 h 1344613"/>
              <a:gd name="connsiteX597" fmla="*/ 588962 w 1317625"/>
              <a:gd name="connsiteY597" fmla="*/ 648083 h 1344613"/>
              <a:gd name="connsiteX598" fmla="*/ 592138 w 1317625"/>
              <a:gd name="connsiteY598" fmla="*/ 649024 h 1344613"/>
              <a:gd name="connsiteX599" fmla="*/ 589470 w 1317625"/>
              <a:gd name="connsiteY599" fmla="*/ 652714 h 1344613"/>
              <a:gd name="connsiteX600" fmla="*/ 588962 w 1317625"/>
              <a:gd name="connsiteY600" fmla="*/ 654068 h 1344613"/>
              <a:gd name="connsiteX601" fmla="*/ 588962 w 1317625"/>
              <a:gd name="connsiteY601" fmla="*/ 674688 h 1344613"/>
              <a:gd name="connsiteX602" fmla="*/ 586477 w 1317625"/>
              <a:gd name="connsiteY602" fmla="*/ 673482 h 1344613"/>
              <a:gd name="connsiteX603" fmla="*/ 583633 w 1317625"/>
              <a:gd name="connsiteY603" fmla="*/ 668746 h 1344613"/>
              <a:gd name="connsiteX604" fmla="*/ 580576 w 1317625"/>
              <a:gd name="connsiteY604" fmla="*/ 680651 h 1344613"/>
              <a:gd name="connsiteX605" fmla="*/ 576574 w 1317625"/>
              <a:gd name="connsiteY605" fmla="*/ 692775 h 1344613"/>
              <a:gd name="connsiteX606" fmla="*/ 572572 w 1317625"/>
              <a:gd name="connsiteY606" fmla="*/ 705426 h 1344613"/>
              <a:gd name="connsiteX607" fmla="*/ 567680 w 1317625"/>
              <a:gd name="connsiteY607" fmla="*/ 715969 h 1344613"/>
              <a:gd name="connsiteX608" fmla="*/ 565457 w 1317625"/>
              <a:gd name="connsiteY608" fmla="*/ 720713 h 1344613"/>
              <a:gd name="connsiteX609" fmla="*/ 562789 w 1317625"/>
              <a:gd name="connsiteY609" fmla="*/ 724403 h 1344613"/>
              <a:gd name="connsiteX610" fmla="*/ 559676 w 1317625"/>
              <a:gd name="connsiteY610" fmla="*/ 728093 h 1344613"/>
              <a:gd name="connsiteX611" fmla="*/ 556563 w 1317625"/>
              <a:gd name="connsiteY611" fmla="*/ 730201 h 1344613"/>
              <a:gd name="connsiteX612" fmla="*/ 557008 w 1317625"/>
              <a:gd name="connsiteY612" fmla="*/ 731782 h 1344613"/>
              <a:gd name="connsiteX613" fmla="*/ 558342 w 1317625"/>
              <a:gd name="connsiteY613" fmla="*/ 733891 h 1344613"/>
              <a:gd name="connsiteX614" fmla="*/ 560565 w 1317625"/>
              <a:gd name="connsiteY614" fmla="*/ 735999 h 1344613"/>
              <a:gd name="connsiteX615" fmla="*/ 563233 w 1317625"/>
              <a:gd name="connsiteY615" fmla="*/ 738108 h 1344613"/>
              <a:gd name="connsiteX616" fmla="*/ 566346 w 1317625"/>
              <a:gd name="connsiteY616" fmla="*/ 739689 h 1344613"/>
              <a:gd name="connsiteX617" fmla="*/ 569014 w 1317625"/>
              <a:gd name="connsiteY617" fmla="*/ 741271 h 1344613"/>
              <a:gd name="connsiteX618" fmla="*/ 571682 w 1317625"/>
              <a:gd name="connsiteY618" fmla="*/ 742852 h 1344613"/>
              <a:gd name="connsiteX619" fmla="*/ 573906 w 1317625"/>
              <a:gd name="connsiteY619" fmla="*/ 742852 h 1344613"/>
              <a:gd name="connsiteX620" fmla="*/ 573906 w 1317625"/>
              <a:gd name="connsiteY620" fmla="*/ 752867 h 1344613"/>
              <a:gd name="connsiteX621" fmla="*/ 573906 w 1317625"/>
              <a:gd name="connsiteY621" fmla="*/ 757084 h 1344613"/>
              <a:gd name="connsiteX622" fmla="*/ 573461 w 1317625"/>
              <a:gd name="connsiteY622" fmla="*/ 760247 h 1344613"/>
              <a:gd name="connsiteX623" fmla="*/ 573461 w 1317625"/>
              <a:gd name="connsiteY623" fmla="*/ 762356 h 1344613"/>
              <a:gd name="connsiteX624" fmla="*/ 572572 w 1317625"/>
              <a:gd name="connsiteY624" fmla="*/ 763937 h 1344613"/>
              <a:gd name="connsiteX625" fmla="*/ 571682 w 1317625"/>
              <a:gd name="connsiteY625" fmla="*/ 767100 h 1344613"/>
              <a:gd name="connsiteX626" fmla="*/ 571238 w 1317625"/>
              <a:gd name="connsiteY626" fmla="*/ 772371 h 1344613"/>
              <a:gd name="connsiteX627" fmla="*/ 571682 w 1317625"/>
              <a:gd name="connsiteY627" fmla="*/ 777115 h 1344613"/>
              <a:gd name="connsiteX628" fmla="*/ 571682 w 1317625"/>
              <a:gd name="connsiteY628" fmla="*/ 781859 h 1344613"/>
              <a:gd name="connsiteX629" fmla="*/ 572572 w 1317625"/>
              <a:gd name="connsiteY629" fmla="*/ 787130 h 1344613"/>
              <a:gd name="connsiteX630" fmla="*/ 573461 w 1317625"/>
              <a:gd name="connsiteY630" fmla="*/ 791347 h 1344613"/>
              <a:gd name="connsiteX631" fmla="*/ 574350 w 1317625"/>
              <a:gd name="connsiteY631" fmla="*/ 796092 h 1344613"/>
              <a:gd name="connsiteX632" fmla="*/ 576574 w 1317625"/>
              <a:gd name="connsiteY632" fmla="*/ 800309 h 1344613"/>
              <a:gd name="connsiteX633" fmla="*/ 577908 w 1317625"/>
              <a:gd name="connsiteY633" fmla="*/ 803998 h 1344613"/>
              <a:gd name="connsiteX634" fmla="*/ 580576 w 1317625"/>
              <a:gd name="connsiteY634" fmla="*/ 807688 h 1344613"/>
              <a:gd name="connsiteX635" fmla="*/ 573461 w 1317625"/>
              <a:gd name="connsiteY635" fmla="*/ 815068 h 1344613"/>
              <a:gd name="connsiteX636" fmla="*/ 567235 w 1317625"/>
              <a:gd name="connsiteY636" fmla="*/ 821921 h 1344613"/>
              <a:gd name="connsiteX637" fmla="*/ 560565 w 1317625"/>
              <a:gd name="connsiteY637" fmla="*/ 828246 h 1344613"/>
              <a:gd name="connsiteX638" fmla="*/ 553450 w 1317625"/>
              <a:gd name="connsiteY638" fmla="*/ 834044 h 1344613"/>
              <a:gd name="connsiteX639" fmla="*/ 549892 w 1317625"/>
              <a:gd name="connsiteY639" fmla="*/ 836153 h 1344613"/>
              <a:gd name="connsiteX640" fmla="*/ 546335 w 1317625"/>
              <a:gd name="connsiteY640" fmla="*/ 837734 h 1344613"/>
              <a:gd name="connsiteX641" fmla="*/ 541888 w 1317625"/>
              <a:gd name="connsiteY641" fmla="*/ 838789 h 1344613"/>
              <a:gd name="connsiteX642" fmla="*/ 537886 w 1317625"/>
              <a:gd name="connsiteY642" fmla="*/ 838789 h 1344613"/>
              <a:gd name="connsiteX643" fmla="*/ 533439 w 1317625"/>
              <a:gd name="connsiteY643" fmla="*/ 838261 h 1344613"/>
              <a:gd name="connsiteX644" fmla="*/ 528547 w 1317625"/>
              <a:gd name="connsiteY644" fmla="*/ 836680 h 1344613"/>
              <a:gd name="connsiteX645" fmla="*/ 523211 w 1317625"/>
              <a:gd name="connsiteY645" fmla="*/ 834572 h 1344613"/>
              <a:gd name="connsiteX646" fmla="*/ 517875 w 1317625"/>
              <a:gd name="connsiteY646" fmla="*/ 830882 h 1344613"/>
              <a:gd name="connsiteX647" fmla="*/ 513428 w 1317625"/>
              <a:gd name="connsiteY647" fmla="*/ 826665 h 1344613"/>
              <a:gd name="connsiteX648" fmla="*/ 508981 w 1317625"/>
              <a:gd name="connsiteY648" fmla="*/ 823502 h 1344613"/>
              <a:gd name="connsiteX649" fmla="*/ 507202 w 1317625"/>
              <a:gd name="connsiteY649" fmla="*/ 822448 h 1344613"/>
              <a:gd name="connsiteX650" fmla="*/ 504534 w 1317625"/>
              <a:gd name="connsiteY650" fmla="*/ 821921 h 1344613"/>
              <a:gd name="connsiteX651" fmla="*/ 502755 w 1317625"/>
              <a:gd name="connsiteY651" fmla="*/ 821393 h 1344613"/>
              <a:gd name="connsiteX652" fmla="*/ 500087 w 1317625"/>
              <a:gd name="connsiteY652" fmla="*/ 821393 h 1344613"/>
              <a:gd name="connsiteX653" fmla="*/ 496974 w 1317625"/>
              <a:gd name="connsiteY653" fmla="*/ 821393 h 1344613"/>
              <a:gd name="connsiteX654" fmla="*/ 493861 w 1317625"/>
              <a:gd name="connsiteY654" fmla="*/ 821921 h 1344613"/>
              <a:gd name="connsiteX655" fmla="*/ 490749 w 1317625"/>
              <a:gd name="connsiteY655" fmla="*/ 822975 h 1344613"/>
              <a:gd name="connsiteX656" fmla="*/ 487636 w 1317625"/>
              <a:gd name="connsiteY656" fmla="*/ 824556 h 1344613"/>
              <a:gd name="connsiteX657" fmla="*/ 484968 w 1317625"/>
              <a:gd name="connsiteY657" fmla="*/ 826138 h 1344613"/>
              <a:gd name="connsiteX658" fmla="*/ 482299 w 1317625"/>
              <a:gd name="connsiteY658" fmla="*/ 827719 h 1344613"/>
              <a:gd name="connsiteX659" fmla="*/ 479631 w 1317625"/>
              <a:gd name="connsiteY659" fmla="*/ 829827 h 1344613"/>
              <a:gd name="connsiteX660" fmla="*/ 477408 w 1317625"/>
              <a:gd name="connsiteY660" fmla="*/ 832463 h 1344613"/>
              <a:gd name="connsiteX661" fmla="*/ 473406 w 1317625"/>
              <a:gd name="connsiteY661" fmla="*/ 837207 h 1344613"/>
              <a:gd name="connsiteX662" fmla="*/ 470293 w 1317625"/>
              <a:gd name="connsiteY662" fmla="*/ 842478 h 1344613"/>
              <a:gd name="connsiteX663" fmla="*/ 469403 w 1317625"/>
              <a:gd name="connsiteY663" fmla="*/ 846168 h 1344613"/>
              <a:gd name="connsiteX664" fmla="*/ 468514 w 1317625"/>
              <a:gd name="connsiteY664" fmla="*/ 848804 h 1344613"/>
              <a:gd name="connsiteX665" fmla="*/ 468069 w 1317625"/>
              <a:gd name="connsiteY665" fmla="*/ 850912 h 1344613"/>
              <a:gd name="connsiteX666" fmla="*/ 468069 w 1317625"/>
              <a:gd name="connsiteY666" fmla="*/ 852330 h 1344613"/>
              <a:gd name="connsiteX667" fmla="*/ 469547 w 1317625"/>
              <a:gd name="connsiteY667" fmla="*/ 847725 h 1344613"/>
              <a:gd name="connsiteX668" fmla="*/ 473026 w 1317625"/>
              <a:gd name="connsiteY668" fmla="*/ 860084 h 1344613"/>
              <a:gd name="connsiteX669" fmla="*/ 473840 w 1317625"/>
              <a:gd name="connsiteY669" fmla="*/ 858109 h 1344613"/>
              <a:gd name="connsiteX670" fmla="*/ 475143 w 1317625"/>
              <a:gd name="connsiteY670" fmla="*/ 856001 h 1344613"/>
              <a:gd name="connsiteX671" fmla="*/ 476446 w 1317625"/>
              <a:gd name="connsiteY671" fmla="*/ 853893 h 1344613"/>
              <a:gd name="connsiteX672" fmla="*/ 477315 w 1317625"/>
              <a:gd name="connsiteY672" fmla="*/ 852839 h 1344613"/>
              <a:gd name="connsiteX673" fmla="*/ 478617 w 1317625"/>
              <a:gd name="connsiteY673" fmla="*/ 852312 h 1344613"/>
              <a:gd name="connsiteX674" fmla="*/ 481657 w 1317625"/>
              <a:gd name="connsiteY674" fmla="*/ 853366 h 1344613"/>
              <a:gd name="connsiteX675" fmla="*/ 484263 w 1317625"/>
              <a:gd name="connsiteY675" fmla="*/ 853366 h 1344613"/>
              <a:gd name="connsiteX676" fmla="*/ 487303 w 1317625"/>
              <a:gd name="connsiteY676" fmla="*/ 853366 h 1344613"/>
              <a:gd name="connsiteX677" fmla="*/ 489909 w 1317625"/>
              <a:gd name="connsiteY677" fmla="*/ 853366 h 1344613"/>
              <a:gd name="connsiteX678" fmla="*/ 493383 w 1317625"/>
              <a:gd name="connsiteY678" fmla="*/ 852839 h 1344613"/>
              <a:gd name="connsiteX679" fmla="*/ 496423 w 1317625"/>
              <a:gd name="connsiteY679" fmla="*/ 852839 h 1344613"/>
              <a:gd name="connsiteX680" fmla="*/ 499463 w 1317625"/>
              <a:gd name="connsiteY680" fmla="*/ 853366 h 1344613"/>
              <a:gd name="connsiteX681" fmla="*/ 502504 w 1317625"/>
              <a:gd name="connsiteY681" fmla="*/ 853893 h 1344613"/>
              <a:gd name="connsiteX682" fmla="*/ 503372 w 1317625"/>
              <a:gd name="connsiteY682" fmla="*/ 855474 h 1344613"/>
              <a:gd name="connsiteX683" fmla="*/ 504241 w 1317625"/>
              <a:gd name="connsiteY683" fmla="*/ 858109 h 1344613"/>
              <a:gd name="connsiteX684" fmla="*/ 505544 w 1317625"/>
              <a:gd name="connsiteY684" fmla="*/ 861270 h 1344613"/>
              <a:gd name="connsiteX685" fmla="*/ 505978 w 1317625"/>
              <a:gd name="connsiteY685" fmla="*/ 865485 h 1344613"/>
              <a:gd name="connsiteX686" fmla="*/ 506412 w 1317625"/>
              <a:gd name="connsiteY686" fmla="*/ 869701 h 1344613"/>
              <a:gd name="connsiteX687" fmla="*/ 506412 w 1317625"/>
              <a:gd name="connsiteY687" fmla="*/ 873389 h 1344613"/>
              <a:gd name="connsiteX688" fmla="*/ 505978 w 1317625"/>
              <a:gd name="connsiteY688" fmla="*/ 876024 h 1344613"/>
              <a:gd name="connsiteX689" fmla="*/ 505544 w 1317625"/>
              <a:gd name="connsiteY689" fmla="*/ 876551 h 1344613"/>
              <a:gd name="connsiteX690" fmla="*/ 499463 w 1317625"/>
              <a:gd name="connsiteY690" fmla="*/ 878131 h 1344613"/>
              <a:gd name="connsiteX691" fmla="*/ 493818 w 1317625"/>
              <a:gd name="connsiteY691" fmla="*/ 880239 h 1344613"/>
              <a:gd name="connsiteX692" fmla="*/ 489040 w 1317625"/>
              <a:gd name="connsiteY692" fmla="*/ 882347 h 1344613"/>
              <a:gd name="connsiteX693" fmla="*/ 484263 w 1317625"/>
              <a:gd name="connsiteY693" fmla="*/ 884981 h 1344613"/>
              <a:gd name="connsiteX694" fmla="*/ 479920 w 1317625"/>
              <a:gd name="connsiteY694" fmla="*/ 888143 h 1344613"/>
              <a:gd name="connsiteX695" fmla="*/ 476012 w 1317625"/>
              <a:gd name="connsiteY695" fmla="*/ 891304 h 1344613"/>
              <a:gd name="connsiteX696" fmla="*/ 472537 w 1317625"/>
              <a:gd name="connsiteY696" fmla="*/ 894466 h 1344613"/>
              <a:gd name="connsiteX697" fmla="*/ 470455 w 1317625"/>
              <a:gd name="connsiteY697" fmla="*/ 896431 h 1344613"/>
              <a:gd name="connsiteX698" fmla="*/ 468489 w 1317625"/>
              <a:gd name="connsiteY698" fmla="*/ 904875 h 1344613"/>
              <a:gd name="connsiteX699" fmla="*/ 467091 w 1317625"/>
              <a:gd name="connsiteY699" fmla="*/ 899951 h 1344613"/>
              <a:gd name="connsiteX700" fmla="*/ 456903 w 1317625"/>
              <a:gd name="connsiteY700" fmla="*/ 911854 h 1344613"/>
              <a:gd name="connsiteX701" fmla="*/ 447783 w 1317625"/>
              <a:gd name="connsiteY701" fmla="*/ 921865 h 1344613"/>
              <a:gd name="connsiteX702" fmla="*/ 444308 w 1317625"/>
              <a:gd name="connsiteY702" fmla="*/ 923973 h 1344613"/>
              <a:gd name="connsiteX703" fmla="*/ 442137 w 1317625"/>
              <a:gd name="connsiteY703" fmla="*/ 926081 h 1344613"/>
              <a:gd name="connsiteX704" fmla="*/ 439531 w 1317625"/>
              <a:gd name="connsiteY704" fmla="*/ 928188 h 1344613"/>
              <a:gd name="connsiteX705" fmla="*/ 437794 w 1317625"/>
              <a:gd name="connsiteY705" fmla="*/ 930823 h 1344613"/>
              <a:gd name="connsiteX706" fmla="*/ 434320 w 1317625"/>
              <a:gd name="connsiteY706" fmla="*/ 935565 h 1344613"/>
              <a:gd name="connsiteX707" fmla="*/ 432582 w 1317625"/>
              <a:gd name="connsiteY707" fmla="*/ 940307 h 1344613"/>
              <a:gd name="connsiteX708" fmla="*/ 431280 w 1317625"/>
              <a:gd name="connsiteY708" fmla="*/ 945050 h 1344613"/>
              <a:gd name="connsiteX709" fmla="*/ 430845 w 1317625"/>
              <a:gd name="connsiteY709" fmla="*/ 949792 h 1344613"/>
              <a:gd name="connsiteX710" fmla="*/ 430411 w 1317625"/>
              <a:gd name="connsiteY710" fmla="*/ 954534 h 1344613"/>
              <a:gd name="connsiteX711" fmla="*/ 430845 w 1317625"/>
              <a:gd name="connsiteY711" fmla="*/ 959803 h 1344613"/>
              <a:gd name="connsiteX712" fmla="*/ 430845 w 1317625"/>
              <a:gd name="connsiteY712" fmla="*/ 965072 h 1344613"/>
              <a:gd name="connsiteX713" fmla="*/ 431280 w 1317625"/>
              <a:gd name="connsiteY713" fmla="*/ 969815 h 1344613"/>
              <a:gd name="connsiteX714" fmla="*/ 430845 w 1317625"/>
              <a:gd name="connsiteY714" fmla="*/ 975084 h 1344613"/>
              <a:gd name="connsiteX715" fmla="*/ 430411 w 1317625"/>
              <a:gd name="connsiteY715" fmla="*/ 979826 h 1344613"/>
              <a:gd name="connsiteX716" fmla="*/ 429108 w 1317625"/>
              <a:gd name="connsiteY716" fmla="*/ 985095 h 1344613"/>
              <a:gd name="connsiteX717" fmla="*/ 426502 w 1317625"/>
              <a:gd name="connsiteY717" fmla="*/ 990364 h 1344613"/>
              <a:gd name="connsiteX718" fmla="*/ 425200 w 1317625"/>
              <a:gd name="connsiteY718" fmla="*/ 992999 h 1344613"/>
              <a:gd name="connsiteX719" fmla="*/ 423462 w 1317625"/>
              <a:gd name="connsiteY719" fmla="*/ 995106 h 1344613"/>
              <a:gd name="connsiteX720" fmla="*/ 420857 w 1317625"/>
              <a:gd name="connsiteY720" fmla="*/ 997741 h 1344613"/>
              <a:gd name="connsiteX721" fmla="*/ 418685 w 1317625"/>
              <a:gd name="connsiteY721" fmla="*/ 999849 h 1344613"/>
              <a:gd name="connsiteX722" fmla="*/ 410434 w 1317625"/>
              <a:gd name="connsiteY722" fmla="*/ 1007225 h 1344613"/>
              <a:gd name="connsiteX723" fmla="*/ 403919 w 1317625"/>
              <a:gd name="connsiteY723" fmla="*/ 1013548 h 1344613"/>
              <a:gd name="connsiteX724" fmla="*/ 398708 w 1317625"/>
              <a:gd name="connsiteY724" fmla="*/ 1018818 h 1344613"/>
              <a:gd name="connsiteX725" fmla="*/ 394799 w 1317625"/>
              <a:gd name="connsiteY725" fmla="*/ 1024087 h 1344613"/>
              <a:gd name="connsiteX726" fmla="*/ 391759 w 1317625"/>
              <a:gd name="connsiteY726" fmla="*/ 1027775 h 1344613"/>
              <a:gd name="connsiteX727" fmla="*/ 390022 w 1317625"/>
              <a:gd name="connsiteY727" fmla="*/ 1030937 h 1344613"/>
              <a:gd name="connsiteX728" fmla="*/ 388719 w 1317625"/>
              <a:gd name="connsiteY728" fmla="*/ 1033571 h 1344613"/>
              <a:gd name="connsiteX729" fmla="*/ 387850 w 1317625"/>
              <a:gd name="connsiteY729" fmla="*/ 1035152 h 1344613"/>
              <a:gd name="connsiteX730" fmla="*/ 387416 w 1317625"/>
              <a:gd name="connsiteY730" fmla="*/ 1037787 h 1344613"/>
              <a:gd name="connsiteX731" fmla="*/ 387416 w 1317625"/>
              <a:gd name="connsiteY731" fmla="*/ 1038840 h 1344613"/>
              <a:gd name="connsiteX732" fmla="*/ 385679 w 1317625"/>
              <a:gd name="connsiteY732" fmla="*/ 1038840 h 1344613"/>
              <a:gd name="connsiteX733" fmla="*/ 380902 w 1317625"/>
              <a:gd name="connsiteY733" fmla="*/ 1038840 h 1344613"/>
              <a:gd name="connsiteX734" fmla="*/ 370044 w 1317625"/>
              <a:gd name="connsiteY734" fmla="*/ 1037787 h 1344613"/>
              <a:gd name="connsiteX735" fmla="*/ 360056 w 1317625"/>
              <a:gd name="connsiteY735" fmla="*/ 1037260 h 1344613"/>
              <a:gd name="connsiteX736" fmla="*/ 351370 w 1317625"/>
              <a:gd name="connsiteY736" fmla="*/ 1037260 h 1344613"/>
              <a:gd name="connsiteX737" fmla="*/ 343553 w 1317625"/>
              <a:gd name="connsiteY737" fmla="*/ 1038313 h 1344613"/>
              <a:gd name="connsiteX738" fmla="*/ 337038 w 1317625"/>
              <a:gd name="connsiteY738" fmla="*/ 1039894 h 1344613"/>
              <a:gd name="connsiteX739" fmla="*/ 331827 w 1317625"/>
              <a:gd name="connsiteY739" fmla="*/ 1041475 h 1344613"/>
              <a:gd name="connsiteX740" fmla="*/ 327049 w 1317625"/>
              <a:gd name="connsiteY740" fmla="*/ 1043583 h 1344613"/>
              <a:gd name="connsiteX741" fmla="*/ 322707 w 1317625"/>
              <a:gd name="connsiteY741" fmla="*/ 1046217 h 1344613"/>
              <a:gd name="connsiteX742" fmla="*/ 316192 w 1317625"/>
              <a:gd name="connsiteY742" fmla="*/ 1051486 h 1344613"/>
              <a:gd name="connsiteX743" fmla="*/ 311415 w 1317625"/>
              <a:gd name="connsiteY743" fmla="*/ 1055702 h 1344613"/>
              <a:gd name="connsiteX744" fmla="*/ 309244 w 1317625"/>
              <a:gd name="connsiteY744" fmla="*/ 1057282 h 1344613"/>
              <a:gd name="connsiteX745" fmla="*/ 307506 w 1317625"/>
              <a:gd name="connsiteY745" fmla="*/ 1058336 h 1344613"/>
              <a:gd name="connsiteX746" fmla="*/ 304901 w 1317625"/>
              <a:gd name="connsiteY746" fmla="*/ 1058863 h 1344613"/>
              <a:gd name="connsiteX747" fmla="*/ 303163 w 1317625"/>
              <a:gd name="connsiteY747" fmla="*/ 1058336 h 1344613"/>
              <a:gd name="connsiteX748" fmla="*/ 301861 w 1317625"/>
              <a:gd name="connsiteY748" fmla="*/ 1057809 h 1344613"/>
              <a:gd name="connsiteX749" fmla="*/ 300123 w 1317625"/>
              <a:gd name="connsiteY749" fmla="*/ 1056229 h 1344613"/>
              <a:gd name="connsiteX750" fmla="*/ 298820 w 1317625"/>
              <a:gd name="connsiteY750" fmla="*/ 1054121 h 1344613"/>
              <a:gd name="connsiteX751" fmla="*/ 297518 w 1317625"/>
              <a:gd name="connsiteY751" fmla="*/ 1051486 h 1344613"/>
              <a:gd name="connsiteX752" fmla="*/ 294478 w 1317625"/>
              <a:gd name="connsiteY752" fmla="*/ 1045163 h 1344613"/>
              <a:gd name="connsiteX753" fmla="*/ 291872 w 1317625"/>
              <a:gd name="connsiteY753" fmla="*/ 1038840 h 1344613"/>
              <a:gd name="connsiteX754" fmla="*/ 289700 w 1317625"/>
              <a:gd name="connsiteY754" fmla="*/ 1035679 h 1344613"/>
              <a:gd name="connsiteX755" fmla="*/ 287963 w 1317625"/>
              <a:gd name="connsiteY755" fmla="*/ 1032517 h 1344613"/>
              <a:gd name="connsiteX756" fmla="*/ 286226 w 1317625"/>
              <a:gd name="connsiteY756" fmla="*/ 1029356 h 1344613"/>
              <a:gd name="connsiteX757" fmla="*/ 283620 w 1317625"/>
              <a:gd name="connsiteY757" fmla="*/ 1026721 h 1344613"/>
              <a:gd name="connsiteX758" fmla="*/ 281449 w 1317625"/>
              <a:gd name="connsiteY758" fmla="*/ 1024087 h 1344613"/>
              <a:gd name="connsiteX759" fmla="*/ 278409 w 1317625"/>
              <a:gd name="connsiteY759" fmla="*/ 1021979 h 1344613"/>
              <a:gd name="connsiteX760" fmla="*/ 274934 w 1317625"/>
              <a:gd name="connsiteY760" fmla="*/ 1020398 h 1344613"/>
              <a:gd name="connsiteX761" fmla="*/ 271894 w 1317625"/>
              <a:gd name="connsiteY761" fmla="*/ 1019871 h 1344613"/>
              <a:gd name="connsiteX762" fmla="*/ 274934 w 1317625"/>
              <a:gd name="connsiteY762" fmla="*/ 1010914 h 1344613"/>
              <a:gd name="connsiteX763" fmla="*/ 277974 w 1317625"/>
              <a:gd name="connsiteY763" fmla="*/ 1003537 h 1344613"/>
              <a:gd name="connsiteX764" fmla="*/ 279277 w 1317625"/>
              <a:gd name="connsiteY764" fmla="*/ 996160 h 1344613"/>
              <a:gd name="connsiteX765" fmla="*/ 279345 w 1317625"/>
              <a:gd name="connsiteY765" fmla="*/ 995540 h 1344613"/>
              <a:gd name="connsiteX766" fmla="*/ 278110 w 1317625"/>
              <a:gd name="connsiteY766" fmla="*/ 1002545 h 1344613"/>
              <a:gd name="connsiteX767" fmla="*/ 275100 w 1317625"/>
              <a:gd name="connsiteY767" fmla="*/ 1009857 h 1344613"/>
              <a:gd name="connsiteX768" fmla="*/ 272091 w 1317625"/>
              <a:gd name="connsiteY768" fmla="*/ 1018736 h 1344613"/>
              <a:gd name="connsiteX769" fmla="*/ 263062 w 1317625"/>
              <a:gd name="connsiteY769" fmla="*/ 1019780 h 1344613"/>
              <a:gd name="connsiteX770" fmla="*/ 256612 w 1317625"/>
              <a:gd name="connsiteY770" fmla="*/ 1021869 h 1344613"/>
              <a:gd name="connsiteX771" fmla="*/ 253173 w 1317625"/>
              <a:gd name="connsiteY771" fmla="*/ 1023436 h 1344613"/>
              <a:gd name="connsiteX772" fmla="*/ 250593 w 1317625"/>
              <a:gd name="connsiteY772" fmla="*/ 1025003 h 1344613"/>
              <a:gd name="connsiteX773" fmla="*/ 248443 w 1317625"/>
              <a:gd name="connsiteY773" fmla="*/ 1025525 h 1344613"/>
              <a:gd name="connsiteX774" fmla="*/ 245004 w 1317625"/>
              <a:gd name="connsiteY774" fmla="*/ 1025525 h 1344613"/>
              <a:gd name="connsiteX775" fmla="*/ 239844 w 1317625"/>
              <a:gd name="connsiteY775" fmla="*/ 1024481 h 1344613"/>
              <a:gd name="connsiteX776" fmla="*/ 231675 w 1317625"/>
              <a:gd name="connsiteY776" fmla="*/ 1021869 h 1344613"/>
              <a:gd name="connsiteX777" fmla="*/ 231245 w 1317625"/>
              <a:gd name="connsiteY777" fmla="*/ 1017169 h 1344613"/>
              <a:gd name="connsiteX778" fmla="*/ 231245 w 1317625"/>
              <a:gd name="connsiteY778" fmla="*/ 1013513 h 1344613"/>
              <a:gd name="connsiteX779" fmla="*/ 230386 w 1317625"/>
              <a:gd name="connsiteY779" fmla="*/ 1009857 h 1344613"/>
              <a:gd name="connsiteX780" fmla="*/ 229526 w 1317625"/>
              <a:gd name="connsiteY780" fmla="*/ 1006201 h 1344613"/>
              <a:gd name="connsiteX781" fmla="*/ 226946 w 1317625"/>
              <a:gd name="connsiteY781" fmla="*/ 999412 h 1344613"/>
              <a:gd name="connsiteX782" fmla="*/ 224796 w 1317625"/>
              <a:gd name="connsiteY782" fmla="*/ 992622 h 1344613"/>
              <a:gd name="connsiteX783" fmla="*/ 221787 w 1317625"/>
              <a:gd name="connsiteY783" fmla="*/ 985833 h 1344613"/>
              <a:gd name="connsiteX784" fmla="*/ 219637 w 1317625"/>
              <a:gd name="connsiteY784" fmla="*/ 979043 h 1344613"/>
              <a:gd name="connsiteX785" fmla="*/ 218347 w 1317625"/>
              <a:gd name="connsiteY785" fmla="*/ 975387 h 1344613"/>
              <a:gd name="connsiteX786" fmla="*/ 217917 w 1317625"/>
              <a:gd name="connsiteY786" fmla="*/ 971731 h 1344613"/>
              <a:gd name="connsiteX787" fmla="*/ 217487 w 1317625"/>
              <a:gd name="connsiteY787" fmla="*/ 968075 h 1344613"/>
              <a:gd name="connsiteX788" fmla="*/ 217487 w 1317625"/>
              <a:gd name="connsiteY788" fmla="*/ 963897 h 1344613"/>
              <a:gd name="connsiteX789" fmla="*/ 217487 w 1317625"/>
              <a:gd name="connsiteY789" fmla="*/ 959197 h 1344613"/>
              <a:gd name="connsiteX790" fmla="*/ 217917 w 1317625"/>
              <a:gd name="connsiteY790" fmla="*/ 955541 h 1344613"/>
              <a:gd name="connsiteX791" fmla="*/ 218347 w 1317625"/>
              <a:gd name="connsiteY791" fmla="*/ 951363 h 1344613"/>
              <a:gd name="connsiteX792" fmla="*/ 219637 w 1317625"/>
              <a:gd name="connsiteY792" fmla="*/ 947707 h 1344613"/>
              <a:gd name="connsiteX793" fmla="*/ 222217 w 1317625"/>
              <a:gd name="connsiteY793" fmla="*/ 940917 h 1344613"/>
              <a:gd name="connsiteX794" fmla="*/ 225226 w 1317625"/>
              <a:gd name="connsiteY794" fmla="*/ 934650 h 1344613"/>
              <a:gd name="connsiteX795" fmla="*/ 231675 w 1317625"/>
              <a:gd name="connsiteY795" fmla="*/ 922116 h 1344613"/>
              <a:gd name="connsiteX796" fmla="*/ 237265 w 1317625"/>
              <a:gd name="connsiteY796" fmla="*/ 912192 h 1344613"/>
              <a:gd name="connsiteX797" fmla="*/ 238125 w 1317625"/>
              <a:gd name="connsiteY797" fmla="*/ 907492 h 1344613"/>
              <a:gd name="connsiteX798" fmla="*/ 238985 w 1317625"/>
              <a:gd name="connsiteY798" fmla="*/ 902792 h 1344613"/>
              <a:gd name="connsiteX799" fmla="*/ 239844 w 1317625"/>
              <a:gd name="connsiteY799" fmla="*/ 897569 h 1344613"/>
              <a:gd name="connsiteX800" fmla="*/ 240274 w 1317625"/>
              <a:gd name="connsiteY800" fmla="*/ 892868 h 1344613"/>
              <a:gd name="connsiteX801" fmla="*/ 240274 w 1317625"/>
              <a:gd name="connsiteY801" fmla="*/ 886601 h 1344613"/>
              <a:gd name="connsiteX802" fmla="*/ 240704 w 1317625"/>
              <a:gd name="connsiteY802" fmla="*/ 882945 h 1344613"/>
              <a:gd name="connsiteX803" fmla="*/ 241134 w 1317625"/>
              <a:gd name="connsiteY803" fmla="*/ 880856 h 1344613"/>
              <a:gd name="connsiteX804" fmla="*/ 241564 w 1317625"/>
              <a:gd name="connsiteY804" fmla="*/ 879812 h 1344613"/>
              <a:gd name="connsiteX805" fmla="*/ 241994 w 1317625"/>
              <a:gd name="connsiteY805" fmla="*/ 878767 h 1344613"/>
              <a:gd name="connsiteX806" fmla="*/ 242424 w 1317625"/>
              <a:gd name="connsiteY806" fmla="*/ 878245 h 1344613"/>
              <a:gd name="connsiteX807" fmla="*/ 243284 w 1317625"/>
              <a:gd name="connsiteY807" fmla="*/ 876678 h 1344613"/>
              <a:gd name="connsiteX808" fmla="*/ 243284 w 1317625"/>
              <a:gd name="connsiteY808" fmla="*/ 873544 h 1344613"/>
              <a:gd name="connsiteX809" fmla="*/ 236405 w 1317625"/>
              <a:gd name="connsiteY809" fmla="*/ 868844 h 1344613"/>
              <a:gd name="connsiteX810" fmla="*/ 233825 w 1317625"/>
              <a:gd name="connsiteY810" fmla="*/ 866755 h 1344613"/>
              <a:gd name="connsiteX811" fmla="*/ 232535 w 1317625"/>
              <a:gd name="connsiteY811" fmla="*/ 865710 h 1344613"/>
              <a:gd name="connsiteX812" fmla="*/ 233395 w 1317625"/>
              <a:gd name="connsiteY812" fmla="*/ 865188 h 1344613"/>
              <a:gd name="connsiteX813" fmla="*/ 233833 w 1317625"/>
              <a:gd name="connsiteY813" fmla="*/ 865188 h 1344613"/>
              <a:gd name="connsiteX814" fmla="*/ 232808 w 1317625"/>
              <a:gd name="connsiteY814" fmla="*/ 860216 h 1344613"/>
              <a:gd name="connsiteX815" fmla="*/ 229768 w 1317625"/>
              <a:gd name="connsiteY815" fmla="*/ 849151 h 1344613"/>
              <a:gd name="connsiteX816" fmla="*/ 226728 w 1317625"/>
              <a:gd name="connsiteY816" fmla="*/ 837559 h 1344613"/>
              <a:gd name="connsiteX817" fmla="*/ 225425 w 1317625"/>
              <a:gd name="connsiteY817" fmla="*/ 831236 h 1344613"/>
              <a:gd name="connsiteX818" fmla="*/ 228899 w 1317625"/>
              <a:gd name="connsiteY818" fmla="*/ 830709 h 1344613"/>
              <a:gd name="connsiteX819" fmla="*/ 231940 w 1317625"/>
              <a:gd name="connsiteY819" fmla="*/ 830182 h 1344613"/>
              <a:gd name="connsiteX820" fmla="*/ 235414 w 1317625"/>
              <a:gd name="connsiteY820" fmla="*/ 829128 h 1344613"/>
              <a:gd name="connsiteX821" fmla="*/ 238020 w 1317625"/>
              <a:gd name="connsiteY821" fmla="*/ 828074 h 1344613"/>
              <a:gd name="connsiteX822" fmla="*/ 243231 w 1317625"/>
              <a:gd name="connsiteY822" fmla="*/ 824913 h 1344613"/>
              <a:gd name="connsiteX823" fmla="*/ 247574 w 1317625"/>
              <a:gd name="connsiteY823" fmla="*/ 821751 h 1344613"/>
              <a:gd name="connsiteX824" fmla="*/ 251048 w 1317625"/>
              <a:gd name="connsiteY824" fmla="*/ 818063 h 1344613"/>
              <a:gd name="connsiteX825" fmla="*/ 254957 w 1317625"/>
              <a:gd name="connsiteY825" fmla="*/ 814902 h 1344613"/>
              <a:gd name="connsiteX826" fmla="*/ 257128 w 1317625"/>
              <a:gd name="connsiteY826" fmla="*/ 813321 h 1344613"/>
              <a:gd name="connsiteX827" fmla="*/ 258866 w 1317625"/>
              <a:gd name="connsiteY827" fmla="*/ 812267 h 1344613"/>
              <a:gd name="connsiteX828" fmla="*/ 260603 w 1317625"/>
              <a:gd name="connsiteY828" fmla="*/ 811740 h 1344613"/>
              <a:gd name="connsiteX829" fmla="*/ 262774 w 1317625"/>
              <a:gd name="connsiteY829" fmla="*/ 811213 h 1344613"/>
              <a:gd name="connsiteX830" fmla="*/ 269723 w 1317625"/>
              <a:gd name="connsiteY830" fmla="*/ 811740 h 1344613"/>
              <a:gd name="connsiteX831" fmla="*/ 276672 w 1317625"/>
              <a:gd name="connsiteY831" fmla="*/ 812794 h 1344613"/>
              <a:gd name="connsiteX832" fmla="*/ 282752 w 1317625"/>
              <a:gd name="connsiteY832" fmla="*/ 814902 h 1344613"/>
              <a:gd name="connsiteX833" fmla="*/ 288397 w 1317625"/>
              <a:gd name="connsiteY833" fmla="*/ 817009 h 1344613"/>
              <a:gd name="connsiteX834" fmla="*/ 294043 w 1317625"/>
              <a:gd name="connsiteY834" fmla="*/ 818590 h 1344613"/>
              <a:gd name="connsiteX835" fmla="*/ 299689 w 1317625"/>
              <a:gd name="connsiteY835" fmla="*/ 820171 h 1344613"/>
              <a:gd name="connsiteX836" fmla="*/ 305769 w 1317625"/>
              <a:gd name="connsiteY836" fmla="*/ 821225 h 1344613"/>
              <a:gd name="connsiteX837" fmla="*/ 311849 w 1317625"/>
              <a:gd name="connsiteY837" fmla="*/ 821751 h 1344613"/>
              <a:gd name="connsiteX838" fmla="*/ 316192 w 1317625"/>
              <a:gd name="connsiteY838" fmla="*/ 821751 h 1344613"/>
              <a:gd name="connsiteX839" fmla="*/ 319667 w 1317625"/>
              <a:gd name="connsiteY839" fmla="*/ 822805 h 1344613"/>
              <a:gd name="connsiteX840" fmla="*/ 323575 w 1317625"/>
              <a:gd name="connsiteY840" fmla="*/ 824386 h 1344613"/>
              <a:gd name="connsiteX841" fmla="*/ 327484 w 1317625"/>
              <a:gd name="connsiteY841" fmla="*/ 826494 h 1344613"/>
              <a:gd name="connsiteX842" fmla="*/ 330958 w 1317625"/>
              <a:gd name="connsiteY842" fmla="*/ 828074 h 1344613"/>
              <a:gd name="connsiteX843" fmla="*/ 333998 w 1317625"/>
              <a:gd name="connsiteY843" fmla="*/ 829655 h 1344613"/>
              <a:gd name="connsiteX844" fmla="*/ 337472 w 1317625"/>
              <a:gd name="connsiteY844" fmla="*/ 830709 h 1344613"/>
              <a:gd name="connsiteX845" fmla="*/ 340947 w 1317625"/>
              <a:gd name="connsiteY845" fmla="*/ 831236 h 1344613"/>
              <a:gd name="connsiteX846" fmla="*/ 371377 w 1317625"/>
              <a:gd name="connsiteY846" fmla="*/ 831236 h 1344613"/>
              <a:gd name="connsiteX847" fmla="*/ 368014 w 1317625"/>
              <a:gd name="connsiteY847" fmla="*/ 828246 h 1344613"/>
              <a:gd name="connsiteX848" fmla="*/ 364901 w 1317625"/>
              <a:gd name="connsiteY848" fmla="*/ 825083 h 1344613"/>
              <a:gd name="connsiteX849" fmla="*/ 363122 w 1317625"/>
              <a:gd name="connsiteY849" fmla="*/ 821393 h 1344613"/>
              <a:gd name="connsiteX850" fmla="*/ 361788 w 1317625"/>
              <a:gd name="connsiteY850" fmla="*/ 818231 h 1344613"/>
              <a:gd name="connsiteX851" fmla="*/ 362677 w 1317625"/>
              <a:gd name="connsiteY851" fmla="*/ 816649 h 1344613"/>
              <a:gd name="connsiteX852" fmla="*/ 363122 w 1317625"/>
              <a:gd name="connsiteY852" fmla="*/ 815595 h 1344613"/>
              <a:gd name="connsiteX853" fmla="*/ 363567 w 1317625"/>
              <a:gd name="connsiteY853" fmla="*/ 813487 h 1344613"/>
              <a:gd name="connsiteX854" fmla="*/ 364012 w 1317625"/>
              <a:gd name="connsiteY854" fmla="*/ 811905 h 1344613"/>
              <a:gd name="connsiteX855" fmla="*/ 364012 w 1317625"/>
              <a:gd name="connsiteY855" fmla="*/ 808215 h 1344613"/>
              <a:gd name="connsiteX856" fmla="*/ 363567 w 1317625"/>
              <a:gd name="connsiteY856" fmla="*/ 804526 h 1344613"/>
              <a:gd name="connsiteX857" fmla="*/ 362233 w 1317625"/>
              <a:gd name="connsiteY857" fmla="*/ 797673 h 1344613"/>
              <a:gd name="connsiteX858" fmla="*/ 361788 w 1317625"/>
              <a:gd name="connsiteY858" fmla="*/ 791875 h 1344613"/>
              <a:gd name="connsiteX859" fmla="*/ 362233 w 1317625"/>
              <a:gd name="connsiteY859" fmla="*/ 780278 h 1344613"/>
              <a:gd name="connsiteX860" fmla="*/ 363122 w 1317625"/>
              <a:gd name="connsiteY860" fmla="*/ 772898 h 1344613"/>
              <a:gd name="connsiteX861" fmla="*/ 364012 w 1317625"/>
              <a:gd name="connsiteY861" fmla="*/ 767100 h 1344613"/>
              <a:gd name="connsiteX862" fmla="*/ 364456 w 1317625"/>
              <a:gd name="connsiteY862" fmla="*/ 759720 h 1344613"/>
              <a:gd name="connsiteX863" fmla="*/ 363567 w 1317625"/>
              <a:gd name="connsiteY863" fmla="*/ 749705 h 1344613"/>
              <a:gd name="connsiteX864" fmla="*/ 361788 w 1317625"/>
              <a:gd name="connsiteY864" fmla="*/ 738108 h 1344613"/>
              <a:gd name="connsiteX865" fmla="*/ 359565 w 1317625"/>
              <a:gd name="connsiteY865" fmla="*/ 724930 h 1344613"/>
              <a:gd name="connsiteX866" fmla="*/ 358675 w 1317625"/>
              <a:gd name="connsiteY866" fmla="*/ 713860 h 1344613"/>
              <a:gd name="connsiteX867" fmla="*/ 356452 w 1317625"/>
              <a:gd name="connsiteY867" fmla="*/ 713333 h 1344613"/>
              <a:gd name="connsiteX868" fmla="*/ 353339 w 1317625"/>
              <a:gd name="connsiteY868" fmla="*/ 712279 h 1344613"/>
              <a:gd name="connsiteX869" fmla="*/ 349781 w 1317625"/>
              <a:gd name="connsiteY869" fmla="*/ 710698 h 1344613"/>
              <a:gd name="connsiteX870" fmla="*/ 345334 w 1317625"/>
              <a:gd name="connsiteY870" fmla="*/ 708062 h 1344613"/>
              <a:gd name="connsiteX871" fmla="*/ 335551 w 1317625"/>
              <a:gd name="connsiteY871" fmla="*/ 702791 h 1344613"/>
              <a:gd name="connsiteX872" fmla="*/ 325323 w 1317625"/>
              <a:gd name="connsiteY872" fmla="*/ 695411 h 1344613"/>
              <a:gd name="connsiteX873" fmla="*/ 305757 w 1317625"/>
              <a:gd name="connsiteY873" fmla="*/ 682233 h 1344613"/>
              <a:gd name="connsiteX874" fmla="*/ 296863 w 1317625"/>
              <a:gd name="connsiteY874" fmla="*/ 674853 h 1344613"/>
              <a:gd name="connsiteX875" fmla="*/ 305312 w 1317625"/>
              <a:gd name="connsiteY875" fmla="*/ 671690 h 1344613"/>
              <a:gd name="connsiteX876" fmla="*/ 307536 w 1317625"/>
              <a:gd name="connsiteY876" fmla="*/ 671163 h 1344613"/>
              <a:gd name="connsiteX877" fmla="*/ 309314 w 1317625"/>
              <a:gd name="connsiteY877" fmla="*/ 669582 h 1344613"/>
              <a:gd name="connsiteX878" fmla="*/ 310649 w 1317625"/>
              <a:gd name="connsiteY878" fmla="*/ 668001 h 1344613"/>
              <a:gd name="connsiteX879" fmla="*/ 312872 w 1317625"/>
              <a:gd name="connsiteY879" fmla="*/ 664838 h 1344613"/>
              <a:gd name="connsiteX880" fmla="*/ 314206 w 1317625"/>
              <a:gd name="connsiteY880" fmla="*/ 662729 h 1344613"/>
              <a:gd name="connsiteX881" fmla="*/ 316430 w 1317625"/>
              <a:gd name="connsiteY881" fmla="*/ 660621 h 1344613"/>
              <a:gd name="connsiteX882" fmla="*/ 318208 w 1317625"/>
              <a:gd name="connsiteY882" fmla="*/ 659039 h 1344613"/>
              <a:gd name="connsiteX883" fmla="*/ 319987 w 1317625"/>
              <a:gd name="connsiteY883" fmla="*/ 658512 h 1344613"/>
              <a:gd name="connsiteX884" fmla="*/ 337775 w 1317625"/>
              <a:gd name="connsiteY884" fmla="*/ 664838 h 1344613"/>
              <a:gd name="connsiteX885" fmla="*/ 341332 w 1317625"/>
              <a:gd name="connsiteY885" fmla="*/ 662729 h 1344613"/>
              <a:gd name="connsiteX886" fmla="*/ 344890 w 1317625"/>
              <a:gd name="connsiteY886" fmla="*/ 661675 h 1344613"/>
              <a:gd name="connsiteX887" fmla="*/ 348447 w 1317625"/>
              <a:gd name="connsiteY887" fmla="*/ 661148 h 1344613"/>
              <a:gd name="connsiteX888" fmla="*/ 352450 w 1317625"/>
              <a:gd name="connsiteY888" fmla="*/ 661148 h 1344613"/>
              <a:gd name="connsiteX889" fmla="*/ 355562 w 1317625"/>
              <a:gd name="connsiteY889" fmla="*/ 661675 h 1344613"/>
              <a:gd name="connsiteX890" fmla="*/ 359120 w 1317625"/>
              <a:gd name="connsiteY890" fmla="*/ 662729 h 1344613"/>
              <a:gd name="connsiteX891" fmla="*/ 362233 w 1317625"/>
              <a:gd name="connsiteY891" fmla="*/ 663784 h 1344613"/>
              <a:gd name="connsiteX892" fmla="*/ 364456 w 1317625"/>
              <a:gd name="connsiteY892" fmla="*/ 664838 h 1344613"/>
              <a:gd name="connsiteX893" fmla="*/ 364456 w 1317625"/>
              <a:gd name="connsiteY893" fmla="*/ 626358 h 1344613"/>
              <a:gd name="connsiteX894" fmla="*/ 370237 w 1317625"/>
              <a:gd name="connsiteY894" fmla="*/ 630575 h 1344613"/>
              <a:gd name="connsiteX895" fmla="*/ 374684 w 1317625"/>
              <a:gd name="connsiteY895" fmla="*/ 634792 h 1344613"/>
              <a:gd name="connsiteX896" fmla="*/ 377352 w 1317625"/>
              <a:gd name="connsiteY896" fmla="*/ 636373 h 1344613"/>
              <a:gd name="connsiteX897" fmla="*/ 379131 w 1317625"/>
              <a:gd name="connsiteY897" fmla="*/ 638482 h 1344613"/>
              <a:gd name="connsiteX898" fmla="*/ 382244 w 1317625"/>
              <a:gd name="connsiteY898" fmla="*/ 639009 h 1344613"/>
              <a:gd name="connsiteX899" fmla="*/ 384912 w 1317625"/>
              <a:gd name="connsiteY899" fmla="*/ 639536 h 1344613"/>
              <a:gd name="connsiteX900" fmla="*/ 388914 w 1317625"/>
              <a:gd name="connsiteY900" fmla="*/ 639009 h 1344613"/>
              <a:gd name="connsiteX901" fmla="*/ 393361 w 1317625"/>
              <a:gd name="connsiteY901" fmla="*/ 637427 h 1344613"/>
              <a:gd name="connsiteX902" fmla="*/ 397363 w 1317625"/>
              <a:gd name="connsiteY902" fmla="*/ 635319 h 1344613"/>
              <a:gd name="connsiteX903" fmla="*/ 401810 w 1317625"/>
              <a:gd name="connsiteY903" fmla="*/ 633210 h 1344613"/>
              <a:gd name="connsiteX904" fmla="*/ 406257 w 1317625"/>
              <a:gd name="connsiteY904" fmla="*/ 630048 h 1344613"/>
              <a:gd name="connsiteX905" fmla="*/ 410259 w 1317625"/>
              <a:gd name="connsiteY905" fmla="*/ 626885 h 1344613"/>
              <a:gd name="connsiteX906" fmla="*/ 414262 w 1317625"/>
              <a:gd name="connsiteY906" fmla="*/ 623195 h 1344613"/>
              <a:gd name="connsiteX907" fmla="*/ 418264 w 1317625"/>
              <a:gd name="connsiteY907" fmla="*/ 619505 h 1344613"/>
              <a:gd name="connsiteX908" fmla="*/ 422266 w 1317625"/>
              <a:gd name="connsiteY908" fmla="*/ 615288 h 1344613"/>
              <a:gd name="connsiteX909" fmla="*/ 425379 w 1317625"/>
              <a:gd name="connsiteY909" fmla="*/ 611071 h 1344613"/>
              <a:gd name="connsiteX910" fmla="*/ 428936 w 1317625"/>
              <a:gd name="connsiteY910" fmla="*/ 606327 h 1344613"/>
              <a:gd name="connsiteX911" fmla="*/ 431605 w 1317625"/>
              <a:gd name="connsiteY911" fmla="*/ 602110 h 1344613"/>
              <a:gd name="connsiteX912" fmla="*/ 433828 w 1317625"/>
              <a:gd name="connsiteY912" fmla="*/ 597893 h 1344613"/>
              <a:gd name="connsiteX913" fmla="*/ 436051 w 1317625"/>
              <a:gd name="connsiteY913" fmla="*/ 594203 h 1344613"/>
              <a:gd name="connsiteX914" fmla="*/ 437386 w 1317625"/>
              <a:gd name="connsiteY914" fmla="*/ 590513 h 1344613"/>
              <a:gd name="connsiteX915" fmla="*/ 438275 w 1317625"/>
              <a:gd name="connsiteY915" fmla="*/ 587351 h 1344613"/>
              <a:gd name="connsiteX916" fmla="*/ 446724 w 1317625"/>
              <a:gd name="connsiteY916" fmla="*/ 586823 h 1344613"/>
              <a:gd name="connsiteX917" fmla="*/ 454284 w 1317625"/>
              <a:gd name="connsiteY917" fmla="*/ 585242 h 1344613"/>
              <a:gd name="connsiteX918" fmla="*/ 461399 w 1317625"/>
              <a:gd name="connsiteY918" fmla="*/ 583134 h 1344613"/>
              <a:gd name="connsiteX919" fmla="*/ 958875 w 1317625"/>
              <a:gd name="connsiteY919" fmla="*/ 572566 h 1344613"/>
              <a:gd name="connsiteX920" fmla="*/ 945266 w 1317625"/>
              <a:gd name="connsiteY920" fmla="*/ 577463 h 1344613"/>
              <a:gd name="connsiteX921" fmla="*/ 945105 w 1317625"/>
              <a:gd name="connsiteY921" fmla="*/ 577191 h 1344613"/>
              <a:gd name="connsiteX922" fmla="*/ 946615 w 1317625"/>
              <a:gd name="connsiteY922" fmla="*/ 581077 h 1344613"/>
              <a:gd name="connsiteX923" fmla="*/ 954044 w 1317625"/>
              <a:gd name="connsiteY923" fmla="*/ 595238 h 1344613"/>
              <a:gd name="connsiteX924" fmla="*/ 958850 w 1317625"/>
              <a:gd name="connsiteY924" fmla="*/ 603630 h 1344613"/>
              <a:gd name="connsiteX925" fmla="*/ 956229 w 1317625"/>
              <a:gd name="connsiteY925" fmla="*/ 606777 h 1344613"/>
              <a:gd name="connsiteX926" fmla="*/ 953607 w 1317625"/>
              <a:gd name="connsiteY926" fmla="*/ 610448 h 1344613"/>
              <a:gd name="connsiteX927" fmla="*/ 950548 w 1317625"/>
              <a:gd name="connsiteY927" fmla="*/ 615693 h 1344613"/>
              <a:gd name="connsiteX928" fmla="*/ 947489 w 1317625"/>
              <a:gd name="connsiteY928" fmla="*/ 621462 h 1344613"/>
              <a:gd name="connsiteX929" fmla="*/ 945305 w 1317625"/>
              <a:gd name="connsiteY929" fmla="*/ 627232 h 1344613"/>
              <a:gd name="connsiteX930" fmla="*/ 942683 w 1317625"/>
              <a:gd name="connsiteY930" fmla="*/ 633001 h 1344613"/>
              <a:gd name="connsiteX931" fmla="*/ 941372 w 1317625"/>
              <a:gd name="connsiteY931" fmla="*/ 639295 h 1344613"/>
              <a:gd name="connsiteX932" fmla="*/ 941151 w 1317625"/>
              <a:gd name="connsiteY932" fmla="*/ 642742 h 1344613"/>
              <a:gd name="connsiteX933" fmla="*/ 942273 w 1317625"/>
              <a:gd name="connsiteY933" fmla="*/ 642742 h 1344613"/>
              <a:gd name="connsiteX934" fmla="*/ 942273 w 1317625"/>
              <a:gd name="connsiteY934" fmla="*/ 645910 h 1344613"/>
              <a:gd name="connsiteX935" fmla="*/ 941031 w 1317625"/>
              <a:gd name="connsiteY935" fmla="*/ 644617 h 1344613"/>
              <a:gd name="connsiteX936" fmla="*/ 940935 w 1317625"/>
              <a:gd name="connsiteY936" fmla="*/ 646113 h 1344613"/>
              <a:gd name="connsiteX937" fmla="*/ 939800 w 1317625"/>
              <a:gd name="connsiteY937" fmla="*/ 646113 h 1344613"/>
              <a:gd name="connsiteX938" fmla="*/ 939800 w 1317625"/>
              <a:gd name="connsiteY938" fmla="*/ 646257 h 1344613"/>
              <a:gd name="connsiteX939" fmla="*/ 938941 w 1317625"/>
              <a:gd name="connsiteY939" fmla="*/ 649721 h 1344613"/>
              <a:gd name="connsiteX940" fmla="*/ 938082 w 1317625"/>
              <a:gd name="connsiteY940" fmla="*/ 653761 h 1344613"/>
              <a:gd name="connsiteX941" fmla="*/ 936794 w 1317625"/>
              <a:gd name="connsiteY941" fmla="*/ 657225 h 1344613"/>
              <a:gd name="connsiteX942" fmla="*/ 935076 w 1317625"/>
              <a:gd name="connsiteY942" fmla="*/ 664152 h 1344613"/>
              <a:gd name="connsiteX943" fmla="*/ 934217 w 1317625"/>
              <a:gd name="connsiteY943" fmla="*/ 669925 h 1344613"/>
              <a:gd name="connsiteX944" fmla="*/ 891698 w 1317625"/>
              <a:gd name="connsiteY944" fmla="*/ 673100 h 1344613"/>
              <a:gd name="connsiteX945" fmla="*/ 936503 w 1317625"/>
              <a:gd name="connsiteY945" fmla="*/ 673100 h 1344613"/>
              <a:gd name="connsiteX946" fmla="*/ 947737 w 1317625"/>
              <a:gd name="connsiteY946" fmla="*/ 682220 h 1344613"/>
              <a:gd name="connsiteX947" fmla="*/ 945577 w 1317625"/>
              <a:gd name="connsiteY947" fmla="*/ 690326 h 1344613"/>
              <a:gd name="connsiteX948" fmla="*/ 941688 w 1317625"/>
              <a:gd name="connsiteY948" fmla="*/ 697419 h 1344613"/>
              <a:gd name="connsiteX949" fmla="*/ 937799 w 1317625"/>
              <a:gd name="connsiteY949" fmla="*/ 705526 h 1344613"/>
              <a:gd name="connsiteX950" fmla="*/ 933046 w 1317625"/>
              <a:gd name="connsiteY950" fmla="*/ 712619 h 1344613"/>
              <a:gd name="connsiteX951" fmla="*/ 927861 w 1317625"/>
              <a:gd name="connsiteY951" fmla="*/ 719712 h 1344613"/>
              <a:gd name="connsiteX952" fmla="*/ 923108 w 1317625"/>
              <a:gd name="connsiteY952" fmla="*/ 727312 h 1344613"/>
              <a:gd name="connsiteX953" fmla="*/ 917922 w 1317625"/>
              <a:gd name="connsiteY953" fmla="*/ 735925 h 1344613"/>
              <a:gd name="connsiteX954" fmla="*/ 913601 w 1317625"/>
              <a:gd name="connsiteY954" fmla="*/ 744538 h 1344613"/>
              <a:gd name="connsiteX955" fmla="*/ 906768 w 1317625"/>
              <a:gd name="connsiteY955" fmla="*/ 744538 h 1344613"/>
              <a:gd name="connsiteX956" fmla="*/ 910954 w 1317625"/>
              <a:gd name="connsiteY956" fmla="*/ 746080 h 1344613"/>
              <a:gd name="connsiteX957" fmla="*/ 911393 w 1317625"/>
              <a:gd name="connsiteY957" fmla="*/ 751335 h 1344613"/>
              <a:gd name="connsiteX958" fmla="*/ 913148 w 1317625"/>
              <a:gd name="connsiteY958" fmla="*/ 755538 h 1344613"/>
              <a:gd name="connsiteX959" fmla="*/ 914903 w 1317625"/>
              <a:gd name="connsiteY959" fmla="*/ 760267 h 1344613"/>
              <a:gd name="connsiteX960" fmla="*/ 916658 w 1317625"/>
              <a:gd name="connsiteY960" fmla="*/ 763945 h 1344613"/>
              <a:gd name="connsiteX961" fmla="*/ 919291 w 1317625"/>
              <a:gd name="connsiteY961" fmla="*/ 767098 h 1344613"/>
              <a:gd name="connsiteX962" fmla="*/ 921924 w 1317625"/>
              <a:gd name="connsiteY962" fmla="*/ 769725 h 1344613"/>
              <a:gd name="connsiteX963" fmla="*/ 924557 w 1317625"/>
              <a:gd name="connsiteY963" fmla="*/ 772352 h 1344613"/>
              <a:gd name="connsiteX964" fmla="*/ 926437 w 1317625"/>
              <a:gd name="connsiteY964" fmla="*/ 773759 h 1344613"/>
              <a:gd name="connsiteX965" fmla="*/ 923686 w 1317625"/>
              <a:gd name="connsiteY965" fmla="*/ 770825 h 1344613"/>
              <a:gd name="connsiteX966" fmla="*/ 921154 w 1317625"/>
              <a:gd name="connsiteY966" fmla="*/ 767673 h 1344613"/>
              <a:gd name="connsiteX967" fmla="*/ 919043 w 1317625"/>
              <a:gd name="connsiteY967" fmla="*/ 763996 h 1344613"/>
              <a:gd name="connsiteX968" fmla="*/ 916933 w 1317625"/>
              <a:gd name="connsiteY968" fmla="*/ 759794 h 1344613"/>
              <a:gd name="connsiteX969" fmla="*/ 915244 w 1317625"/>
              <a:gd name="connsiteY969" fmla="*/ 755066 h 1344613"/>
              <a:gd name="connsiteX970" fmla="*/ 914400 w 1317625"/>
              <a:gd name="connsiteY970" fmla="*/ 749814 h 1344613"/>
              <a:gd name="connsiteX971" fmla="*/ 914400 w 1317625"/>
              <a:gd name="connsiteY971" fmla="*/ 744036 h 1344613"/>
              <a:gd name="connsiteX972" fmla="*/ 924952 w 1317625"/>
              <a:gd name="connsiteY972" fmla="*/ 726176 h 1344613"/>
              <a:gd name="connsiteX973" fmla="*/ 935505 w 1317625"/>
              <a:gd name="connsiteY973" fmla="*/ 710943 h 1344613"/>
              <a:gd name="connsiteX974" fmla="*/ 940148 w 1317625"/>
              <a:gd name="connsiteY974" fmla="*/ 703589 h 1344613"/>
              <a:gd name="connsiteX975" fmla="*/ 944368 w 1317625"/>
              <a:gd name="connsiteY975" fmla="*/ 695185 h 1344613"/>
              <a:gd name="connsiteX976" fmla="*/ 946057 w 1317625"/>
              <a:gd name="connsiteY976" fmla="*/ 691508 h 1344613"/>
              <a:gd name="connsiteX977" fmla="*/ 948167 w 1317625"/>
              <a:gd name="connsiteY977" fmla="*/ 687831 h 1344613"/>
              <a:gd name="connsiteX978" fmla="*/ 949433 w 1317625"/>
              <a:gd name="connsiteY978" fmla="*/ 683629 h 1344613"/>
              <a:gd name="connsiteX979" fmla="*/ 949880 w 1317625"/>
              <a:gd name="connsiteY979" fmla="*/ 681408 h 1344613"/>
              <a:gd name="connsiteX980" fmla="*/ 947921 w 1317625"/>
              <a:gd name="connsiteY980" fmla="*/ 681289 h 1344613"/>
              <a:gd name="connsiteX981" fmla="*/ 936625 w 1317625"/>
              <a:gd name="connsiteY981" fmla="*/ 668088 h 1344613"/>
              <a:gd name="connsiteX982" fmla="*/ 938363 w 1317625"/>
              <a:gd name="connsiteY982" fmla="*/ 665447 h 1344613"/>
              <a:gd name="connsiteX983" fmla="*/ 940101 w 1317625"/>
              <a:gd name="connsiteY983" fmla="*/ 662807 h 1344613"/>
              <a:gd name="connsiteX984" fmla="*/ 940970 w 1317625"/>
              <a:gd name="connsiteY984" fmla="*/ 659639 h 1344613"/>
              <a:gd name="connsiteX985" fmla="*/ 941838 w 1317625"/>
              <a:gd name="connsiteY985" fmla="*/ 656471 h 1344613"/>
              <a:gd name="connsiteX986" fmla="*/ 942273 w 1317625"/>
              <a:gd name="connsiteY986" fmla="*/ 649606 h 1344613"/>
              <a:gd name="connsiteX987" fmla="*/ 942273 w 1317625"/>
              <a:gd name="connsiteY987" fmla="*/ 645910 h 1344613"/>
              <a:gd name="connsiteX988" fmla="*/ 942707 w 1317625"/>
              <a:gd name="connsiteY988" fmla="*/ 639046 h 1344613"/>
              <a:gd name="connsiteX989" fmla="*/ 944011 w 1317625"/>
              <a:gd name="connsiteY989" fmla="*/ 632709 h 1344613"/>
              <a:gd name="connsiteX990" fmla="*/ 946617 w 1317625"/>
              <a:gd name="connsiteY990" fmla="*/ 626901 h 1344613"/>
              <a:gd name="connsiteX991" fmla="*/ 949658 w 1317625"/>
              <a:gd name="connsiteY991" fmla="*/ 621092 h 1344613"/>
              <a:gd name="connsiteX992" fmla="*/ 952265 w 1317625"/>
              <a:gd name="connsiteY992" fmla="*/ 615284 h 1344613"/>
              <a:gd name="connsiteX993" fmla="*/ 955740 w 1317625"/>
              <a:gd name="connsiteY993" fmla="*/ 610003 h 1344613"/>
              <a:gd name="connsiteX994" fmla="*/ 959650 w 1317625"/>
              <a:gd name="connsiteY994" fmla="*/ 606307 h 1344613"/>
              <a:gd name="connsiteX995" fmla="*/ 962691 w 1317625"/>
              <a:gd name="connsiteY995" fmla="*/ 603139 h 1344613"/>
              <a:gd name="connsiteX996" fmla="*/ 960085 w 1317625"/>
              <a:gd name="connsiteY996" fmla="*/ 599443 h 1344613"/>
              <a:gd name="connsiteX997" fmla="*/ 956609 w 1317625"/>
              <a:gd name="connsiteY997" fmla="*/ 594162 h 1344613"/>
              <a:gd name="connsiteX998" fmla="*/ 952265 w 1317625"/>
              <a:gd name="connsiteY998" fmla="*/ 586770 h 1344613"/>
              <a:gd name="connsiteX999" fmla="*/ 947921 w 1317625"/>
              <a:gd name="connsiteY999" fmla="*/ 577265 h 1344613"/>
              <a:gd name="connsiteX1000" fmla="*/ 519112 w 1317625"/>
              <a:gd name="connsiteY1000" fmla="*/ 571433 h 1344613"/>
              <a:gd name="connsiteX1001" fmla="*/ 521424 w 1317625"/>
              <a:gd name="connsiteY1001" fmla="*/ 572090 h 1344613"/>
              <a:gd name="connsiteX1002" fmla="*/ 522279 w 1317625"/>
              <a:gd name="connsiteY1002" fmla="*/ 574519 h 1344613"/>
              <a:gd name="connsiteX1003" fmla="*/ 520017 w 1317625"/>
              <a:gd name="connsiteY1003" fmla="*/ 574004 h 1344613"/>
              <a:gd name="connsiteX1004" fmla="*/ 519564 w 1317625"/>
              <a:gd name="connsiteY1004" fmla="*/ 572976 h 1344613"/>
              <a:gd name="connsiteX1005" fmla="*/ 519112 w 1317625"/>
              <a:gd name="connsiteY1005" fmla="*/ 571947 h 1344613"/>
              <a:gd name="connsiteX1006" fmla="*/ 1105993 w 1317625"/>
              <a:gd name="connsiteY1006" fmla="*/ 558287 h 1344613"/>
              <a:gd name="connsiteX1007" fmla="*/ 1102969 w 1317625"/>
              <a:gd name="connsiteY1007" fmla="*/ 571244 h 1344613"/>
              <a:gd name="connsiteX1008" fmla="*/ 1102969 w 1317625"/>
              <a:gd name="connsiteY1008" fmla="*/ 583816 h 1344613"/>
              <a:gd name="connsiteX1009" fmla="*/ 1103883 w 1317625"/>
              <a:gd name="connsiteY1009" fmla="*/ 584129 h 1344613"/>
              <a:gd name="connsiteX1010" fmla="*/ 1103883 w 1317625"/>
              <a:gd name="connsiteY1010" fmla="*/ 570929 h 1344613"/>
              <a:gd name="connsiteX1011" fmla="*/ 1106795 w 1317625"/>
              <a:gd name="connsiteY1011" fmla="*/ 558287 h 1344613"/>
              <a:gd name="connsiteX1012" fmla="*/ 582442 w 1317625"/>
              <a:gd name="connsiteY1012" fmla="*/ 514350 h 1344613"/>
              <a:gd name="connsiteX1013" fmla="*/ 585608 w 1317625"/>
              <a:gd name="connsiteY1013" fmla="*/ 514864 h 1344613"/>
              <a:gd name="connsiteX1014" fmla="*/ 588775 w 1317625"/>
              <a:gd name="connsiteY1014" fmla="*/ 515379 h 1344613"/>
              <a:gd name="connsiteX1015" fmla="*/ 591037 w 1317625"/>
              <a:gd name="connsiteY1015" fmla="*/ 515379 h 1344613"/>
              <a:gd name="connsiteX1016" fmla="*/ 593751 w 1317625"/>
              <a:gd name="connsiteY1016" fmla="*/ 515379 h 1344613"/>
              <a:gd name="connsiteX1017" fmla="*/ 598727 w 1317625"/>
              <a:gd name="connsiteY1017" fmla="*/ 514864 h 1344613"/>
              <a:gd name="connsiteX1018" fmla="*/ 603250 w 1317625"/>
              <a:gd name="connsiteY1018" fmla="*/ 514350 h 1344613"/>
              <a:gd name="connsiteX1019" fmla="*/ 601893 w 1317625"/>
              <a:gd name="connsiteY1019" fmla="*/ 519493 h 1344613"/>
              <a:gd name="connsiteX1020" fmla="*/ 600988 w 1317625"/>
              <a:gd name="connsiteY1020" fmla="*/ 524121 h 1344613"/>
              <a:gd name="connsiteX1021" fmla="*/ 599631 w 1317625"/>
              <a:gd name="connsiteY1021" fmla="*/ 527721 h 1344613"/>
              <a:gd name="connsiteX1022" fmla="*/ 598727 w 1317625"/>
              <a:gd name="connsiteY1022" fmla="*/ 530806 h 1344613"/>
              <a:gd name="connsiteX1023" fmla="*/ 595560 w 1317625"/>
              <a:gd name="connsiteY1023" fmla="*/ 534920 h 1344613"/>
              <a:gd name="connsiteX1024" fmla="*/ 593751 w 1317625"/>
              <a:gd name="connsiteY1024" fmla="*/ 537492 h 1344613"/>
              <a:gd name="connsiteX1025" fmla="*/ 591037 w 1317625"/>
              <a:gd name="connsiteY1025" fmla="*/ 540577 h 1344613"/>
              <a:gd name="connsiteX1026" fmla="*/ 589679 w 1317625"/>
              <a:gd name="connsiteY1026" fmla="*/ 544177 h 1344613"/>
              <a:gd name="connsiteX1027" fmla="*/ 589227 w 1317625"/>
              <a:gd name="connsiteY1027" fmla="*/ 546748 h 1344613"/>
              <a:gd name="connsiteX1028" fmla="*/ 588775 w 1317625"/>
              <a:gd name="connsiteY1028" fmla="*/ 549834 h 1344613"/>
              <a:gd name="connsiteX1029" fmla="*/ 588322 w 1317625"/>
              <a:gd name="connsiteY1029" fmla="*/ 553434 h 1344613"/>
              <a:gd name="connsiteX1030" fmla="*/ 588322 w 1317625"/>
              <a:gd name="connsiteY1030" fmla="*/ 558576 h 1344613"/>
              <a:gd name="connsiteX1031" fmla="*/ 573395 w 1317625"/>
              <a:gd name="connsiteY1031" fmla="*/ 587375 h 1344613"/>
              <a:gd name="connsiteX1032" fmla="*/ 567644 w 1317625"/>
              <a:gd name="connsiteY1032" fmla="*/ 582774 h 1344613"/>
              <a:gd name="connsiteX1033" fmla="*/ 567986 w 1317625"/>
              <a:gd name="connsiteY1033" fmla="*/ 583837 h 1344613"/>
              <a:gd name="connsiteX1034" fmla="*/ 569739 w 1317625"/>
              <a:gd name="connsiteY1034" fmla="*/ 587103 h 1344613"/>
              <a:gd name="connsiteX1035" fmla="*/ 570615 w 1317625"/>
              <a:gd name="connsiteY1035" fmla="*/ 588736 h 1344613"/>
              <a:gd name="connsiteX1036" fmla="*/ 571930 w 1317625"/>
              <a:gd name="connsiteY1036" fmla="*/ 590369 h 1344613"/>
              <a:gd name="connsiteX1037" fmla="*/ 572368 w 1317625"/>
              <a:gd name="connsiteY1037" fmla="*/ 592546 h 1344613"/>
              <a:gd name="connsiteX1038" fmla="*/ 572806 w 1317625"/>
              <a:gd name="connsiteY1038" fmla="*/ 594723 h 1344613"/>
              <a:gd name="connsiteX1039" fmla="*/ 574559 w 1317625"/>
              <a:gd name="connsiteY1039" fmla="*/ 595267 h 1344613"/>
              <a:gd name="connsiteX1040" fmla="*/ 577627 w 1317625"/>
              <a:gd name="connsiteY1040" fmla="*/ 595811 h 1344613"/>
              <a:gd name="connsiteX1041" fmla="*/ 578942 w 1317625"/>
              <a:gd name="connsiteY1041" fmla="*/ 596356 h 1344613"/>
              <a:gd name="connsiteX1042" fmla="*/ 580256 w 1317625"/>
              <a:gd name="connsiteY1042" fmla="*/ 596356 h 1344613"/>
              <a:gd name="connsiteX1043" fmla="*/ 582447 w 1317625"/>
              <a:gd name="connsiteY1043" fmla="*/ 595811 h 1344613"/>
              <a:gd name="connsiteX1044" fmla="*/ 584200 w 1317625"/>
              <a:gd name="connsiteY1044" fmla="*/ 594723 h 1344613"/>
              <a:gd name="connsiteX1045" fmla="*/ 584200 w 1317625"/>
              <a:gd name="connsiteY1045" fmla="*/ 611051 h 1344613"/>
              <a:gd name="connsiteX1046" fmla="*/ 582885 w 1317625"/>
              <a:gd name="connsiteY1046" fmla="*/ 611596 h 1344613"/>
              <a:gd name="connsiteX1047" fmla="*/ 580694 w 1317625"/>
              <a:gd name="connsiteY1047" fmla="*/ 612140 h 1344613"/>
              <a:gd name="connsiteX1048" fmla="*/ 578942 w 1317625"/>
              <a:gd name="connsiteY1048" fmla="*/ 612684 h 1344613"/>
              <a:gd name="connsiteX1049" fmla="*/ 577627 w 1317625"/>
              <a:gd name="connsiteY1049" fmla="*/ 614317 h 1344613"/>
              <a:gd name="connsiteX1050" fmla="*/ 573683 w 1317625"/>
              <a:gd name="connsiteY1050" fmla="*/ 617039 h 1344613"/>
              <a:gd name="connsiteX1051" fmla="*/ 570177 w 1317625"/>
              <a:gd name="connsiteY1051" fmla="*/ 620849 h 1344613"/>
              <a:gd name="connsiteX1052" fmla="*/ 567548 w 1317625"/>
              <a:gd name="connsiteY1052" fmla="*/ 624659 h 1344613"/>
              <a:gd name="connsiteX1053" fmla="*/ 564480 w 1317625"/>
              <a:gd name="connsiteY1053" fmla="*/ 628469 h 1344613"/>
              <a:gd name="connsiteX1054" fmla="*/ 562727 w 1317625"/>
              <a:gd name="connsiteY1054" fmla="*/ 631734 h 1344613"/>
              <a:gd name="connsiteX1055" fmla="*/ 560975 w 1317625"/>
              <a:gd name="connsiteY1055" fmla="*/ 635000 h 1344613"/>
              <a:gd name="connsiteX1056" fmla="*/ 552648 w 1317625"/>
              <a:gd name="connsiteY1056" fmla="*/ 630646 h 1344613"/>
              <a:gd name="connsiteX1057" fmla="*/ 544760 w 1317625"/>
              <a:gd name="connsiteY1057" fmla="*/ 626291 h 1344613"/>
              <a:gd name="connsiteX1058" fmla="*/ 537749 w 1317625"/>
              <a:gd name="connsiteY1058" fmla="*/ 621393 h 1344613"/>
              <a:gd name="connsiteX1059" fmla="*/ 530299 w 1317625"/>
              <a:gd name="connsiteY1059" fmla="*/ 616494 h 1344613"/>
              <a:gd name="connsiteX1060" fmla="*/ 523288 w 1317625"/>
              <a:gd name="connsiteY1060" fmla="*/ 611051 h 1344613"/>
              <a:gd name="connsiteX1061" fmla="*/ 515838 w 1317625"/>
              <a:gd name="connsiteY1061" fmla="*/ 606697 h 1344613"/>
              <a:gd name="connsiteX1062" fmla="*/ 508388 w 1317625"/>
              <a:gd name="connsiteY1062" fmla="*/ 601799 h 1344613"/>
              <a:gd name="connsiteX1063" fmla="*/ 500062 w 1317625"/>
              <a:gd name="connsiteY1063" fmla="*/ 597989 h 1344613"/>
              <a:gd name="connsiteX1064" fmla="*/ 500062 w 1317625"/>
              <a:gd name="connsiteY1064" fmla="*/ 584926 h 1344613"/>
              <a:gd name="connsiteX1065" fmla="*/ 503130 w 1317625"/>
              <a:gd name="connsiteY1065" fmla="*/ 581660 h 1344613"/>
              <a:gd name="connsiteX1066" fmla="*/ 507074 w 1317625"/>
              <a:gd name="connsiteY1066" fmla="*/ 580027 h 1344613"/>
              <a:gd name="connsiteX1067" fmla="*/ 512770 w 1317625"/>
              <a:gd name="connsiteY1067" fmla="*/ 578394 h 1344613"/>
              <a:gd name="connsiteX1068" fmla="*/ 517591 w 1317625"/>
              <a:gd name="connsiteY1068" fmla="*/ 577850 h 1344613"/>
              <a:gd name="connsiteX1069" fmla="*/ 526355 w 1317625"/>
              <a:gd name="connsiteY1069" fmla="*/ 578939 h 1344613"/>
              <a:gd name="connsiteX1070" fmla="*/ 540816 w 1317625"/>
              <a:gd name="connsiteY1070" fmla="*/ 580571 h 1344613"/>
              <a:gd name="connsiteX1071" fmla="*/ 548704 w 1317625"/>
              <a:gd name="connsiteY1071" fmla="*/ 581660 h 1344613"/>
              <a:gd name="connsiteX1072" fmla="*/ 556154 w 1317625"/>
              <a:gd name="connsiteY1072" fmla="*/ 581660 h 1344613"/>
              <a:gd name="connsiteX1073" fmla="*/ 562727 w 1317625"/>
              <a:gd name="connsiteY1073" fmla="*/ 581660 h 1344613"/>
              <a:gd name="connsiteX1074" fmla="*/ 565778 w 1317625"/>
              <a:gd name="connsiteY1074" fmla="*/ 581281 h 1344613"/>
              <a:gd name="connsiteX1075" fmla="*/ 561181 w 1317625"/>
              <a:gd name="connsiteY1075" fmla="*/ 577604 h 1344613"/>
              <a:gd name="connsiteX1076" fmla="*/ 555301 w 1317625"/>
              <a:gd name="connsiteY1076" fmla="*/ 577090 h 1344613"/>
              <a:gd name="connsiteX1077" fmla="*/ 542635 w 1317625"/>
              <a:gd name="connsiteY1077" fmla="*/ 575547 h 1344613"/>
              <a:gd name="connsiteX1078" fmla="*/ 534945 w 1317625"/>
              <a:gd name="connsiteY1078" fmla="*/ 574519 h 1344613"/>
              <a:gd name="connsiteX1079" fmla="*/ 528159 w 1317625"/>
              <a:gd name="connsiteY1079" fmla="*/ 573490 h 1344613"/>
              <a:gd name="connsiteX1080" fmla="*/ 522731 w 1317625"/>
              <a:gd name="connsiteY1080" fmla="*/ 572462 h 1344613"/>
              <a:gd name="connsiteX1081" fmla="*/ 521424 w 1317625"/>
              <a:gd name="connsiteY1081" fmla="*/ 572090 h 1344613"/>
              <a:gd name="connsiteX1082" fmla="*/ 520469 w 1317625"/>
              <a:gd name="connsiteY1082" fmla="*/ 569376 h 1344613"/>
              <a:gd name="connsiteX1083" fmla="*/ 520017 w 1317625"/>
              <a:gd name="connsiteY1083" fmla="*/ 565262 h 1344613"/>
              <a:gd name="connsiteX1084" fmla="*/ 520469 w 1317625"/>
              <a:gd name="connsiteY1084" fmla="*/ 562176 h 1344613"/>
              <a:gd name="connsiteX1085" fmla="*/ 521826 w 1317625"/>
              <a:gd name="connsiteY1085" fmla="*/ 559091 h 1344613"/>
              <a:gd name="connsiteX1086" fmla="*/ 523183 w 1317625"/>
              <a:gd name="connsiteY1086" fmla="*/ 556519 h 1344613"/>
              <a:gd name="connsiteX1087" fmla="*/ 524993 w 1317625"/>
              <a:gd name="connsiteY1087" fmla="*/ 553434 h 1344613"/>
              <a:gd name="connsiteX1088" fmla="*/ 526802 w 1317625"/>
              <a:gd name="connsiteY1088" fmla="*/ 549834 h 1344613"/>
              <a:gd name="connsiteX1089" fmla="*/ 528159 w 1317625"/>
              <a:gd name="connsiteY1089" fmla="*/ 545720 h 1344613"/>
              <a:gd name="connsiteX1090" fmla="*/ 528159 w 1317625"/>
              <a:gd name="connsiteY1090" fmla="*/ 543149 h 1344613"/>
              <a:gd name="connsiteX1091" fmla="*/ 528612 w 1317625"/>
              <a:gd name="connsiteY1091" fmla="*/ 540577 h 1344613"/>
              <a:gd name="connsiteX1092" fmla="*/ 529516 w 1317625"/>
              <a:gd name="connsiteY1092" fmla="*/ 538006 h 1344613"/>
              <a:gd name="connsiteX1093" fmla="*/ 530421 w 1317625"/>
              <a:gd name="connsiteY1093" fmla="*/ 535949 h 1344613"/>
              <a:gd name="connsiteX1094" fmla="*/ 531778 w 1317625"/>
              <a:gd name="connsiteY1094" fmla="*/ 533378 h 1344613"/>
              <a:gd name="connsiteX1095" fmla="*/ 533135 w 1317625"/>
              <a:gd name="connsiteY1095" fmla="*/ 531835 h 1344613"/>
              <a:gd name="connsiteX1096" fmla="*/ 534945 w 1317625"/>
              <a:gd name="connsiteY1096" fmla="*/ 530806 h 1344613"/>
              <a:gd name="connsiteX1097" fmla="*/ 537206 w 1317625"/>
              <a:gd name="connsiteY1097" fmla="*/ 530292 h 1344613"/>
              <a:gd name="connsiteX1098" fmla="*/ 537659 w 1317625"/>
              <a:gd name="connsiteY1098" fmla="*/ 533892 h 1344613"/>
              <a:gd name="connsiteX1099" fmla="*/ 537659 w 1317625"/>
              <a:gd name="connsiteY1099" fmla="*/ 536463 h 1344613"/>
              <a:gd name="connsiteX1100" fmla="*/ 538563 w 1317625"/>
              <a:gd name="connsiteY1100" fmla="*/ 539549 h 1344613"/>
              <a:gd name="connsiteX1101" fmla="*/ 539468 w 1317625"/>
              <a:gd name="connsiteY1101" fmla="*/ 542120 h 1344613"/>
              <a:gd name="connsiteX1102" fmla="*/ 540373 w 1317625"/>
              <a:gd name="connsiteY1102" fmla="*/ 544177 h 1344613"/>
              <a:gd name="connsiteX1103" fmla="*/ 542182 w 1317625"/>
              <a:gd name="connsiteY1103" fmla="*/ 546234 h 1344613"/>
              <a:gd name="connsiteX1104" fmla="*/ 543992 w 1317625"/>
              <a:gd name="connsiteY1104" fmla="*/ 547777 h 1344613"/>
              <a:gd name="connsiteX1105" fmla="*/ 545801 w 1317625"/>
              <a:gd name="connsiteY1105" fmla="*/ 548806 h 1344613"/>
              <a:gd name="connsiteX1106" fmla="*/ 558467 w 1317625"/>
              <a:gd name="connsiteY1106" fmla="*/ 548806 h 1344613"/>
              <a:gd name="connsiteX1107" fmla="*/ 558467 w 1317625"/>
              <a:gd name="connsiteY1107" fmla="*/ 536463 h 1344613"/>
              <a:gd name="connsiteX1108" fmla="*/ 554848 w 1317625"/>
              <a:gd name="connsiteY1108" fmla="*/ 535435 h 1344613"/>
              <a:gd name="connsiteX1109" fmla="*/ 552586 w 1317625"/>
              <a:gd name="connsiteY1109" fmla="*/ 533892 h 1344613"/>
              <a:gd name="connsiteX1110" fmla="*/ 550325 w 1317625"/>
              <a:gd name="connsiteY1110" fmla="*/ 532863 h 1344613"/>
              <a:gd name="connsiteX1111" fmla="*/ 548968 w 1317625"/>
              <a:gd name="connsiteY1111" fmla="*/ 531321 h 1344613"/>
              <a:gd name="connsiteX1112" fmla="*/ 547610 w 1317625"/>
              <a:gd name="connsiteY1112" fmla="*/ 529778 h 1344613"/>
              <a:gd name="connsiteX1113" fmla="*/ 547158 w 1317625"/>
              <a:gd name="connsiteY1113" fmla="*/ 528235 h 1344613"/>
              <a:gd name="connsiteX1114" fmla="*/ 546706 w 1317625"/>
              <a:gd name="connsiteY1114" fmla="*/ 526178 h 1344613"/>
              <a:gd name="connsiteX1115" fmla="*/ 545801 w 1317625"/>
              <a:gd name="connsiteY1115" fmla="*/ 523607 h 1344613"/>
              <a:gd name="connsiteX1116" fmla="*/ 550777 w 1317625"/>
              <a:gd name="connsiteY1116" fmla="*/ 523092 h 1344613"/>
              <a:gd name="connsiteX1117" fmla="*/ 554848 w 1317625"/>
              <a:gd name="connsiteY1117" fmla="*/ 522578 h 1344613"/>
              <a:gd name="connsiteX1118" fmla="*/ 558467 w 1317625"/>
              <a:gd name="connsiteY1118" fmla="*/ 521550 h 1344613"/>
              <a:gd name="connsiteX1119" fmla="*/ 560729 w 1317625"/>
              <a:gd name="connsiteY1119" fmla="*/ 520521 h 1344613"/>
              <a:gd name="connsiteX1120" fmla="*/ 563443 w 1317625"/>
              <a:gd name="connsiteY1120" fmla="*/ 519493 h 1344613"/>
              <a:gd name="connsiteX1121" fmla="*/ 565705 w 1317625"/>
              <a:gd name="connsiteY1121" fmla="*/ 518464 h 1344613"/>
              <a:gd name="connsiteX1122" fmla="*/ 569324 w 1317625"/>
              <a:gd name="connsiteY1122" fmla="*/ 517436 h 1344613"/>
              <a:gd name="connsiteX1123" fmla="*/ 573395 w 1317625"/>
              <a:gd name="connsiteY1123" fmla="*/ 517436 h 1344613"/>
              <a:gd name="connsiteX1124" fmla="*/ 577918 w 1317625"/>
              <a:gd name="connsiteY1124" fmla="*/ 515893 h 1344613"/>
              <a:gd name="connsiteX1125" fmla="*/ 956117 w 1317625"/>
              <a:gd name="connsiteY1125" fmla="*/ 500559 h 1344613"/>
              <a:gd name="connsiteX1126" fmla="*/ 952709 w 1317625"/>
              <a:gd name="connsiteY1126" fmla="*/ 502992 h 1344613"/>
              <a:gd name="connsiteX1127" fmla="*/ 949330 w 1317625"/>
              <a:gd name="connsiteY1127" fmla="*/ 505706 h 1344613"/>
              <a:gd name="connsiteX1128" fmla="*/ 948063 w 1317625"/>
              <a:gd name="connsiteY1128" fmla="*/ 507335 h 1344613"/>
              <a:gd name="connsiteX1129" fmla="*/ 946796 w 1317625"/>
              <a:gd name="connsiteY1129" fmla="*/ 508963 h 1344613"/>
              <a:gd name="connsiteX1130" fmla="*/ 946312 w 1317625"/>
              <a:gd name="connsiteY1130" fmla="*/ 509585 h 1344613"/>
              <a:gd name="connsiteX1131" fmla="*/ 949674 w 1317625"/>
              <a:gd name="connsiteY1131" fmla="*/ 513419 h 1344613"/>
              <a:gd name="connsiteX1132" fmla="*/ 948800 w 1317625"/>
              <a:gd name="connsiteY1132" fmla="*/ 519188 h 1344613"/>
              <a:gd name="connsiteX1133" fmla="*/ 947052 w 1317625"/>
              <a:gd name="connsiteY1133" fmla="*/ 525482 h 1344613"/>
              <a:gd name="connsiteX1134" fmla="*/ 945305 w 1317625"/>
              <a:gd name="connsiteY1134" fmla="*/ 531251 h 1344613"/>
              <a:gd name="connsiteX1135" fmla="*/ 943994 w 1317625"/>
              <a:gd name="connsiteY1135" fmla="*/ 535971 h 1344613"/>
              <a:gd name="connsiteX1136" fmla="*/ 941372 w 1317625"/>
              <a:gd name="connsiteY1136" fmla="*/ 540692 h 1344613"/>
              <a:gd name="connsiteX1137" fmla="*/ 939624 w 1317625"/>
              <a:gd name="connsiteY1137" fmla="*/ 544363 h 1344613"/>
              <a:gd name="connsiteX1138" fmla="*/ 937439 w 1317625"/>
              <a:gd name="connsiteY1138" fmla="*/ 546986 h 1344613"/>
              <a:gd name="connsiteX1139" fmla="*/ 935255 w 1317625"/>
              <a:gd name="connsiteY1139" fmla="*/ 548559 h 1344613"/>
              <a:gd name="connsiteX1140" fmla="*/ 937002 w 1317625"/>
              <a:gd name="connsiteY1140" fmla="*/ 556951 h 1344613"/>
              <a:gd name="connsiteX1141" fmla="*/ 937810 w 1317625"/>
              <a:gd name="connsiteY1141" fmla="*/ 559373 h 1344613"/>
              <a:gd name="connsiteX1142" fmla="*/ 937057 w 1317625"/>
              <a:gd name="connsiteY1142" fmla="*/ 556214 h 1344613"/>
              <a:gd name="connsiteX1143" fmla="*/ 936625 w 1317625"/>
              <a:gd name="connsiteY1143" fmla="*/ 552068 h 1344613"/>
              <a:gd name="connsiteX1144" fmla="*/ 936625 w 1317625"/>
              <a:gd name="connsiteY1144" fmla="*/ 548441 h 1344613"/>
              <a:gd name="connsiteX1145" fmla="*/ 938786 w 1317625"/>
              <a:gd name="connsiteY1145" fmla="*/ 546886 h 1344613"/>
              <a:gd name="connsiteX1146" fmla="*/ 940946 w 1317625"/>
              <a:gd name="connsiteY1146" fmla="*/ 544294 h 1344613"/>
              <a:gd name="connsiteX1147" fmla="*/ 942674 w 1317625"/>
              <a:gd name="connsiteY1147" fmla="*/ 540667 h 1344613"/>
              <a:gd name="connsiteX1148" fmla="*/ 945266 w 1317625"/>
              <a:gd name="connsiteY1148" fmla="*/ 536002 h 1344613"/>
              <a:gd name="connsiteX1149" fmla="*/ 946563 w 1317625"/>
              <a:gd name="connsiteY1149" fmla="*/ 531338 h 1344613"/>
              <a:gd name="connsiteX1150" fmla="*/ 948291 w 1317625"/>
              <a:gd name="connsiteY1150" fmla="*/ 525637 h 1344613"/>
              <a:gd name="connsiteX1151" fmla="*/ 950019 w 1317625"/>
              <a:gd name="connsiteY1151" fmla="*/ 519418 h 1344613"/>
              <a:gd name="connsiteX1152" fmla="*/ 950883 w 1317625"/>
              <a:gd name="connsiteY1152" fmla="*/ 513717 h 1344613"/>
              <a:gd name="connsiteX1153" fmla="*/ 954340 w 1317625"/>
              <a:gd name="connsiteY1153" fmla="*/ 504389 h 1344613"/>
              <a:gd name="connsiteX1154" fmla="*/ 955636 w 1317625"/>
              <a:gd name="connsiteY1154" fmla="*/ 501279 h 1344613"/>
              <a:gd name="connsiteX1155" fmla="*/ 896937 w 1317625"/>
              <a:gd name="connsiteY1155" fmla="*/ 474405 h 1344613"/>
              <a:gd name="connsiteX1156" fmla="*/ 896937 w 1317625"/>
              <a:gd name="connsiteY1156" fmla="*/ 490536 h 1344613"/>
              <a:gd name="connsiteX1157" fmla="*/ 917758 w 1317625"/>
              <a:gd name="connsiteY1157" fmla="*/ 492279 h 1344613"/>
              <a:gd name="connsiteX1158" fmla="*/ 900342 w 1317625"/>
              <a:gd name="connsiteY1158" fmla="*/ 488879 h 1344613"/>
              <a:gd name="connsiteX1159" fmla="*/ 631825 w 1317625"/>
              <a:gd name="connsiteY1159" fmla="*/ 462712 h 1344613"/>
              <a:gd name="connsiteX1160" fmla="*/ 630912 w 1317625"/>
              <a:gd name="connsiteY1160" fmla="*/ 463079 h 1344613"/>
              <a:gd name="connsiteX1161" fmla="*/ 629603 w 1317625"/>
              <a:gd name="connsiteY1161" fmla="*/ 463604 h 1344613"/>
              <a:gd name="connsiteX1162" fmla="*/ 628651 w 1317625"/>
              <a:gd name="connsiteY1162" fmla="*/ 463604 h 1344613"/>
              <a:gd name="connsiteX1163" fmla="*/ 631825 w 1317625"/>
              <a:gd name="connsiteY1163" fmla="*/ 465012 h 1344613"/>
              <a:gd name="connsiteX1164" fmla="*/ 970164 w 1317625"/>
              <a:gd name="connsiteY1164" fmla="*/ 441473 h 1344613"/>
              <a:gd name="connsiteX1165" fmla="*/ 970446 w 1317625"/>
              <a:gd name="connsiteY1165" fmla="*/ 442196 h 1344613"/>
              <a:gd name="connsiteX1166" fmla="*/ 971713 w 1317625"/>
              <a:gd name="connsiteY1166" fmla="*/ 442739 h 1344613"/>
              <a:gd name="connsiteX1167" fmla="*/ 972980 w 1317625"/>
              <a:gd name="connsiteY1167" fmla="*/ 443281 h 1344613"/>
              <a:gd name="connsiteX1168" fmla="*/ 976780 w 1317625"/>
              <a:gd name="connsiteY1168" fmla="*/ 443281 h 1344613"/>
              <a:gd name="connsiteX1169" fmla="*/ 981214 w 1317625"/>
              <a:gd name="connsiteY1169" fmla="*/ 443281 h 1344613"/>
              <a:gd name="connsiteX1170" fmla="*/ 978097 w 1317625"/>
              <a:gd name="connsiteY1170" fmla="*/ 442506 h 1344613"/>
              <a:gd name="connsiteX1171" fmla="*/ 974596 w 1317625"/>
              <a:gd name="connsiteY1171" fmla="*/ 441473 h 1344613"/>
              <a:gd name="connsiteX1172" fmla="*/ 769937 w 1317625"/>
              <a:gd name="connsiteY1172" fmla="*/ 398463 h 1344613"/>
              <a:gd name="connsiteX1173" fmla="*/ 784225 w 1317625"/>
              <a:gd name="connsiteY1173" fmla="*/ 398463 h 1344613"/>
              <a:gd name="connsiteX1174" fmla="*/ 781164 w 1317625"/>
              <a:gd name="connsiteY1174" fmla="*/ 410989 h 1344613"/>
              <a:gd name="connsiteX1175" fmla="*/ 778612 w 1317625"/>
              <a:gd name="connsiteY1175" fmla="*/ 421949 h 1344613"/>
              <a:gd name="connsiteX1176" fmla="*/ 776061 w 1317625"/>
              <a:gd name="connsiteY1176" fmla="*/ 432127 h 1344613"/>
              <a:gd name="connsiteX1177" fmla="*/ 773509 w 1317625"/>
              <a:gd name="connsiteY1177" fmla="*/ 441521 h 1344613"/>
              <a:gd name="connsiteX1178" fmla="*/ 769937 w 1317625"/>
              <a:gd name="connsiteY1178" fmla="*/ 455613 h 1344613"/>
              <a:gd name="connsiteX1179" fmla="*/ 770958 w 1317625"/>
              <a:gd name="connsiteY1179" fmla="*/ 435258 h 1344613"/>
              <a:gd name="connsiteX1180" fmla="*/ 772999 w 1317625"/>
              <a:gd name="connsiteY1180" fmla="*/ 420384 h 1344613"/>
              <a:gd name="connsiteX1181" fmla="*/ 773509 w 1317625"/>
              <a:gd name="connsiteY1181" fmla="*/ 414121 h 1344613"/>
              <a:gd name="connsiteX1182" fmla="*/ 772999 w 1317625"/>
              <a:gd name="connsiteY1182" fmla="*/ 408640 h 1344613"/>
              <a:gd name="connsiteX1183" fmla="*/ 771978 w 1317625"/>
              <a:gd name="connsiteY1183" fmla="*/ 403943 h 1344613"/>
              <a:gd name="connsiteX1184" fmla="*/ 291544 w 1317625"/>
              <a:gd name="connsiteY1184" fmla="*/ 393699 h 1344613"/>
              <a:gd name="connsiteX1185" fmla="*/ 294987 w 1317625"/>
              <a:gd name="connsiteY1185" fmla="*/ 394228 h 1344613"/>
              <a:gd name="connsiteX1186" fmla="*/ 299291 w 1317625"/>
              <a:gd name="connsiteY1186" fmla="*/ 395287 h 1344613"/>
              <a:gd name="connsiteX1187" fmla="*/ 302304 w 1317625"/>
              <a:gd name="connsiteY1187" fmla="*/ 404282 h 1344613"/>
              <a:gd name="connsiteX1188" fmla="*/ 305747 w 1317625"/>
              <a:gd name="connsiteY1188" fmla="*/ 411691 h 1344613"/>
              <a:gd name="connsiteX1189" fmla="*/ 306177 w 1317625"/>
              <a:gd name="connsiteY1189" fmla="*/ 413807 h 1344613"/>
              <a:gd name="connsiteX1190" fmla="*/ 306608 w 1317625"/>
              <a:gd name="connsiteY1190" fmla="*/ 415395 h 1344613"/>
              <a:gd name="connsiteX1191" fmla="*/ 306608 w 1317625"/>
              <a:gd name="connsiteY1191" fmla="*/ 416982 h 1344613"/>
              <a:gd name="connsiteX1192" fmla="*/ 306608 w 1317625"/>
              <a:gd name="connsiteY1192" fmla="*/ 418570 h 1344613"/>
              <a:gd name="connsiteX1193" fmla="*/ 306177 w 1317625"/>
              <a:gd name="connsiteY1193" fmla="*/ 420157 h 1344613"/>
              <a:gd name="connsiteX1194" fmla="*/ 305317 w 1317625"/>
              <a:gd name="connsiteY1194" fmla="*/ 421216 h 1344613"/>
              <a:gd name="connsiteX1195" fmla="*/ 304025 w 1317625"/>
              <a:gd name="connsiteY1195" fmla="*/ 423332 h 1344613"/>
              <a:gd name="connsiteX1196" fmla="*/ 301873 w 1317625"/>
              <a:gd name="connsiteY1196" fmla="*/ 424391 h 1344613"/>
              <a:gd name="connsiteX1197" fmla="*/ 304886 w 1317625"/>
              <a:gd name="connsiteY1197" fmla="*/ 424391 h 1344613"/>
              <a:gd name="connsiteX1198" fmla="*/ 303595 w 1317625"/>
              <a:gd name="connsiteY1198" fmla="*/ 427037 h 1344613"/>
              <a:gd name="connsiteX1199" fmla="*/ 301873 w 1317625"/>
              <a:gd name="connsiteY1199" fmla="*/ 429153 h 1344613"/>
              <a:gd name="connsiteX1200" fmla="*/ 300582 w 1317625"/>
              <a:gd name="connsiteY1200" fmla="*/ 431270 h 1344613"/>
              <a:gd name="connsiteX1201" fmla="*/ 298861 w 1317625"/>
              <a:gd name="connsiteY1201" fmla="*/ 433387 h 1344613"/>
              <a:gd name="connsiteX1202" fmla="*/ 296709 w 1317625"/>
              <a:gd name="connsiteY1202" fmla="*/ 434974 h 1344613"/>
              <a:gd name="connsiteX1203" fmla="*/ 294987 w 1317625"/>
              <a:gd name="connsiteY1203" fmla="*/ 436033 h 1344613"/>
              <a:gd name="connsiteX1204" fmla="*/ 292405 w 1317625"/>
              <a:gd name="connsiteY1204" fmla="*/ 437091 h 1344613"/>
              <a:gd name="connsiteX1205" fmla="*/ 290683 w 1317625"/>
              <a:gd name="connsiteY1205" fmla="*/ 437091 h 1344613"/>
              <a:gd name="connsiteX1206" fmla="*/ 290683 w 1317625"/>
              <a:gd name="connsiteY1206" fmla="*/ 439208 h 1344613"/>
              <a:gd name="connsiteX1207" fmla="*/ 291544 w 1317625"/>
              <a:gd name="connsiteY1207" fmla="*/ 441324 h 1344613"/>
              <a:gd name="connsiteX1208" fmla="*/ 292405 w 1317625"/>
              <a:gd name="connsiteY1208" fmla="*/ 442912 h 1344613"/>
              <a:gd name="connsiteX1209" fmla="*/ 294126 w 1317625"/>
              <a:gd name="connsiteY1209" fmla="*/ 444499 h 1344613"/>
              <a:gd name="connsiteX1210" fmla="*/ 295418 w 1317625"/>
              <a:gd name="connsiteY1210" fmla="*/ 446087 h 1344613"/>
              <a:gd name="connsiteX1211" fmla="*/ 297139 w 1317625"/>
              <a:gd name="connsiteY1211" fmla="*/ 447145 h 1344613"/>
              <a:gd name="connsiteX1212" fmla="*/ 299291 w 1317625"/>
              <a:gd name="connsiteY1212" fmla="*/ 447674 h 1344613"/>
              <a:gd name="connsiteX1213" fmla="*/ 301443 w 1317625"/>
              <a:gd name="connsiteY1213" fmla="*/ 448203 h 1344613"/>
              <a:gd name="connsiteX1214" fmla="*/ 306177 w 1317625"/>
              <a:gd name="connsiteY1214" fmla="*/ 449262 h 1344613"/>
              <a:gd name="connsiteX1215" fmla="*/ 310912 w 1317625"/>
              <a:gd name="connsiteY1215" fmla="*/ 449791 h 1344613"/>
              <a:gd name="connsiteX1216" fmla="*/ 315216 w 1317625"/>
              <a:gd name="connsiteY1216" fmla="*/ 449791 h 1344613"/>
              <a:gd name="connsiteX1217" fmla="*/ 319089 w 1317625"/>
              <a:gd name="connsiteY1217" fmla="*/ 449791 h 1344613"/>
              <a:gd name="connsiteX1218" fmla="*/ 319089 w 1317625"/>
              <a:gd name="connsiteY1218" fmla="*/ 459316 h 1344613"/>
              <a:gd name="connsiteX1219" fmla="*/ 319089 w 1317625"/>
              <a:gd name="connsiteY1219" fmla="*/ 466724 h 1344613"/>
              <a:gd name="connsiteX1220" fmla="*/ 319089 w 1317625"/>
              <a:gd name="connsiteY1220" fmla="*/ 474133 h 1344613"/>
              <a:gd name="connsiteX1221" fmla="*/ 319089 w 1317625"/>
              <a:gd name="connsiteY1221" fmla="*/ 483129 h 1344613"/>
              <a:gd name="connsiteX1222" fmla="*/ 319089 w 1317625"/>
              <a:gd name="connsiteY1222" fmla="*/ 484716 h 1344613"/>
              <a:gd name="connsiteX1223" fmla="*/ 318659 w 1317625"/>
              <a:gd name="connsiteY1223" fmla="*/ 486833 h 1344613"/>
              <a:gd name="connsiteX1224" fmla="*/ 317798 w 1317625"/>
              <a:gd name="connsiteY1224" fmla="*/ 488420 h 1344613"/>
              <a:gd name="connsiteX1225" fmla="*/ 316937 w 1317625"/>
              <a:gd name="connsiteY1225" fmla="*/ 490008 h 1344613"/>
              <a:gd name="connsiteX1226" fmla="*/ 314785 w 1317625"/>
              <a:gd name="connsiteY1226" fmla="*/ 492654 h 1344613"/>
              <a:gd name="connsiteX1227" fmla="*/ 311772 w 1317625"/>
              <a:gd name="connsiteY1227" fmla="*/ 495829 h 1344613"/>
              <a:gd name="connsiteX1228" fmla="*/ 309621 w 1317625"/>
              <a:gd name="connsiteY1228" fmla="*/ 499004 h 1344613"/>
              <a:gd name="connsiteX1229" fmla="*/ 307038 w 1317625"/>
              <a:gd name="connsiteY1229" fmla="*/ 502179 h 1344613"/>
              <a:gd name="connsiteX1230" fmla="*/ 306177 w 1317625"/>
              <a:gd name="connsiteY1230" fmla="*/ 503766 h 1344613"/>
              <a:gd name="connsiteX1231" fmla="*/ 305317 w 1317625"/>
              <a:gd name="connsiteY1231" fmla="*/ 505354 h 1344613"/>
              <a:gd name="connsiteX1232" fmla="*/ 304886 w 1317625"/>
              <a:gd name="connsiteY1232" fmla="*/ 506941 h 1344613"/>
              <a:gd name="connsiteX1233" fmla="*/ 304886 w 1317625"/>
              <a:gd name="connsiteY1233" fmla="*/ 508529 h 1344613"/>
              <a:gd name="connsiteX1234" fmla="*/ 301443 w 1317625"/>
              <a:gd name="connsiteY1234" fmla="*/ 509058 h 1344613"/>
              <a:gd name="connsiteX1235" fmla="*/ 299291 w 1317625"/>
              <a:gd name="connsiteY1235" fmla="*/ 509058 h 1344613"/>
              <a:gd name="connsiteX1236" fmla="*/ 296278 w 1317625"/>
              <a:gd name="connsiteY1236" fmla="*/ 510116 h 1344613"/>
              <a:gd name="connsiteX1237" fmla="*/ 294557 w 1317625"/>
              <a:gd name="connsiteY1237" fmla="*/ 511704 h 1344613"/>
              <a:gd name="connsiteX1238" fmla="*/ 292835 w 1317625"/>
              <a:gd name="connsiteY1238" fmla="*/ 512762 h 1344613"/>
              <a:gd name="connsiteX1239" fmla="*/ 291544 w 1317625"/>
              <a:gd name="connsiteY1239" fmla="*/ 514879 h 1344613"/>
              <a:gd name="connsiteX1240" fmla="*/ 290683 w 1317625"/>
              <a:gd name="connsiteY1240" fmla="*/ 516466 h 1344613"/>
              <a:gd name="connsiteX1241" fmla="*/ 290683 w 1317625"/>
              <a:gd name="connsiteY1241" fmla="*/ 518583 h 1344613"/>
              <a:gd name="connsiteX1242" fmla="*/ 287240 w 1317625"/>
              <a:gd name="connsiteY1242" fmla="*/ 519112 h 1344613"/>
              <a:gd name="connsiteX1243" fmla="*/ 285088 w 1317625"/>
              <a:gd name="connsiteY1243" fmla="*/ 520170 h 1344613"/>
              <a:gd name="connsiteX1244" fmla="*/ 282506 w 1317625"/>
              <a:gd name="connsiteY1244" fmla="*/ 521758 h 1344613"/>
              <a:gd name="connsiteX1245" fmla="*/ 280784 w 1317625"/>
              <a:gd name="connsiteY1245" fmla="*/ 523875 h 1344613"/>
              <a:gd name="connsiteX1246" fmla="*/ 278632 w 1317625"/>
              <a:gd name="connsiteY1246" fmla="*/ 525462 h 1344613"/>
              <a:gd name="connsiteX1247" fmla="*/ 277341 w 1317625"/>
              <a:gd name="connsiteY1247" fmla="*/ 527050 h 1344613"/>
              <a:gd name="connsiteX1248" fmla="*/ 275620 w 1317625"/>
              <a:gd name="connsiteY1248" fmla="*/ 528108 h 1344613"/>
              <a:gd name="connsiteX1249" fmla="*/ 273037 w 1317625"/>
              <a:gd name="connsiteY1249" fmla="*/ 528637 h 1344613"/>
              <a:gd name="connsiteX1250" fmla="*/ 265721 w 1317625"/>
              <a:gd name="connsiteY1250" fmla="*/ 528637 h 1344613"/>
              <a:gd name="connsiteX1251" fmla="*/ 258834 w 1317625"/>
              <a:gd name="connsiteY1251" fmla="*/ 529695 h 1344613"/>
              <a:gd name="connsiteX1252" fmla="*/ 253239 w 1317625"/>
              <a:gd name="connsiteY1252" fmla="*/ 530754 h 1344613"/>
              <a:gd name="connsiteX1253" fmla="*/ 248075 w 1317625"/>
              <a:gd name="connsiteY1253" fmla="*/ 531812 h 1344613"/>
              <a:gd name="connsiteX1254" fmla="*/ 238606 w 1317625"/>
              <a:gd name="connsiteY1254" fmla="*/ 534987 h 1344613"/>
              <a:gd name="connsiteX1255" fmla="*/ 227846 w 1317625"/>
              <a:gd name="connsiteY1255" fmla="*/ 538162 h 1344613"/>
              <a:gd name="connsiteX1256" fmla="*/ 230429 w 1317625"/>
              <a:gd name="connsiteY1256" fmla="*/ 531812 h 1344613"/>
              <a:gd name="connsiteX1257" fmla="*/ 226555 w 1317625"/>
              <a:gd name="connsiteY1257" fmla="*/ 531812 h 1344613"/>
              <a:gd name="connsiteX1258" fmla="*/ 222251 w 1317625"/>
              <a:gd name="connsiteY1258" fmla="*/ 531812 h 1344613"/>
              <a:gd name="connsiteX1259" fmla="*/ 222251 w 1317625"/>
              <a:gd name="connsiteY1259" fmla="*/ 508529 h 1344613"/>
              <a:gd name="connsiteX1260" fmla="*/ 225694 w 1317625"/>
              <a:gd name="connsiteY1260" fmla="*/ 507999 h 1344613"/>
              <a:gd name="connsiteX1261" fmla="*/ 229568 w 1317625"/>
              <a:gd name="connsiteY1261" fmla="*/ 506941 h 1344613"/>
              <a:gd name="connsiteX1262" fmla="*/ 231289 w 1317625"/>
              <a:gd name="connsiteY1262" fmla="*/ 505883 h 1344613"/>
              <a:gd name="connsiteX1263" fmla="*/ 232581 w 1317625"/>
              <a:gd name="connsiteY1263" fmla="*/ 504824 h 1344613"/>
              <a:gd name="connsiteX1264" fmla="*/ 233011 w 1317625"/>
              <a:gd name="connsiteY1264" fmla="*/ 503766 h 1344613"/>
              <a:gd name="connsiteX1265" fmla="*/ 233441 w 1317625"/>
              <a:gd name="connsiteY1265" fmla="*/ 502179 h 1344613"/>
              <a:gd name="connsiteX1266" fmla="*/ 239467 w 1317625"/>
              <a:gd name="connsiteY1266" fmla="*/ 502179 h 1344613"/>
              <a:gd name="connsiteX1267" fmla="*/ 245492 w 1317625"/>
              <a:gd name="connsiteY1267" fmla="*/ 501649 h 1344613"/>
              <a:gd name="connsiteX1268" fmla="*/ 248075 w 1317625"/>
              <a:gd name="connsiteY1268" fmla="*/ 500591 h 1344613"/>
              <a:gd name="connsiteX1269" fmla="*/ 249796 w 1317625"/>
              <a:gd name="connsiteY1269" fmla="*/ 499533 h 1344613"/>
              <a:gd name="connsiteX1270" fmla="*/ 251948 w 1317625"/>
              <a:gd name="connsiteY1270" fmla="*/ 497945 h 1344613"/>
              <a:gd name="connsiteX1271" fmla="*/ 253239 w 1317625"/>
              <a:gd name="connsiteY1271" fmla="*/ 495829 h 1344613"/>
              <a:gd name="connsiteX1272" fmla="*/ 249796 w 1317625"/>
              <a:gd name="connsiteY1272" fmla="*/ 496887 h 1344613"/>
              <a:gd name="connsiteX1273" fmla="*/ 245492 w 1317625"/>
              <a:gd name="connsiteY1273" fmla="*/ 498474 h 1344613"/>
              <a:gd name="connsiteX1274" fmla="*/ 242910 w 1317625"/>
              <a:gd name="connsiteY1274" fmla="*/ 498474 h 1344613"/>
              <a:gd name="connsiteX1275" fmla="*/ 241188 w 1317625"/>
              <a:gd name="connsiteY1275" fmla="*/ 498474 h 1344613"/>
              <a:gd name="connsiteX1276" fmla="*/ 239897 w 1317625"/>
              <a:gd name="connsiteY1276" fmla="*/ 498474 h 1344613"/>
              <a:gd name="connsiteX1277" fmla="*/ 239467 w 1317625"/>
              <a:gd name="connsiteY1277" fmla="*/ 497945 h 1344613"/>
              <a:gd name="connsiteX1278" fmla="*/ 239036 w 1317625"/>
              <a:gd name="connsiteY1278" fmla="*/ 496887 h 1344613"/>
              <a:gd name="connsiteX1279" fmla="*/ 239036 w 1317625"/>
              <a:gd name="connsiteY1279" fmla="*/ 495829 h 1344613"/>
              <a:gd name="connsiteX1280" fmla="*/ 239036 w 1317625"/>
              <a:gd name="connsiteY1280" fmla="*/ 493183 h 1344613"/>
              <a:gd name="connsiteX1281" fmla="*/ 239897 w 1317625"/>
              <a:gd name="connsiteY1281" fmla="*/ 490537 h 1344613"/>
              <a:gd name="connsiteX1282" fmla="*/ 241188 w 1317625"/>
              <a:gd name="connsiteY1282" fmla="*/ 487891 h 1344613"/>
              <a:gd name="connsiteX1283" fmla="*/ 242049 w 1317625"/>
              <a:gd name="connsiteY1283" fmla="*/ 485245 h 1344613"/>
              <a:gd name="connsiteX1284" fmla="*/ 243771 w 1317625"/>
              <a:gd name="connsiteY1284" fmla="*/ 481541 h 1344613"/>
              <a:gd name="connsiteX1285" fmla="*/ 244631 w 1317625"/>
              <a:gd name="connsiteY1285" fmla="*/ 479424 h 1344613"/>
              <a:gd name="connsiteX1286" fmla="*/ 239036 w 1317625"/>
              <a:gd name="connsiteY1286" fmla="*/ 478366 h 1344613"/>
              <a:gd name="connsiteX1287" fmla="*/ 234302 w 1317625"/>
              <a:gd name="connsiteY1287" fmla="*/ 476779 h 1344613"/>
              <a:gd name="connsiteX1288" fmla="*/ 231289 w 1317625"/>
              <a:gd name="connsiteY1288" fmla="*/ 475191 h 1344613"/>
              <a:gd name="connsiteX1289" fmla="*/ 228277 w 1317625"/>
              <a:gd name="connsiteY1289" fmla="*/ 473074 h 1344613"/>
              <a:gd name="connsiteX1290" fmla="*/ 226555 w 1317625"/>
              <a:gd name="connsiteY1290" fmla="*/ 470428 h 1344613"/>
              <a:gd name="connsiteX1291" fmla="*/ 225264 w 1317625"/>
              <a:gd name="connsiteY1291" fmla="*/ 466724 h 1344613"/>
              <a:gd name="connsiteX1292" fmla="*/ 224833 w 1317625"/>
              <a:gd name="connsiteY1292" fmla="*/ 462491 h 1344613"/>
              <a:gd name="connsiteX1293" fmla="*/ 224833 w 1317625"/>
              <a:gd name="connsiteY1293" fmla="*/ 457199 h 1344613"/>
              <a:gd name="connsiteX1294" fmla="*/ 228707 w 1317625"/>
              <a:gd name="connsiteY1294" fmla="*/ 455612 h 1344613"/>
              <a:gd name="connsiteX1295" fmla="*/ 231720 w 1317625"/>
              <a:gd name="connsiteY1295" fmla="*/ 454553 h 1344613"/>
              <a:gd name="connsiteX1296" fmla="*/ 233441 w 1317625"/>
              <a:gd name="connsiteY1296" fmla="*/ 452966 h 1344613"/>
              <a:gd name="connsiteX1297" fmla="*/ 235163 w 1317625"/>
              <a:gd name="connsiteY1297" fmla="*/ 451378 h 1344613"/>
              <a:gd name="connsiteX1298" fmla="*/ 237315 w 1317625"/>
              <a:gd name="connsiteY1298" fmla="*/ 447674 h 1344613"/>
              <a:gd name="connsiteX1299" fmla="*/ 239036 w 1317625"/>
              <a:gd name="connsiteY1299" fmla="*/ 443441 h 1344613"/>
              <a:gd name="connsiteX1300" fmla="*/ 246353 w 1317625"/>
              <a:gd name="connsiteY1300" fmla="*/ 443441 h 1344613"/>
              <a:gd name="connsiteX1301" fmla="*/ 251518 w 1317625"/>
              <a:gd name="connsiteY1301" fmla="*/ 443441 h 1344613"/>
              <a:gd name="connsiteX1302" fmla="*/ 255391 w 1317625"/>
              <a:gd name="connsiteY1302" fmla="*/ 443441 h 1344613"/>
              <a:gd name="connsiteX1303" fmla="*/ 258834 w 1317625"/>
              <a:gd name="connsiteY1303" fmla="*/ 443441 h 1344613"/>
              <a:gd name="connsiteX1304" fmla="*/ 260986 w 1317625"/>
              <a:gd name="connsiteY1304" fmla="*/ 443441 h 1344613"/>
              <a:gd name="connsiteX1305" fmla="*/ 262708 w 1317625"/>
              <a:gd name="connsiteY1305" fmla="*/ 442912 h 1344613"/>
              <a:gd name="connsiteX1306" fmla="*/ 263999 w 1317625"/>
              <a:gd name="connsiteY1306" fmla="*/ 441853 h 1344613"/>
              <a:gd name="connsiteX1307" fmla="*/ 265290 w 1317625"/>
              <a:gd name="connsiteY1307" fmla="*/ 440266 h 1344613"/>
              <a:gd name="connsiteX1308" fmla="*/ 267012 w 1317625"/>
              <a:gd name="connsiteY1308" fmla="*/ 437091 h 1344613"/>
              <a:gd name="connsiteX1309" fmla="*/ 267873 w 1317625"/>
              <a:gd name="connsiteY1309" fmla="*/ 432328 h 1344613"/>
              <a:gd name="connsiteX1310" fmla="*/ 268733 w 1317625"/>
              <a:gd name="connsiteY1310" fmla="*/ 421216 h 1344613"/>
              <a:gd name="connsiteX1311" fmla="*/ 270455 w 1317625"/>
              <a:gd name="connsiteY1311" fmla="*/ 411162 h 1344613"/>
              <a:gd name="connsiteX1312" fmla="*/ 272607 w 1317625"/>
              <a:gd name="connsiteY1312" fmla="*/ 410632 h 1344613"/>
              <a:gd name="connsiteX1313" fmla="*/ 273898 w 1317625"/>
              <a:gd name="connsiteY1313" fmla="*/ 410103 h 1344613"/>
              <a:gd name="connsiteX1314" fmla="*/ 275620 w 1317625"/>
              <a:gd name="connsiteY1314" fmla="*/ 409045 h 1344613"/>
              <a:gd name="connsiteX1315" fmla="*/ 276480 w 1317625"/>
              <a:gd name="connsiteY1315" fmla="*/ 407457 h 1344613"/>
              <a:gd name="connsiteX1316" fmla="*/ 278202 w 1317625"/>
              <a:gd name="connsiteY1316" fmla="*/ 404282 h 1344613"/>
              <a:gd name="connsiteX1317" fmla="*/ 280784 w 1317625"/>
              <a:gd name="connsiteY1317" fmla="*/ 400578 h 1344613"/>
              <a:gd name="connsiteX1318" fmla="*/ 281645 w 1317625"/>
              <a:gd name="connsiteY1318" fmla="*/ 398991 h 1344613"/>
              <a:gd name="connsiteX1319" fmla="*/ 282936 w 1317625"/>
              <a:gd name="connsiteY1319" fmla="*/ 397403 h 1344613"/>
              <a:gd name="connsiteX1320" fmla="*/ 284658 w 1317625"/>
              <a:gd name="connsiteY1320" fmla="*/ 395816 h 1344613"/>
              <a:gd name="connsiteX1321" fmla="*/ 286379 w 1317625"/>
              <a:gd name="connsiteY1321" fmla="*/ 394757 h 1344613"/>
              <a:gd name="connsiteX1322" fmla="*/ 288962 w 1317625"/>
              <a:gd name="connsiteY1322" fmla="*/ 394228 h 1344613"/>
              <a:gd name="connsiteX1323" fmla="*/ 813329 w 1317625"/>
              <a:gd name="connsiteY1323" fmla="*/ 376238 h 1344613"/>
              <a:gd name="connsiteX1324" fmla="*/ 817827 w 1317625"/>
              <a:gd name="connsiteY1324" fmla="*/ 384082 h 1344613"/>
              <a:gd name="connsiteX1325" fmla="*/ 822325 w 1317625"/>
              <a:gd name="connsiteY1325" fmla="*/ 390806 h 1344613"/>
              <a:gd name="connsiteX1326" fmla="*/ 821875 w 1317625"/>
              <a:gd name="connsiteY1326" fmla="*/ 398650 h 1344613"/>
              <a:gd name="connsiteX1327" fmla="*/ 820526 w 1317625"/>
              <a:gd name="connsiteY1327" fmla="*/ 408735 h 1344613"/>
              <a:gd name="connsiteX1328" fmla="*/ 819626 w 1317625"/>
              <a:gd name="connsiteY1328" fmla="*/ 414338 h 1344613"/>
              <a:gd name="connsiteX1329" fmla="*/ 818727 w 1317625"/>
              <a:gd name="connsiteY1329" fmla="*/ 418820 h 1344613"/>
              <a:gd name="connsiteX1330" fmla="*/ 817377 w 1317625"/>
              <a:gd name="connsiteY1330" fmla="*/ 423303 h 1344613"/>
              <a:gd name="connsiteX1331" fmla="*/ 815578 w 1317625"/>
              <a:gd name="connsiteY1331" fmla="*/ 426665 h 1344613"/>
              <a:gd name="connsiteX1332" fmla="*/ 813779 w 1317625"/>
              <a:gd name="connsiteY1332" fmla="*/ 430026 h 1344613"/>
              <a:gd name="connsiteX1333" fmla="*/ 811980 w 1317625"/>
              <a:gd name="connsiteY1333" fmla="*/ 432267 h 1344613"/>
              <a:gd name="connsiteX1334" fmla="*/ 809281 w 1317625"/>
              <a:gd name="connsiteY1334" fmla="*/ 433388 h 1344613"/>
              <a:gd name="connsiteX1335" fmla="*/ 807482 w 1317625"/>
              <a:gd name="connsiteY1335" fmla="*/ 433388 h 1344613"/>
              <a:gd name="connsiteX1336" fmla="*/ 804333 w 1317625"/>
              <a:gd name="connsiteY1336" fmla="*/ 432267 h 1344613"/>
              <a:gd name="connsiteX1337" fmla="*/ 802084 w 1317625"/>
              <a:gd name="connsiteY1337" fmla="*/ 428906 h 1344613"/>
              <a:gd name="connsiteX1338" fmla="*/ 798486 w 1317625"/>
              <a:gd name="connsiteY1338" fmla="*/ 424423 h 1344613"/>
              <a:gd name="connsiteX1339" fmla="*/ 795337 w 1317625"/>
              <a:gd name="connsiteY1339" fmla="*/ 417700 h 1344613"/>
              <a:gd name="connsiteX1340" fmla="*/ 798036 w 1317625"/>
              <a:gd name="connsiteY1340" fmla="*/ 409856 h 1344613"/>
              <a:gd name="connsiteX1341" fmla="*/ 802084 w 1317625"/>
              <a:gd name="connsiteY1341" fmla="*/ 397529 h 1344613"/>
              <a:gd name="connsiteX1342" fmla="*/ 804333 w 1317625"/>
              <a:gd name="connsiteY1342" fmla="*/ 390806 h 1344613"/>
              <a:gd name="connsiteX1343" fmla="*/ 807482 w 1317625"/>
              <a:gd name="connsiteY1343" fmla="*/ 385203 h 1344613"/>
              <a:gd name="connsiteX1344" fmla="*/ 810181 w 1317625"/>
              <a:gd name="connsiteY1344" fmla="*/ 380720 h 1344613"/>
              <a:gd name="connsiteX1345" fmla="*/ 923153 w 1317625"/>
              <a:gd name="connsiteY1345" fmla="*/ 328613 h 1344613"/>
              <a:gd name="connsiteX1346" fmla="*/ 930447 w 1317625"/>
              <a:gd name="connsiteY1346" fmla="*/ 328613 h 1344613"/>
              <a:gd name="connsiteX1347" fmla="*/ 937312 w 1317625"/>
              <a:gd name="connsiteY1347" fmla="*/ 328613 h 1344613"/>
              <a:gd name="connsiteX1348" fmla="*/ 944177 w 1317625"/>
              <a:gd name="connsiteY1348" fmla="*/ 328613 h 1344613"/>
              <a:gd name="connsiteX1349" fmla="*/ 952329 w 1317625"/>
              <a:gd name="connsiteY1349" fmla="*/ 329118 h 1344613"/>
              <a:gd name="connsiteX1350" fmla="*/ 959193 w 1317625"/>
              <a:gd name="connsiteY1350" fmla="*/ 330127 h 1344613"/>
              <a:gd name="connsiteX1351" fmla="*/ 964342 w 1317625"/>
              <a:gd name="connsiteY1351" fmla="*/ 331640 h 1344613"/>
              <a:gd name="connsiteX1352" fmla="*/ 968633 w 1317625"/>
              <a:gd name="connsiteY1352" fmla="*/ 333154 h 1344613"/>
              <a:gd name="connsiteX1353" fmla="*/ 971636 w 1317625"/>
              <a:gd name="connsiteY1353" fmla="*/ 334668 h 1344613"/>
              <a:gd name="connsiteX1354" fmla="*/ 975498 w 1317625"/>
              <a:gd name="connsiteY1354" fmla="*/ 336181 h 1344613"/>
              <a:gd name="connsiteX1355" fmla="*/ 979359 w 1317625"/>
              <a:gd name="connsiteY1355" fmla="*/ 337190 h 1344613"/>
              <a:gd name="connsiteX1356" fmla="*/ 984079 w 1317625"/>
              <a:gd name="connsiteY1356" fmla="*/ 337695 h 1344613"/>
              <a:gd name="connsiteX1357" fmla="*/ 989656 w 1317625"/>
              <a:gd name="connsiteY1357" fmla="*/ 338200 h 1344613"/>
              <a:gd name="connsiteX1358" fmla="*/ 999525 w 1317625"/>
              <a:gd name="connsiteY1358" fmla="*/ 338200 h 1344613"/>
              <a:gd name="connsiteX1359" fmla="*/ 1004244 w 1317625"/>
              <a:gd name="connsiteY1359" fmla="*/ 338200 h 1344613"/>
              <a:gd name="connsiteX1360" fmla="*/ 1008535 w 1317625"/>
              <a:gd name="connsiteY1360" fmla="*/ 337695 h 1344613"/>
              <a:gd name="connsiteX1361" fmla="*/ 1010251 w 1317625"/>
              <a:gd name="connsiteY1361" fmla="*/ 337190 h 1344613"/>
              <a:gd name="connsiteX1362" fmla="*/ 1011538 w 1317625"/>
              <a:gd name="connsiteY1362" fmla="*/ 336686 h 1344613"/>
              <a:gd name="connsiteX1363" fmla="*/ 1012396 w 1317625"/>
              <a:gd name="connsiteY1363" fmla="*/ 335677 h 1344613"/>
              <a:gd name="connsiteX1364" fmla="*/ 1012825 w 1317625"/>
              <a:gd name="connsiteY1364" fmla="*/ 334668 h 1344613"/>
              <a:gd name="connsiteX1365" fmla="*/ 1011967 w 1317625"/>
              <a:gd name="connsiteY1365" fmla="*/ 343245 h 1344613"/>
              <a:gd name="connsiteX1366" fmla="*/ 1010251 w 1317625"/>
              <a:gd name="connsiteY1366" fmla="*/ 353841 h 1344613"/>
              <a:gd name="connsiteX1367" fmla="*/ 1009822 w 1317625"/>
              <a:gd name="connsiteY1367" fmla="*/ 360400 h 1344613"/>
              <a:gd name="connsiteX1368" fmla="*/ 1009822 w 1317625"/>
              <a:gd name="connsiteY1368" fmla="*/ 368977 h 1344613"/>
              <a:gd name="connsiteX1369" fmla="*/ 1011109 w 1317625"/>
              <a:gd name="connsiteY1369" fmla="*/ 380077 h 1344613"/>
              <a:gd name="connsiteX1370" fmla="*/ 1012825 w 1317625"/>
              <a:gd name="connsiteY1370" fmla="*/ 393700 h 1344613"/>
              <a:gd name="connsiteX1371" fmla="*/ 1011014 w 1317625"/>
              <a:gd name="connsiteY1371" fmla="*/ 393294 h 1344613"/>
              <a:gd name="connsiteX1372" fmla="*/ 1011795 w 1317625"/>
              <a:gd name="connsiteY1372" fmla="*/ 394955 h 1344613"/>
              <a:gd name="connsiteX1373" fmla="*/ 1016171 w 1317625"/>
              <a:gd name="connsiteY1373" fmla="*/ 405809 h 1344613"/>
              <a:gd name="connsiteX1374" fmla="*/ 1021861 w 1317625"/>
              <a:gd name="connsiteY1374" fmla="*/ 419765 h 1344613"/>
              <a:gd name="connsiteX1375" fmla="*/ 1027112 w 1317625"/>
              <a:gd name="connsiteY1375" fmla="*/ 431136 h 1344613"/>
              <a:gd name="connsiteX1376" fmla="*/ 997791 w 1317625"/>
              <a:gd name="connsiteY1376" fmla="*/ 447675 h 1344613"/>
              <a:gd name="connsiteX1377" fmla="*/ 994290 w 1317625"/>
              <a:gd name="connsiteY1377" fmla="*/ 446641 h 1344613"/>
              <a:gd name="connsiteX1378" fmla="*/ 993202 w 1317625"/>
              <a:gd name="connsiteY1378" fmla="*/ 446356 h 1344613"/>
              <a:gd name="connsiteX1379" fmla="*/ 994518 w 1317625"/>
              <a:gd name="connsiteY1379" fmla="*/ 447624 h 1344613"/>
              <a:gd name="connsiteX1380" fmla="*/ 995362 w 1317625"/>
              <a:gd name="connsiteY1380" fmla="*/ 449795 h 1344613"/>
              <a:gd name="connsiteX1381" fmla="*/ 995362 w 1317625"/>
              <a:gd name="connsiteY1381" fmla="*/ 452509 h 1344613"/>
              <a:gd name="connsiteX1382" fmla="*/ 978470 w 1317625"/>
              <a:gd name="connsiteY1382" fmla="*/ 472594 h 1344613"/>
              <a:gd name="connsiteX1383" fmla="*/ 977203 w 1317625"/>
              <a:gd name="connsiteY1383" fmla="*/ 473137 h 1344613"/>
              <a:gd name="connsiteX1384" fmla="*/ 976358 w 1317625"/>
              <a:gd name="connsiteY1384" fmla="*/ 475308 h 1344613"/>
              <a:gd name="connsiteX1385" fmla="*/ 975091 w 1317625"/>
              <a:gd name="connsiteY1385" fmla="*/ 478022 h 1344613"/>
              <a:gd name="connsiteX1386" fmla="*/ 973402 w 1317625"/>
              <a:gd name="connsiteY1386" fmla="*/ 481279 h 1344613"/>
              <a:gd name="connsiteX1387" fmla="*/ 971290 w 1317625"/>
              <a:gd name="connsiteY1387" fmla="*/ 487793 h 1344613"/>
              <a:gd name="connsiteX1388" fmla="*/ 970446 w 1317625"/>
              <a:gd name="connsiteY1388" fmla="*/ 492136 h 1344613"/>
              <a:gd name="connsiteX1389" fmla="*/ 968394 w 1317625"/>
              <a:gd name="connsiteY1389" fmla="*/ 493191 h 1344613"/>
              <a:gd name="connsiteX1390" fmla="*/ 969030 w 1317625"/>
              <a:gd name="connsiteY1390" fmla="*/ 492987 h 1344613"/>
              <a:gd name="connsiteX1391" fmla="*/ 974215 w 1317625"/>
              <a:gd name="connsiteY1391" fmla="*/ 490914 h 1344613"/>
              <a:gd name="connsiteX1392" fmla="*/ 974215 w 1317625"/>
              <a:gd name="connsiteY1392" fmla="*/ 489878 h 1344613"/>
              <a:gd name="connsiteX1393" fmla="*/ 975079 w 1317625"/>
              <a:gd name="connsiteY1393" fmla="*/ 488323 h 1344613"/>
              <a:gd name="connsiteX1394" fmla="*/ 975943 w 1317625"/>
              <a:gd name="connsiteY1394" fmla="*/ 486768 h 1344613"/>
              <a:gd name="connsiteX1395" fmla="*/ 977239 w 1317625"/>
              <a:gd name="connsiteY1395" fmla="*/ 485213 h 1344613"/>
              <a:gd name="connsiteX1396" fmla="*/ 978967 w 1317625"/>
              <a:gd name="connsiteY1396" fmla="*/ 483659 h 1344613"/>
              <a:gd name="connsiteX1397" fmla="*/ 980263 w 1317625"/>
              <a:gd name="connsiteY1397" fmla="*/ 482622 h 1344613"/>
              <a:gd name="connsiteX1398" fmla="*/ 981128 w 1317625"/>
              <a:gd name="connsiteY1398" fmla="*/ 482104 h 1344613"/>
              <a:gd name="connsiteX1399" fmla="*/ 982424 w 1317625"/>
              <a:gd name="connsiteY1399" fmla="*/ 481586 h 1344613"/>
              <a:gd name="connsiteX1400" fmla="*/ 982424 w 1317625"/>
              <a:gd name="connsiteY1400" fmla="*/ 475367 h 1344613"/>
              <a:gd name="connsiteX1401" fmla="*/ 982424 w 1317625"/>
              <a:gd name="connsiteY1401" fmla="*/ 472775 h 1344613"/>
              <a:gd name="connsiteX1402" fmla="*/ 982856 w 1317625"/>
              <a:gd name="connsiteY1402" fmla="*/ 470702 h 1344613"/>
              <a:gd name="connsiteX1403" fmla="*/ 983720 w 1317625"/>
              <a:gd name="connsiteY1403" fmla="*/ 469666 h 1344613"/>
              <a:gd name="connsiteX1404" fmla="*/ 984152 w 1317625"/>
              <a:gd name="connsiteY1404" fmla="*/ 468629 h 1344613"/>
              <a:gd name="connsiteX1405" fmla="*/ 985448 w 1317625"/>
              <a:gd name="connsiteY1405" fmla="*/ 468111 h 1344613"/>
              <a:gd name="connsiteX1406" fmla="*/ 987176 w 1317625"/>
              <a:gd name="connsiteY1406" fmla="*/ 468629 h 1344613"/>
              <a:gd name="connsiteX1407" fmla="*/ 989337 w 1317625"/>
              <a:gd name="connsiteY1407" fmla="*/ 469148 h 1344613"/>
              <a:gd name="connsiteX1408" fmla="*/ 991065 w 1317625"/>
              <a:gd name="connsiteY1408" fmla="*/ 469148 h 1344613"/>
              <a:gd name="connsiteX1409" fmla="*/ 991929 w 1317625"/>
              <a:gd name="connsiteY1409" fmla="*/ 469148 h 1344613"/>
              <a:gd name="connsiteX1410" fmla="*/ 992361 w 1317625"/>
              <a:gd name="connsiteY1410" fmla="*/ 468629 h 1344613"/>
              <a:gd name="connsiteX1411" fmla="*/ 993657 w 1317625"/>
              <a:gd name="connsiteY1411" fmla="*/ 467593 h 1344613"/>
              <a:gd name="connsiteX1412" fmla="*/ 994089 w 1317625"/>
              <a:gd name="connsiteY1412" fmla="*/ 465520 h 1344613"/>
              <a:gd name="connsiteX1413" fmla="*/ 994522 w 1317625"/>
              <a:gd name="connsiteY1413" fmla="*/ 462410 h 1344613"/>
              <a:gd name="connsiteX1414" fmla="*/ 995818 w 1317625"/>
              <a:gd name="connsiteY1414" fmla="*/ 458264 h 1344613"/>
              <a:gd name="connsiteX1415" fmla="*/ 996682 w 1317625"/>
              <a:gd name="connsiteY1415" fmla="*/ 456191 h 1344613"/>
              <a:gd name="connsiteX1416" fmla="*/ 997978 w 1317625"/>
              <a:gd name="connsiteY1416" fmla="*/ 454636 h 1344613"/>
              <a:gd name="connsiteX1417" fmla="*/ 998842 w 1317625"/>
              <a:gd name="connsiteY1417" fmla="*/ 453600 h 1344613"/>
              <a:gd name="connsiteX1418" fmla="*/ 999706 w 1317625"/>
              <a:gd name="connsiteY1418" fmla="*/ 453082 h 1344613"/>
              <a:gd name="connsiteX1419" fmla="*/ 1028654 w 1317625"/>
              <a:gd name="connsiteY1419" fmla="*/ 433388 h 1344613"/>
              <a:gd name="connsiteX1420" fmla="*/ 1025630 w 1317625"/>
              <a:gd name="connsiteY1420" fmla="*/ 436498 h 1344613"/>
              <a:gd name="connsiteX1421" fmla="*/ 1045505 w 1317625"/>
              <a:gd name="connsiteY1421" fmla="*/ 443753 h 1344613"/>
              <a:gd name="connsiteX1422" fmla="*/ 1062787 w 1317625"/>
              <a:gd name="connsiteY1422" fmla="*/ 443753 h 1344613"/>
              <a:gd name="connsiteX1423" fmla="*/ 1066244 w 1317625"/>
              <a:gd name="connsiteY1423" fmla="*/ 456191 h 1344613"/>
              <a:gd name="connsiteX1424" fmla="*/ 1083094 w 1317625"/>
              <a:gd name="connsiteY1424" fmla="*/ 449972 h 1344613"/>
              <a:gd name="connsiteX1425" fmla="*/ 1097352 w 1317625"/>
              <a:gd name="connsiteY1425" fmla="*/ 456191 h 1344613"/>
              <a:gd name="connsiteX1426" fmla="*/ 1100377 w 1317625"/>
              <a:gd name="connsiteY1426" fmla="*/ 481586 h 1344613"/>
              <a:gd name="connsiteX1427" fmla="*/ 1120252 w 1317625"/>
              <a:gd name="connsiteY1427" fmla="*/ 501279 h 1344613"/>
              <a:gd name="connsiteX1428" fmla="*/ 1134942 w 1317625"/>
              <a:gd name="connsiteY1428" fmla="*/ 510608 h 1344613"/>
              <a:gd name="connsiteX1429" fmla="*/ 1146175 w 1317625"/>
              <a:gd name="connsiteY1429" fmla="*/ 519937 h 1344613"/>
              <a:gd name="connsiteX1430" fmla="*/ 1134942 w 1317625"/>
              <a:gd name="connsiteY1430" fmla="*/ 529783 h 1344613"/>
              <a:gd name="connsiteX1431" fmla="*/ 1114635 w 1317625"/>
              <a:gd name="connsiteY1431" fmla="*/ 523046 h 1344613"/>
              <a:gd name="connsiteX1432" fmla="*/ 1117227 w 1317625"/>
              <a:gd name="connsiteY1432" fmla="*/ 536002 h 1344613"/>
              <a:gd name="connsiteX1433" fmla="*/ 1123708 w 1317625"/>
              <a:gd name="connsiteY1433" fmla="*/ 542221 h 1344613"/>
              <a:gd name="connsiteX1434" fmla="*/ 1123708 w 1317625"/>
              <a:gd name="connsiteY1434" fmla="*/ 557728 h 1344613"/>
              <a:gd name="connsiteX1435" fmla="*/ 1124736 w 1317625"/>
              <a:gd name="connsiteY1435" fmla="*/ 557728 h 1344613"/>
              <a:gd name="connsiteX1436" fmla="*/ 1138638 w 1317625"/>
              <a:gd name="connsiteY1436" fmla="*/ 557728 h 1344613"/>
              <a:gd name="connsiteX1437" fmla="*/ 1147326 w 1317625"/>
              <a:gd name="connsiteY1437" fmla="*/ 550863 h 1344613"/>
              <a:gd name="connsiteX1438" fmla="*/ 1167311 w 1317625"/>
              <a:gd name="connsiteY1438" fmla="*/ 550863 h 1344613"/>
              <a:gd name="connsiteX1439" fmla="*/ 1175999 w 1317625"/>
              <a:gd name="connsiteY1439" fmla="*/ 557728 h 1344613"/>
              <a:gd name="connsiteX1440" fmla="*/ 1188163 w 1317625"/>
              <a:gd name="connsiteY1440" fmla="*/ 570929 h 1344613"/>
              <a:gd name="connsiteX1441" fmla="*/ 1182081 w 1317625"/>
              <a:gd name="connsiteY1441" fmla="*/ 584129 h 1344613"/>
              <a:gd name="connsiteX1442" fmla="*/ 1205106 w 1317625"/>
              <a:gd name="connsiteY1442" fmla="*/ 584129 h 1344613"/>
              <a:gd name="connsiteX1443" fmla="*/ 1213795 w 1317625"/>
              <a:gd name="connsiteY1443" fmla="*/ 609475 h 1344613"/>
              <a:gd name="connsiteX1444" fmla="*/ 1225090 w 1317625"/>
              <a:gd name="connsiteY1444" fmla="*/ 606307 h 1344613"/>
              <a:gd name="connsiteX1445" fmla="*/ 1237255 w 1317625"/>
              <a:gd name="connsiteY1445" fmla="*/ 616340 h 1344613"/>
              <a:gd name="connsiteX1446" fmla="*/ 1251591 w 1317625"/>
              <a:gd name="connsiteY1446" fmla="*/ 609475 h 1344613"/>
              <a:gd name="connsiteX1447" fmla="*/ 1265927 w 1317625"/>
              <a:gd name="connsiteY1447" fmla="*/ 622676 h 1344613"/>
              <a:gd name="connsiteX1448" fmla="*/ 1282870 w 1317625"/>
              <a:gd name="connsiteY1448" fmla="*/ 622676 h 1344613"/>
              <a:gd name="connsiteX1449" fmla="*/ 1300682 w 1317625"/>
              <a:gd name="connsiteY1449" fmla="*/ 632709 h 1344613"/>
              <a:gd name="connsiteX1450" fmla="*/ 1317625 w 1317625"/>
              <a:gd name="connsiteY1450" fmla="*/ 639046 h 1344613"/>
              <a:gd name="connsiteX1451" fmla="*/ 1315019 w 1317625"/>
              <a:gd name="connsiteY1451" fmla="*/ 655415 h 1344613"/>
              <a:gd name="connsiteX1452" fmla="*/ 1311978 w 1317625"/>
              <a:gd name="connsiteY1452" fmla="*/ 674952 h 1344613"/>
              <a:gd name="connsiteX1453" fmla="*/ 1317625 w 1317625"/>
              <a:gd name="connsiteY1453" fmla="*/ 687625 h 1344613"/>
              <a:gd name="connsiteX1454" fmla="*/ 1303289 w 1317625"/>
              <a:gd name="connsiteY1454" fmla="*/ 687625 h 1344613"/>
              <a:gd name="connsiteX1455" fmla="*/ 1285911 w 1317625"/>
              <a:gd name="connsiteY1455" fmla="*/ 694490 h 1344613"/>
              <a:gd name="connsiteX1456" fmla="*/ 1282870 w 1317625"/>
              <a:gd name="connsiteY1456" fmla="*/ 710859 h 1344613"/>
              <a:gd name="connsiteX1457" fmla="*/ 1274182 w 1317625"/>
              <a:gd name="connsiteY1457" fmla="*/ 714027 h 1344613"/>
              <a:gd name="connsiteX1458" fmla="*/ 1264190 w 1317625"/>
              <a:gd name="connsiteY1458" fmla="*/ 716139 h 1344613"/>
              <a:gd name="connsiteX1459" fmla="*/ 1254198 w 1317625"/>
              <a:gd name="connsiteY1459" fmla="*/ 718779 h 1344613"/>
              <a:gd name="connsiteX1460" fmla="*/ 1244640 w 1317625"/>
              <a:gd name="connsiteY1460" fmla="*/ 721948 h 1344613"/>
              <a:gd name="connsiteX1461" fmla="*/ 1235517 w 1317625"/>
              <a:gd name="connsiteY1461" fmla="*/ 725116 h 1344613"/>
              <a:gd name="connsiteX1462" fmla="*/ 1232041 w 1317625"/>
              <a:gd name="connsiteY1462" fmla="*/ 727228 h 1344613"/>
              <a:gd name="connsiteX1463" fmla="*/ 1228132 w 1317625"/>
              <a:gd name="connsiteY1463" fmla="*/ 728812 h 1344613"/>
              <a:gd name="connsiteX1464" fmla="*/ 1224656 w 1317625"/>
              <a:gd name="connsiteY1464" fmla="*/ 731980 h 1344613"/>
              <a:gd name="connsiteX1465" fmla="*/ 1221615 w 1317625"/>
              <a:gd name="connsiteY1465" fmla="*/ 734092 h 1344613"/>
              <a:gd name="connsiteX1466" fmla="*/ 1219877 w 1317625"/>
              <a:gd name="connsiteY1466" fmla="*/ 736733 h 1344613"/>
              <a:gd name="connsiteX1467" fmla="*/ 1218139 w 1317625"/>
              <a:gd name="connsiteY1467" fmla="*/ 739901 h 1344613"/>
              <a:gd name="connsiteX1468" fmla="*/ 1217271 w 1317625"/>
              <a:gd name="connsiteY1468" fmla="*/ 743069 h 1344613"/>
              <a:gd name="connsiteX1469" fmla="*/ 1216402 w 1317625"/>
              <a:gd name="connsiteY1469" fmla="*/ 746237 h 1344613"/>
              <a:gd name="connsiteX1470" fmla="*/ 1217271 w 1317625"/>
              <a:gd name="connsiteY1470" fmla="*/ 748878 h 1344613"/>
              <a:gd name="connsiteX1471" fmla="*/ 1217705 w 1317625"/>
              <a:gd name="connsiteY1471" fmla="*/ 751518 h 1344613"/>
              <a:gd name="connsiteX1472" fmla="*/ 1219008 w 1317625"/>
              <a:gd name="connsiteY1472" fmla="*/ 754158 h 1344613"/>
              <a:gd name="connsiteX1473" fmla="*/ 1220312 w 1317625"/>
              <a:gd name="connsiteY1473" fmla="*/ 756798 h 1344613"/>
              <a:gd name="connsiteX1474" fmla="*/ 1221615 w 1317625"/>
              <a:gd name="connsiteY1474" fmla="*/ 759438 h 1344613"/>
              <a:gd name="connsiteX1475" fmla="*/ 1223787 w 1317625"/>
              <a:gd name="connsiteY1475" fmla="*/ 761550 h 1344613"/>
              <a:gd name="connsiteX1476" fmla="*/ 1225959 w 1317625"/>
              <a:gd name="connsiteY1476" fmla="*/ 762607 h 1344613"/>
              <a:gd name="connsiteX1477" fmla="*/ 1228132 w 1317625"/>
              <a:gd name="connsiteY1477" fmla="*/ 763135 h 1344613"/>
              <a:gd name="connsiteX1478" fmla="*/ 1237255 w 1317625"/>
              <a:gd name="connsiteY1478" fmla="*/ 762078 h 1344613"/>
              <a:gd name="connsiteX1479" fmla="*/ 1245509 w 1317625"/>
              <a:gd name="connsiteY1479" fmla="*/ 759966 h 1344613"/>
              <a:gd name="connsiteX1480" fmla="*/ 1249853 w 1317625"/>
              <a:gd name="connsiteY1480" fmla="*/ 759438 h 1344613"/>
              <a:gd name="connsiteX1481" fmla="*/ 1254198 w 1317625"/>
              <a:gd name="connsiteY1481" fmla="*/ 758910 h 1344613"/>
              <a:gd name="connsiteX1482" fmla="*/ 1258542 w 1317625"/>
              <a:gd name="connsiteY1482" fmla="*/ 758910 h 1344613"/>
              <a:gd name="connsiteX1483" fmla="*/ 1262886 w 1317625"/>
              <a:gd name="connsiteY1483" fmla="*/ 759966 h 1344613"/>
              <a:gd name="connsiteX1484" fmla="*/ 1258976 w 1317625"/>
              <a:gd name="connsiteY1484" fmla="*/ 761550 h 1344613"/>
              <a:gd name="connsiteX1485" fmla="*/ 1255501 w 1317625"/>
              <a:gd name="connsiteY1485" fmla="*/ 763663 h 1344613"/>
              <a:gd name="connsiteX1486" fmla="*/ 1252894 w 1317625"/>
              <a:gd name="connsiteY1486" fmla="*/ 766303 h 1344613"/>
              <a:gd name="connsiteX1487" fmla="*/ 1249853 w 1317625"/>
              <a:gd name="connsiteY1487" fmla="*/ 769471 h 1344613"/>
              <a:gd name="connsiteX1488" fmla="*/ 1247681 w 1317625"/>
              <a:gd name="connsiteY1488" fmla="*/ 773167 h 1344613"/>
              <a:gd name="connsiteX1489" fmla="*/ 1245074 w 1317625"/>
              <a:gd name="connsiteY1489" fmla="*/ 776336 h 1344613"/>
              <a:gd name="connsiteX1490" fmla="*/ 1242902 w 1317625"/>
              <a:gd name="connsiteY1490" fmla="*/ 779504 h 1344613"/>
              <a:gd name="connsiteX1491" fmla="*/ 1239861 w 1317625"/>
              <a:gd name="connsiteY1491" fmla="*/ 782144 h 1344613"/>
              <a:gd name="connsiteX1492" fmla="*/ 1238558 w 1317625"/>
              <a:gd name="connsiteY1492" fmla="*/ 777920 h 1344613"/>
              <a:gd name="connsiteX1493" fmla="*/ 1237689 w 1317625"/>
              <a:gd name="connsiteY1493" fmla="*/ 774751 h 1344613"/>
              <a:gd name="connsiteX1494" fmla="*/ 1235951 w 1317625"/>
              <a:gd name="connsiteY1494" fmla="*/ 772111 h 1344613"/>
              <a:gd name="connsiteX1495" fmla="*/ 1235082 w 1317625"/>
              <a:gd name="connsiteY1495" fmla="*/ 770527 h 1344613"/>
              <a:gd name="connsiteX1496" fmla="*/ 1232041 w 1317625"/>
              <a:gd name="connsiteY1496" fmla="*/ 768415 h 1344613"/>
              <a:gd name="connsiteX1497" fmla="*/ 1228132 w 1317625"/>
              <a:gd name="connsiteY1497" fmla="*/ 766303 h 1344613"/>
              <a:gd name="connsiteX1498" fmla="*/ 1228132 w 1317625"/>
              <a:gd name="connsiteY1498" fmla="*/ 768943 h 1344613"/>
              <a:gd name="connsiteX1499" fmla="*/ 1227263 w 1317625"/>
              <a:gd name="connsiteY1499" fmla="*/ 771583 h 1344613"/>
              <a:gd name="connsiteX1500" fmla="*/ 1225959 w 1317625"/>
              <a:gd name="connsiteY1500" fmla="*/ 774223 h 1344613"/>
              <a:gd name="connsiteX1501" fmla="*/ 1224656 w 1317625"/>
              <a:gd name="connsiteY1501" fmla="*/ 776336 h 1344613"/>
              <a:gd name="connsiteX1502" fmla="*/ 1220746 w 1317625"/>
              <a:gd name="connsiteY1502" fmla="*/ 780560 h 1344613"/>
              <a:gd name="connsiteX1503" fmla="*/ 1215967 w 1317625"/>
              <a:gd name="connsiteY1503" fmla="*/ 784256 h 1344613"/>
              <a:gd name="connsiteX1504" fmla="*/ 1211623 w 1317625"/>
              <a:gd name="connsiteY1504" fmla="*/ 788480 h 1344613"/>
              <a:gd name="connsiteX1505" fmla="*/ 1207713 w 1317625"/>
              <a:gd name="connsiteY1505" fmla="*/ 791649 h 1344613"/>
              <a:gd name="connsiteX1506" fmla="*/ 1205541 w 1317625"/>
              <a:gd name="connsiteY1506" fmla="*/ 793761 h 1344613"/>
              <a:gd name="connsiteX1507" fmla="*/ 1204238 w 1317625"/>
              <a:gd name="connsiteY1507" fmla="*/ 795345 h 1344613"/>
              <a:gd name="connsiteX1508" fmla="*/ 1202934 w 1317625"/>
              <a:gd name="connsiteY1508" fmla="*/ 796929 h 1344613"/>
              <a:gd name="connsiteX1509" fmla="*/ 1202065 w 1317625"/>
              <a:gd name="connsiteY1509" fmla="*/ 798513 h 1344613"/>
              <a:gd name="connsiteX1510" fmla="*/ 1199459 w 1317625"/>
              <a:gd name="connsiteY1510" fmla="*/ 797985 h 1344613"/>
              <a:gd name="connsiteX1511" fmla="*/ 1197287 w 1317625"/>
              <a:gd name="connsiteY1511" fmla="*/ 796929 h 1344613"/>
              <a:gd name="connsiteX1512" fmla="*/ 1195114 w 1317625"/>
              <a:gd name="connsiteY1512" fmla="*/ 795873 h 1344613"/>
              <a:gd name="connsiteX1513" fmla="*/ 1193377 w 1317625"/>
              <a:gd name="connsiteY1513" fmla="*/ 794289 h 1344613"/>
              <a:gd name="connsiteX1514" fmla="*/ 1191639 w 1317625"/>
              <a:gd name="connsiteY1514" fmla="*/ 793233 h 1344613"/>
              <a:gd name="connsiteX1515" fmla="*/ 1190336 w 1317625"/>
              <a:gd name="connsiteY1515" fmla="*/ 791121 h 1344613"/>
              <a:gd name="connsiteX1516" fmla="*/ 1189467 w 1317625"/>
              <a:gd name="connsiteY1516" fmla="*/ 789536 h 1344613"/>
              <a:gd name="connsiteX1517" fmla="*/ 1188163 w 1317625"/>
              <a:gd name="connsiteY1517" fmla="*/ 786896 h 1344613"/>
              <a:gd name="connsiteX1518" fmla="*/ 1186426 w 1317625"/>
              <a:gd name="connsiteY1518" fmla="*/ 782672 h 1344613"/>
              <a:gd name="connsiteX1519" fmla="*/ 1185557 w 1317625"/>
              <a:gd name="connsiteY1519" fmla="*/ 777392 h 1344613"/>
              <a:gd name="connsiteX1520" fmla="*/ 1185122 w 1317625"/>
              <a:gd name="connsiteY1520" fmla="*/ 772111 h 1344613"/>
              <a:gd name="connsiteX1521" fmla="*/ 1185122 w 1317625"/>
              <a:gd name="connsiteY1521" fmla="*/ 766303 h 1344613"/>
              <a:gd name="connsiteX1522" fmla="*/ 1181212 w 1317625"/>
              <a:gd name="connsiteY1522" fmla="*/ 765775 h 1344613"/>
              <a:gd name="connsiteX1523" fmla="*/ 1177737 w 1317625"/>
              <a:gd name="connsiteY1523" fmla="*/ 765247 h 1344613"/>
              <a:gd name="connsiteX1524" fmla="*/ 1174696 w 1317625"/>
              <a:gd name="connsiteY1524" fmla="*/ 764191 h 1344613"/>
              <a:gd name="connsiteX1525" fmla="*/ 1171220 w 1317625"/>
              <a:gd name="connsiteY1525" fmla="*/ 762607 h 1344613"/>
              <a:gd name="connsiteX1526" fmla="*/ 1165573 w 1317625"/>
              <a:gd name="connsiteY1526" fmla="*/ 759438 h 1344613"/>
              <a:gd name="connsiteX1527" fmla="*/ 1161663 w 1317625"/>
              <a:gd name="connsiteY1527" fmla="*/ 756270 h 1344613"/>
              <a:gd name="connsiteX1528" fmla="*/ 1167745 w 1317625"/>
              <a:gd name="connsiteY1528" fmla="*/ 754158 h 1344613"/>
              <a:gd name="connsiteX1529" fmla="*/ 1174262 w 1317625"/>
              <a:gd name="connsiteY1529" fmla="*/ 752046 h 1344613"/>
              <a:gd name="connsiteX1530" fmla="*/ 1179475 w 1317625"/>
              <a:gd name="connsiteY1530" fmla="*/ 750990 h 1344613"/>
              <a:gd name="connsiteX1531" fmla="*/ 1185122 w 1317625"/>
              <a:gd name="connsiteY1531" fmla="*/ 749934 h 1344613"/>
              <a:gd name="connsiteX1532" fmla="*/ 1195983 w 1317625"/>
              <a:gd name="connsiteY1532" fmla="*/ 748349 h 1344613"/>
              <a:gd name="connsiteX1533" fmla="*/ 1208147 w 1317625"/>
              <a:gd name="connsiteY1533" fmla="*/ 746237 h 1344613"/>
              <a:gd name="connsiteX1534" fmla="*/ 1159056 w 1317625"/>
              <a:gd name="connsiteY1534" fmla="*/ 746237 h 1344613"/>
              <a:gd name="connsiteX1535" fmla="*/ 1155146 w 1317625"/>
              <a:gd name="connsiteY1535" fmla="*/ 742013 h 1344613"/>
              <a:gd name="connsiteX1536" fmla="*/ 1150802 w 1317625"/>
              <a:gd name="connsiteY1536" fmla="*/ 737789 h 1344613"/>
              <a:gd name="connsiteX1537" fmla="*/ 1145589 w 1317625"/>
              <a:gd name="connsiteY1537" fmla="*/ 734620 h 1344613"/>
              <a:gd name="connsiteX1538" fmla="*/ 1140376 w 1317625"/>
              <a:gd name="connsiteY1538" fmla="*/ 731452 h 1344613"/>
              <a:gd name="connsiteX1539" fmla="*/ 1129949 w 1317625"/>
              <a:gd name="connsiteY1539" fmla="*/ 726700 h 1344613"/>
              <a:gd name="connsiteX1540" fmla="*/ 1121260 w 1317625"/>
              <a:gd name="connsiteY1540" fmla="*/ 723532 h 1344613"/>
              <a:gd name="connsiteX1541" fmla="*/ 1115613 w 1317625"/>
              <a:gd name="connsiteY1541" fmla="*/ 735677 h 1344613"/>
              <a:gd name="connsiteX1542" fmla="*/ 1109531 w 1317625"/>
              <a:gd name="connsiteY1542" fmla="*/ 745709 h 1344613"/>
              <a:gd name="connsiteX1543" fmla="*/ 1107358 w 1317625"/>
              <a:gd name="connsiteY1543" fmla="*/ 750462 h 1344613"/>
              <a:gd name="connsiteX1544" fmla="*/ 1104317 w 1317625"/>
              <a:gd name="connsiteY1544" fmla="*/ 754686 h 1344613"/>
              <a:gd name="connsiteX1545" fmla="*/ 1101711 w 1317625"/>
              <a:gd name="connsiteY1545" fmla="*/ 759438 h 1344613"/>
              <a:gd name="connsiteX1546" fmla="*/ 1098235 w 1317625"/>
              <a:gd name="connsiteY1546" fmla="*/ 763135 h 1344613"/>
              <a:gd name="connsiteX1547" fmla="*/ 1093891 w 1317625"/>
              <a:gd name="connsiteY1547" fmla="*/ 762607 h 1344613"/>
              <a:gd name="connsiteX1548" fmla="*/ 1092780 w 1317625"/>
              <a:gd name="connsiteY1548" fmla="*/ 762457 h 1344613"/>
              <a:gd name="connsiteX1549" fmla="*/ 1090833 w 1317625"/>
              <a:gd name="connsiteY1549" fmla="*/ 765572 h 1344613"/>
              <a:gd name="connsiteX1550" fmla="*/ 1087034 w 1317625"/>
              <a:gd name="connsiteY1550" fmla="*/ 770299 h 1344613"/>
              <a:gd name="connsiteX1551" fmla="*/ 1082391 w 1317625"/>
              <a:gd name="connsiteY1551" fmla="*/ 775027 h 1344613"/>
              <a:gd name="connsiteX1552" fmla="*/ 1076904 w 1317625"/>
              <a:gd name="connsiteY1552" fmla="*/ 779754 h 1344613"/>
              <a:gd name="connsiteX1553" fmla="*/ 1076060 w 1317625"/>
              <a:gd name="connsiteY1553" fmla="*/ 784482 h 1344613"/>
              <a:gd name="connsiteX1554" fmla="*/ 1076060 w 1317625"/>
              <a:gd name="connsiteY1554" fmla="*/ 788684 h 1344613"/>
              <a:gd name="connsiteX1555" fmla="*/ 1076482 w 1317625"/>
              <a:gd name="connsiteY1555" fmla="*/ 792361 h 1344613"/>
              <a:gd name="connsiteX1556" fmla="*/ 1076904 w 1317625"/>
              <a:gd name="connsiteY1556" fmla="*/ 795513 h 1344613"/>
              <a:gd name="connsiteX1557" fmla="*/ 1078592 w 1317625"/>
              <a:gd name="connsiteY1557" fmla="*/ 800765 h 1344613"/>
              <a:gd name="connsiteX1558" fmla="*/ 1079858 w 1317625"/>
              <a:gd name="connsiteY1558" fmla="*/ 805493 h 1344613"/>
              <a:gd name="connsiteX1559" fmla="*/ 1072683 w 1317625"/>
              <a:gd name="connsiteY1559" fmla="*/ 804442 h 1344613"/>
              <a:gd name="connsiteX1560" fmla="*/ 1064663 w 1317625"/>
              <a:gd name="connsiteY1560" fmla="*/ 802341 h 1344613"/>
              <a:gd name="connsiteX1561" fmla="*/ 1060864 w 1317625"/>
              <a:gd name="connsiteY1561" fmla="*/ 801291 h 1344613"/>
              <a:gd name="connsiteX1562" fmla="*/ 1056221 w 1317625"/>
              <a:gd name="connsiteY1562" fmla="*/ 800240 h 1344613"/>
              <a:gd name="connsiteX1563" fmla="*/ 1051156 w 1317625"/>
              <a:gd name="connsiteY1563" fmla="*/ 799715 h 1344613"/>
              <a:gd name="connsiteX1564" fmla="*/ 1045669 w 1317625"/>
              <a:gd name="connsiteY1564" fmla="*/ 799190 h 1344613"/>
              <a:gd name="connsiteX1565" fmla="*/ 1038916 w 1317625"/>
              <a:gd name="connsiteY1565" fmla="*/ 799715 h 1344613"/>
              <a:gd name="connsiteX1566" fmla="*/ 1031740 w 1317625"/>
              <a:gd name="connsiteY1566" fmla="*/ 801291 h 1344613"/>
              <a:gd name="connsiteX1567" fmla="*/ 1030055 w 1317625"/>
              <a:gd name="connsiteY1567" fmla="*/ 801990 h 1344613"/>
              <a:gd name="connsiteX1568" fmla="*/ 1036112 w 1317625"/>
              <a:gd name="connsiteY1568" fmla="*/ 800641 h 1344613"/>
              <a:gd name="connsiteX1569" fmla="*/ 1042972 w 1317625"/>
              <a:gd name="connsiteY1569" fmla="*/ 800100 h 1344613"/>
              <a:gd name="connsiteX1570" fmla="*/ 1048547 w 1317625"/>
              <a:gd name="connsiteY1570" fmla="*/ 800641 h 1344613"/>
              <a:gd name="connsiteX1571" fmla="*/ 1053692 w 1317625"/>
              <a:gd name="connsiteY1571" fmla="*/ 801182 h 1344613"/>
              <a:gd name="connsiteX1572" fmla="*/ 1058408 w 1317625"/>
              <a:gd name="connsiteY1572" fmla="*/ 802264 h 1344613"/>
              <a:gd name="connsiteX1573" fmla="*/ 1062267 w 1317625"/>
              <a:gd name="connsiteY1573" fmla="*/ 803346 h 1344613"/>
              <a:gd name="connsiteX1574" fmla="*/ 1070414 w 1317625"/>
              <a:gd name="connsiteY1574" fmla="*/ 805510 h 1344613"/>
              <a:gd name="connsiteX1575" fmla="*/ 1077703 w 1317625"/>
              <a:gd name="connsiteY1575" fmla="*/ 806592 h 1344613"/>
              <a:gd name="connsiteX1576" fmla="*/ 1076846 w 1317625"/>
              <a:gd name="connsiteY1576" fmla="*/ 811461 h 1344613"/>
              <a:gd name="connsiteX1577" fmla="*/ 1075560 w 1317625"/>
              <a:gd name="connsiteY1577" fmla="*/ 815248 h 1344613"/>
              <a:gd name="connsiteX1578" fmla="*/ 1073844 w 1317625"/>
              <a:gd name="connsiteY1578" fmla="*/ 819576 h 1344613"/>
              <a:gd name="connsiteX1579" fmla="*/ 1071701 w 1317625"/>
              <a:gd name="connsiteY1579" fmla="*/ 822822 h 1344613"/>
              <a:gd name="connsiteX1580" fmla="*/ 1069557 w 1317625"/>
              <a:gd name="connsiteY1580" fmla="*/ 826068 h 1344613"/>
              <a:gd name="connsiteX1581" fmla="*/ 1067842 w 1317625"/>
              <a:gd name="connsiteY1581" fmla="*/ 828773 h 1344613"/>
              <a:gd name="connsiteX1582" fmla="*/ 1066555 w 1317625"/>
              <a:gd name="connsiteY1582" fmla="*/ 830937 h 1344613"/>
              <a:gd name="connsiteX1583" fmla="*/ 1066126 w 1317625"/>
              <a:gd name="connsiteY1583" fmla="*/ 833642 h 1344613"/>
              <a:gd name="connsiteX1584" fmla="*/ 1066126 w 1317625"/>
              <a:gd name="connsiteY1584" fmla="*/ 834724 h 1344613"/>
              <a:gd name="connsiteX1585" fmla="*/ 1066555 w 1317625"/>
              <a:gd name="connsiteY1585" fmla="*/ 835806 h 1344613"/>
              <a:gd name="connsiteX1586" fmla="*/ 1067842 w 1317625"/>
              <a:gd name="connsiteY1586" fmla="*/ 837429 h 1344613"/>
              <a:gd name="connsiteX1587" fmla="*/ 1068699 w 1317625"/>
              <a:gd name="connsiteY1587" fmla="*/ 838511 h 1344613"/>
              <a:gd name="connsiteX1588" fmla="*/ 1071272 w 1317625"/>
              <a:gd name="connsiteY1588" fmla="*/ 840675 h 1344613"/>
              <a:gd name="connsiteX1589" fmla="*/ 1074702 w 1317625"/>
              <a:gd name="connsiteY1589" fmla="*/ 842839 h 1344613"/>
              <a:gd name="connsiteX1590" fmla="*/ 1081562 w 1317625"/>
              <a:gd name="connsiteY1590" fmla="*/ 847167 h 1344613"/>
              <a:gd name="connsiteX1591" fmla="*/ 1085850 w 1317625"/>
              <a:gd name="connsiteY1591" fmla="*/ 850413 h 1344613"/>
              <a:gd name="connsiteX1592" fmla="*/ 1080276 w 1317625"/>
              <a:gd name="connsiteY1592" fmla="*/ 854200 h 1344613"/>
              <a:gd name="connsiteX1593" fmla="*/ 1075560 w 1317625"/>
              <a:gd name="connsiteY1593" fmla="*/ 857987 h 1344613"/>
              <a:gd name="connsiteX1594" fmla="*/ 1073844 w 1317625"/>
              <a:gd name="connsiteY1594" fmla="*/ 859610 h 1344613"/>
              <a:gd name="connsiteX1595" fmla="*/ 1072987 w 1317625"/>
              <a:gd name="connsiteY1595" fmla="*/ 862314 h 1344613"/>
              <a:gd name="connsiteX1596" fmla="*/ 1071701 w 1317625"/>
              <a:gd name="connsiteY1596" fmla="*/ 865560 h 1344613"/>
              <a:gd name="connsiteX1597" fmla="*/ 1071701 w 1317625"/>
              <a:gd name="connsiteY1597" fmla="*/ 869888 h 1344613"/>
              <a:gd name="connsiteX1598" fmla="*/ 1068699 w 1317625"/>
              <a:gd name="connsiteY1598" fmla="*/ 870970 h 1344613"/>
              <a:gd name="connsiteX1599" fmla="*/ 1060552 w 1317625"/>
              <a:gd name="connsiteY1599" fmla="*/ 873675 h 1344613"/>
              <a:gd name="connsiteX1600" fmla="*/ 1051119 w 1317625"/>
              <a:gd name="connsiteY1600" fmla="*/ 877462 h 1344613"/>
              <a:gd name="connsiteX1601" fmla="*/ 1043620 w 1317625"/>
              <a:gd name="connsiteY1601" fmla="*/ 879952 h 1344613"/>
              <a:gd name="connsiteX1602" fmla="*/ 1044378 w 1317625"/>
              <a:gd name="connsiteY1602" fmla="*/ 882650 h 1344613"/>
              <a:gd name="connsiteX1603" fmla="*/ 1045270 w 1317625"/>
              <a:gd name="connsiteY1603" fmla="*/ 886883 h 1344613"/>
              <a:gd name="connsiteX1604" fmla="*/ 1045716 w 1317625"/>
              <a:gd name="connsiteY1604" fmla="*/ 891646 h 1344613"/>
              <a:gd name="connsiteX1605" fmla="*/ 1045716 w 1317625"/>
              <a:gd name="connsiteY1605" fmla="*/ 896409 h 1344613"/>
              <a:gd name="connsiteX1606" fmla="*/ 1046162 w 1317625"/>
              <a:gd name="connsiteY1606" fmla="*/ 905404 h 1344613"/>
              <a:gd name="connsiteX1607" fmla="*/ 1046162 w 1317625"/>
              <a:gd name="connsiteY1607" fmla="*/ 909109 h 1344613"/>
              <a:gd name="connsiteX1608" fmla="*/ 1007803 w 1317625"/>
              <a:gd name="connsiteY1608" fmla="*/ 899054 h 1344613"/>
              <a:gd name="connsiteX1609" fmla="*/ 1001113 w 1317625"/>
              <a:gd name="connsiteY1609" fmla="*/ 900642 h 1344613"/>
              <a:gd name="connsiteX1610" fmla="*/ 994868 w 1317625"/>
              <a:gd name="connsiteY1610" fmla="*/ 902759 h 1344613"/>
              <a:gd name="connsiteX1611" fmla="*/ 989516 w 1317625"/>
              <a:gd name="connsiteY1611" fmla="*/ 905934 h 1344613"/>
              <a:gd name="connsiteX1612" fmla="*/ 984610 w 1317625"/>
              <a:gd name="connsiteY1612" fmla="*/ 909109 h 1344613"/>
              <a:gd name="connsiteX1613" fmla="*/ 982826 w 1317625"/>
              <a:gd name="connsiteY1613" fmla="*/ 910696 h 1344613"/>
              <a:gd name="connsiteX1614" fmla="*/ 981041 w 1317625"/>
              <a:gd name="connsiteY1614" fmla="*/ 912813 h 1344613"/>
              <a:gd name="connsiteX1615" fmla="*/ 979703 w 1317625"/>
              <a:gd name="connsiteY1615" fmla="*/ 914929 h 1344613"/>
              <a:gd name="connsiteX1616" fmla="*/ 979257 w 1317625"/>
              <a:gd name="connsiteY1616" fmla="*/ 917575 h 1344613"/>
              <a:gd name="connsiteX1617" fmla="*/ 978811 w 1317625"/>
              <a:gd name="connsiteY1617" fmla="*/ 920221 h 1344613"/>
              <a:gd name="connsiteX1618" fmla="*/ 979257 w 1317625"/>
              <a:gd name="connsiteY1618" fmla="*/ 922338 h 1344613"/>
              <a:gd name="connsiteX1619" fmla="*/ 979703 w 1317625"/>
              <a:gd name="connsiteY1619" fmla="*/ 925513 h 1344613"/>
              <a:gd name="connsiteX1620" fmla="*/ 981041 w 1317625"/>
              <a:gd name="connsiteY1620" fmla="*/ 928159 h 1344613"/>
              <a:gd name="connsiteX1621" fmla="*/ 980595 w 1317625"/>
              <a:gd name="connsiteY1621" fmla="*/ 929217 h 1344613"/>
              <a:gd name="connsiteX1622" fmla="*/ 979257 w 1317625"/>
              <a:gd name="connsiteY1622" fmla="*/ 931334 h 1344613"/>
              <a:gd name="connsiteX1623" fmla="*/ 978365 w 1317625"/>
              <a:gd name="connsiteY1623" fmla="*/ 932921 h 1344613"/>
              <a:gd name="connsiteX1624" fmla="*/ 977473 w 1317625"/>
              <a:gd name="connsiteY1624" fmla="*/ 933450 h 1344613"/>
              <a:gd name="connsiteX1625" fmla="*/ 976135 w 1317625"/>
              <a:gd name="connsiteY1625" fmla="*/ 935038 h 1344613"/>
              <a:gd name="connsiteX1626" fmla="*/ 975243 w 1317625"/>
              <a:gd name="connsiteY1626" fmla="*/ 935038 h 1344613"/>
              <a:gd name="connsiteX1627" fmla="*/ 973459 w 1317625"/>
              <a:gd name="connsiteY1627" fmla="*/ 935038 h 1344613"/>
              <a:gd name="connsiteX1628" fmla="*/ 972121 w 1317625"/>
              <a:gd name="connsiteY1628" fmla="*/ 933450 h 1344613"/>
              <a:gd name="connsiteX1629" fmla="*/ 970783 w 1317625"/>
              <a:gd name="connsiteY1629" fmla="*/ 932392 h 1344613"/>
              <a:gd name="connsiteX1630" fmla="*/ 969891 w 1317625"/>
              <a:gd name="connsiteY1630" fmla="*/ 931334 h 1344613"/>
              <a:gd name="connsiteX1631" fmla="*/ 969445 w 1317625"/>
              <a:gd name="connsiteY1631" fmla="*/ 928159 h 1344613"/>
              <a:gd name="connsiteX1632" fmla="*/ 969445 w 1317625"/>
              <a:gd name="connsiteY1632" fmla="*/ 924984 h 1344613"/>
              <a:gd name="connsiteX1633" fmla="*/ 964984 w 1317625"/>
              <a:gd name="connsiteY1633" fmla="*/ 924454 h 1344613"/>
              <a:gd name="connsiteX1634" fmla="*/ 960524 w 1317625"/>
              <a:gd name="connsiteY1634" fmla="*/ 922867 h 1344613"/>
              <a:gd name="connsiteX1635" fmla="*/ 957402 w 1317625"/>
              <a:gd name="connsiteY1635" fmla="*/ 921279 h 1344613"/>
              <a:gd name="connsiteX1636" fmla="*/ 954725 w 1317625"/>
              <a:gd name="connsiteY1636" fmla="*/ 918634 h 1344613"/>
              <a:gd name="connsiteX1637" fmla="*/ 954725 w 1317625"/>
              <a:gd name="connsiteY1637" fmla="*/ 923396 h 1344613"/>
              <a:gd name="connsiteX1638" fmla="*/ 954725 w 1317625"/>
              <a:gd name="connsiteY1638" fmla="*/ 928159 h 1344613"/>
              <a:gd name="connsiteX1639" fmla="*/ 955171 w 1317625"/>
              <a:gd name="connsiteY1639" fmla="*/ 930275 h 1344613"/>
              <a:gd name="connsiteX1640" fmla="*/ 956064 w 1317625"/>
              <a:gd name="connsiteY1640" fmla="*/ 932921 h 1344613"/>
              <a:gd name="connsiteX1641" fmla="*/ 958740 w 1317625"/>
              <a:gd name="connsiteY1641" fmla="*/ 937154 h 1344613"/>
              <a:gd name="connsiteX1642" fmla="*/ 960524 w 1317625"/>
              <a:gd name="connsiteY1642" fmla="*/ 940859 h 1344613"/>
              <a:gd name="connsiteX1643" fmla="*/ 963646 w 1317625"/>
              <a:gd name="connsiteY1643" fmla="*/ 944034 h 1344613"/>
              <a:gd name="connsiteX1644" fmla="*/ 965876 w 1317625"/>
              <a:gd name="connsiteY1644" fmla="*/ 946679 h 1344613"/>
              <a:gd name="connsiteX1645" fmla="*/ 967214 w 1317625"/>
              <a:gd name="connsiteY1645" fmla="*/ 947738 h 1344613"/>
              <a:gd name="connsiteX1646" fmla="*/ 968106 w 1317625"/>
              <a:gd name="connsiteY1646" fmla="*/ 948267 h 1344613"/>
              <a:gd name="connsiteX1647" fmla="*/ 968552 w 1317625"/>
              <a:gd name="connsiteY1647" fmla="*/ 948267 h 1344613"/>
              <a:gd name="connsiteX1648" fmla="*/ 969445 w 1317625"/>
              <a:gd name="connsiteY1648" fmla="*/ 948267 h 1344613"/>
              <a:gd name="connsiteX1649" fmla="*/ 969445 w 1317625"/>
              <a:gd name="connsiteY1649" fmla="*/ 957263 h 1344613"/>
              <a:gd name="connsiteX1650" fmla="*/ 969445 w 1317625"/>
              <a:gd name="connsiteY1650" fmla="*/ 965730 h 1344613"/>
              <a:gd name="connsiteX1651" fmla="*/ 969445 w 1317625"/>
              <a:gd name="connsiteY1651" fmla="*/ 973138 h 1344613"/>
              <a:gd name="connsiteX1652" fmla="*/ 969445 w 1317625"/>
              <a:gd name="connsiteY1652" fmla="*/ 980546 h 1344613"/>
              <a:gd name="connsiteX1653" fmla="*/ 969445 w 1317625"/>
              <a:gd name="connsiteY1653" fmla="*/ 992188 h 1344613"/>
              <a:gd name="connsiteX1654" fmla="*/ 969445 w 1317625"/>
              <a:gd name="connsiteY1654" fmla="*/ 1004888 h 1344613"/>
              <a:gd name="connsiteX1655" fmla="*/ 968998 w 1317625"/>
              <a:gd name="connsiteY1655" fmla="*/ 1007534 h 1344613"/>
              <a:gd name="connsiteX1656" fmla="*/ 968552 w 1317625"/>
              <a:gd name="connsiteY1656" fmla="*/ 1010180 h 1344613"/>
              <a:gd name="connsiteX1657" fmla="*/ 968106 w 1317625"/>
              <a:gd name="connsiteY1657" fmla="*/ 1012296 h 1344613"/>
              <a:gd name="connsiteX1658" fmla="*/ 967214 w 1317625"/>
              <a:gd name="connsiteY1658" fmla="*/ 1013884 h 1344613"/>
              <a:gd name="connsiteX1659" fmla="*/ 965430 w 1317625"/>
              <a:gd name="connsiteY1659" fmla="*/ 1015471 h 1344613"/>
              <a:gd name="connsiteX1660" fmla="*/ 964092 w 1317625"/>
              <a:gd name="connsiteY1660" fmla="*/ 1016530 h 1344613"/>
              <a:gd name="connsiteX1661" fmla="*/ 962754 w 1317625"/>
              <a:gd name="connsiteY1661" fmla="*/ 1016530 h 1344613"/>
              <a:gd name="connsiteX1662" fmla="*/ 960524 w 1317625"/>
              <a:gd name="connsiteY1662" fmla="*/ 1016530 h 1344613"/>
              <a:gd name="connsiteX1663" fmla="*/ 963200 w 1317625"/>
              <a:gd name="connsiteY1663" fmla="*/ 1019176 h 1344613"/>
              <a:gd name="connsiteX1664" fmla="*/ 967214 w 1317625"/>
              <a:gd name="connsiteY1664" fmla="*/ 1022351 h 1344613"/>
              <a:gd name="connsiteX1665" fmla="*/ 968998 w 1317625"/>
              <a:gd name="connsiteY1665" fmla="*/ 1024467 h 1344613"/>
              <a:gd name="connsiteX1666" fmla="*/ 970783 w 1317625"/>
              <a:gd name="connsiteY1666" fmla="*/ 1025526 h 1344613"/>
              <a:gd name="connsiteX1667" fmla="*/ 973013 w 1317625"/>
              <a:gd name="connsiteY1667" fmla="*/ 1026055 h 1344613"/>
              <a:gd name="connsiteX1668" fmla="*/ 975243 w 1317625"/>
              <a:gd name="connsiteY1668" fmla="*/ 1026584 h 1344613"/>
              <a:gd name="connsiteX1669" fmla="*/ 973013 w 1317625"/>
              <a:gd name="connsiteY1669" fmla="*/ 1030817 h 1344613"/>
              <a:gd name="connsiteX1670" fmla="*/ 970337 w 1317625"/>
              <a:gd name="connsiteY1670" fmla="*/ 1033463 h 1344613"/>
              <a:gd name="connsiteX1671" fmla="*/ 968998 w 1317625"/>
              <a:gd name="connsiteY1671" fmla="*/ 1034521 h 1344613"/>
              <a:gd name="connsiteX1672" fmla="*/ 967660 w 1317625"/>
              <a:gd name="connsiteY1672" fmla="*/ 1035580 h 1344613"/>
              <a:gd name="connsiteX1673" fmla="*/ 965430 w 1317625"/>
              <a:gd name="connsiteY1673" fmla="*/ 1036109 h 1344613"/>
              <a:gd name="connsiteX1674" fmla="*/ 963646 w 1317625"/>
              <a:gd name="connsiteY1674" fmla="*/ 1036109 h 1344613"/>
              <a:gd name="connsiteX1675" fmla="*/ 960970 w 1317625"/>
              <a:gd name="connsiteY1675" fmla="*/ 1036638 h 1344613"/>
              <a:gd name="connsiteX1676" fmla="*/ 959632 w 1317625"/>
              <a:gd name="connsiteY1676" fmla="*/ 1037696 h 1344613"/>
              <a:gd name="connsiteX1677" fmla="*/ 958294 w 1317625"/>
              <a:gd name="connsiteY1677" fmla="*/ 1039284 h 1344613"/>
              <a:gd name="connsiteX1678" fmla="*/ 956510 w 1317625"/>
              <a:gd name="connsiteY1678" fmla="*/ 1041930 h 1344613"/>
              <a:gd name="connsiteX1679" fmla="*/ 955618 w 1317625"/>
              <a:gd name="connsiteY1679" fmla="*/ 1044046 h 1344613"/>
              <a:gd name="connsiteX1680" fmla="*/ 955171 w 1317625"/>
              <a:gd name="connsiteY1680" fmla="*/ 1046692 h 1344613"/>
              <a:gd name="connsiteX1681" fmla="*/ 954725 w 1317625"/>
              <a:gd name="connsiteY1681" fmla="*/ 1049338 h 1344613"/>
              <a:gd name="connsiteX1682" fmla="*/ 954725 w 1317625"/>
              <a:gd name="connsiteY1682" fmla="*/ 1052513 h 1344613"/>
              <a:gd name="connsiteX1683" fmla="*/ 952941 w 1317625"/>
              <a:gd name="connsiteY1683" fmla="*/ 1044046 h 1344613"/>
              <a:gd name="connsiteX1684" fmla="*/ 952495 w 1317625"/>
              <a:gd name="connsiteY1684" fmla="*/ 1038226 h 1344613"/>
              <a:gd name="connsiteX1685" fmla="*/ 952495 w 1317625"/>
              <a:gd name="connsiteY1685" fmla="*/ 1036109 h 1344613"/>
              <a:gd name="connsiteX1686" fmla="*/ 952941 w 1317625"/>
              <a:gd name="connsiteY1686" fmla="*/ 1033992 h 1344613"/>
              <a:gd name="connsiteX1687" fmla="*/ 953833 w 1317625"/>
              <a:gd name="connsiteY1687" fmla="*/ 1031876 h 1344613"/>
              <a:gd name="connsiteX1688" fmla="*/ 954725 w 1317625"/>
              <a:gd name="connsiteY1688" fmla="*/ 1029759 h 1344613"/>
              <a:gd name="connsiteX1689" fmla="*/ 950265 w 1317625"/>
              <a:gd name="connsiteY1689" fmla="*/ 1029759 h 1344613"/>
              <a:gd name="connsiteX1690" fmla="*/ 947143 w 1317625"/>
              <a:gd name="connsiteY1690" fmla="*/ 1030817 h 1344613"/>
              <a:gd name="connsiteX1691" fmla="*/ 944467 w 1317625"/>
              <a:gd name="connsiteY1691" fmla="*/ 1031876 h 1344613"/>
              <a:gd name="connsiteX1692" fmla="*/ 942237 w 1317625"/>
              <a:gd name="connsiteY1692" fmla="*/ 1032934 h 1344613"/>
              <a:gd name="connsiteX1693" fmla="*/ 940006 w 1317625"/>
              <a:gd name="connsiteY1693" fmla="*/ 1033992 h 1344613"/>
              <a:gd name="connsiteX1694" fmla="*/ 938222 w 1317625"/>
              <a:gd name="connsiteY1694" fmla="*/ 1035051 h 1344613"/>
              <a:gd name="connsiteX1695" fmla="*/ 935546 w 1317625"/>
              <a:gd name="connsiteY1695" fmla="*/ 1035580 h 1344613"/>
              <a:gd name="connsiteX1696" fmla="*/ 933762 w 1317625"/>
              <a:gd name="connsiteY1696" fmla="*/ 1036109 h 1344613"/>
              <a:gd name="connsiteX1697" fmla="*/ 933316 w 1317625"/>
              <a:gd name="connsiteY1697" fmla="*/ 1023409 h 1344613"/>
              <a:gd name="connsiteX1698" fmla="*/ 931532 w 1317625"/>
              <a:gd name="connsiteY1698" fmla="*/ 1012296 h 1344613"/>
              <a:gd name="connsiteX1699" fmla="*/ 931086 w 1317625"/>
              <a:gd name="connsiteY1699" fmla="*/ 1007534 h 1344613"/>
              <a:gd name="connsiteX1700" fmla="*/ 931086 w 1317625"/>
              <a:gd name="connsiteY1700" fmla="*/ 1003300 h 1344613"/>
              <a:gd name="connsiteX1701" fmla="*/ 932424 w 1317625"/>
              <a:gd name="connsiteY1701" fmla="*/ 998538 h 1344613"/>
              <a:gd name="connsiteX1702" fmla="*/ 933762 w 1317625"/>
              <a:gd name="connsiteY1702" fmla="*/ 993775 h 1344613"/>
              <a:gd name="connsiteX1703" fmla="*/ 928856 w 1317625"/>
              <a:gd name="connsiteY1703" fmla="*/ 993775 h 1344613"/>
              <a:gd name="connsiteX1704" fmla="*/ 923949 w 1317625"/>
              <a:gd name="connsiteY1704" fmla="*/ 992188 h 1344613"/>
              <a:gd name="connsiteX1705" fmla="*/ 919935 w 1317625"/>
              <a:gd name="connsiteY1705" fmla="*/ 991130 h 1344613"/>
              <a:gd name="connsiteX1706" fmla="*/ 916367 w 1317625"/>
              <a:gd name="connsiteY1706" fmla="*/ 989013 h 1344613"/>
              <a:gd name="connsiteX1707" fmla="*/ 913690 w 1317625"/>
              <a:gd name="connsiteY1707" fmla="*/ 986896 h 1344613"/>
              <a:gd name="connsiteX1708" fmla="*/ 911014 w 1317625"/>
              <a:gd name="connsiteY1708" fmla="*/ 984250 h 1344613"/>
              <a:gd name="connsiteX1709" fmla="*/ 908784 w 1317625"/>
              <a:gd name="connsiteY1709" fmla="*/ 981605 h 1344613"/>
              <a:gd name="connsiteX1710" fmla="*/ 907446 w 1317625"/>
              <a:gd name="connsiteY1710" fmla="*/ 978430 h 1344613"/>
              <a:gd name="connsiteX1711" fmla="*/ 904324 w 1317625"/>
              <a:gd name="connsiteY1711" fmla="*/ 971021 h 1344613"/>
              <a:gd name="connsiteX1712" fmla="*/ 902540 w 1317625"/>
              <a:gd name="connsiteY1712" fmla="*/ 963084 h 1344613"/>
              <a:gd name="connsiteX1713" fmla="*/ 900309 w 1317625"/>
              <a:gd name="connsiteY1713" fmla="*/ 955675 h 1344613"/>
              <a:gd name="connsiteX1714" fmla="*/ 898525 w 1317625"/>
              <a:gd name="connsiteY1714" fmla="*/ 948267 h 1344613"/>
              <a:gd name="connsiteX1715" fmla="*/ 902986 w 1317625"/>
              <a:gd name="connsiteY1715" fmla="*/ 945092 h 1344613"/>
              <a:gd name="connsiteX1716" fmla="*/ 907000 w 1317625"/>
              <a:gd name="connsiteY1716" fmla="*/ 941917 h 1344613"/>
              <a:gd name="connsiteX1717" fmla="*/ 911014 w 1317625"/>
              <a:gd name="connsiteY1717" fmla="*/ 938213 h 1344613"/>
              <a:gd name="connsiteX1718" fmla="*/ 915028 w 1317625"/>
              <a:gd name="connsiteY1718" fmla="*/ 932921 h 1344613"/>
              <a:gd name="connsiteX1719" fmla="*/ 918597 w 1317625"/>
              <a:gd name="connsiteY1719" fmla="*/ 928159 h 1344613"/>
              <a:gd name="connsiteX1720" fmla="*/ 920827 w 1317625"/>
              <a:gd name="connsiteY1720" fmla="*/ 922338 h 1344613"/>
              <a:gd name="connsiteX1721" fmla="*/ 923503 w 1317625"/>
              <a:gd name="connsiteY1721" fmla="*/ 915988 h 1344613"/>
              <a:gd name="connsiteX1722" fmla="*/ 924841 w 1317625"/>
              <a:gd name="connsiteY1722" fmla="*/ 909109 h 1344613"/>
              <a:gd name="connsiteX1723" fmla="*/ 931086 w 1317625"/>
              <a:gd name="connsiteY1723" fmla="*/ 908579 h 1344613"/>
              <a:gd name="connsiteX1724" fmla="*/ 937776 w 1317625"/>
              <a:gd name="connsiteY1724" fmla="*/ 906992 h 1344613"/>
              <a:gd name="connsiteX1725" fmla="*/ 944021 w 1317625"/>
              <a:gd name="connsiteY1725" fmla="*/ 904346 h 1344613"/>
              <a:gd name="connsiteX1726" fmla="*/ 949819 w 1317625"/>
              <a:gd name="connsiteY1726" fmla="*/ 901171 h 1344613"/>
              <a:gd name="connsiteX1727" fmla="*/ 960970 w 1317625"/>
              <a:gd name="connsiteY1727" fmla="*/ 894821 h 1344613"/>
              <a:gd name="connsiteX1728" fmla="*/ 972567 w 1317625"/>
              <a:gd name="connsiteY1728" fmla="*/ 889529 h 1344613"/>
              <a:gd name="connsiteX1729" fmla="*/ 978811 w 1317625"/>
              <a:gd name="connsiteY1729" fmla="*/ 886883 h 1344613"/>
              <a:gd name="connsiteX1730" fmla="*/ 984164 w 1317625"/>
              <a:gd name="connsiteY1730" fmla="*/ 884767 h 1344613"/>
              <a:gd name="connsiteX1731" fmla="*/ 988615 w 1317625"/>
              <a:gd name="connsiteY1731" fmla="*/ 883954 h 1344613"/>
              <a:gd name="connsiteX1732" fmla="*/ 988089 w 1317625"/>
              <a:gd name="connsiteY1732" fmla="*/ 883954 h 1344613"/>
              <a:gd name="connsiteX1733" fmla="*/ 980800 w 1317625"/>
              <a:gd name="connsiteY1733" fmla="*/ 883954 h 1344613"/>
              <a:gd name="connsiteX1734" fmla="*/ 977798 w 1317625"/>
              <a:gd name="connsiteY1734" fmla="*/ 884495 h 1344613"/>
              <a:gd name="connsiteX1735" fmla="*/ 974368 w 1317625"/>
              <a:gd name="connsiteY1735" fmla="*/ 885036 h 1344613"/>
              <a:gd name="connsiteX1736" fmla="*/ 971795 w 1317625"/>
              <a:gd name="connsiteY1736" fmla="*/ 886118 h 1344613"/>
              <a:gd name="connsiteX1737" fmla="*/ 969891 w 1317625"/>
              <a:gd name="connsiteY1737" fmla="*/ 886919 h 1344613"/>
              <a:gd name="connsiteX1738" fmla="*/ 960031 w 1317625"/>
              <a:gd name="connsiteY1738" fmla="*/ 893098 h 1344613"/>
              <a:gd name="connsiteX1739" fmla="*/ 948511 w 1317625"/>
              <a:gd name="connsiteY1739" fmla="*/ 900316 h 1344613"/>
              <a:gd name="connsiteX1740" fmla="*/ 942538 w 1317625"/>
              <a:gd name="connsiteY1740" fmla="*/ 902894 h 1344613"/>
              <a:gd name="connsiteX1741" fmla="*/ 935712 w 1317625"/>
              <a:gd name="connsiteY1741" fmla="*/ 905988 h 1344613"/>
              <a:gd name="connsiteX1742" fmla="*/ 929739 w 1317625"/>
              <a:gd name="connsiteY1742" fmla="*/ 907535 h 1344613"/>
              <a:gd name="connsiteX1743" fmla="*/ 923340 w 1317625"/>
              <a:gd name="connsiteY1743" fmla="*/ 908050 h 1344613"/>
              <a:gd name="connsiteX1744" fmla="*/ 919738 w 1317625"/>
              <a:gd name="connsiteY1744" fmla="*/ 902827 h 1344613"/>
              <a:gd name="connsiteX1745" fmla="*/ 922337 w 1317625"/>
              <a:gd name="connsiteY1745" fmla="*/ 907445 h 1344613"/>
              <a:gd name="connsiteX1746" fmla="*/ 920697 w 1317625"/>
              <a:gd name="connsiteY1746" fmla="*/ 913198 h 1344613"/>
              <a:gd name="connsiteX1747" fmla="*/ 919056 w 1317625"/>
              <a:gd name="connsiteY1747" fmla="*/ 918952 h 1344613"/>
              <a:gd name="connsiteX1748" fmla="*/ 916596 w 1317625"/>
              <a:gd name="connsiteY1748" fmla="*/ 924705 h 1344613"/>
              <a:gd name="connsiteX1749" fmla="*/ 914545 w 1317625"/>
              <a:gd name="connsiteY1749" fmla="*/ 929936 h 1344613"/>
              <a:gd name="connsiteX1750" fmla="*/ 911265 w 1317625"/>
              <a:gd name="connsiteY1750" fmla="*/ 935166 h 1344613"/>
              <a:gd name="connsiteX1751" fmla="*/ 908394 w 1317625"/>
              <a:gd name="connsiteY1751" fmla="*/ 939351 h 1344613"/>
              <a:gd name="connsiteX1752" fmla="*/ 904293 w 1317625"/>
              <a:gd name="connsiteY1752" fmla="*/ 943012 h 1344613"/>
              <a:gd name="connsiteX1753" fmla="*/ 900602 w 1317625"/>
              <a:gd name="connsiteY1753" fmla="*/ 946150 h 1344613"/>
              <a:gd name="connsiteX1754" fmla="*/ 900192 w 1317625"/>
              <a:gd name="connsiteY1754" fmla="*/ 944581 h 1344613"/>
              <a:gd name="connsiteX1755" fmla="*/ 899782 w 1317625"/>
              <a:gd name="connsiteY1755" fmla="*/ 943535 h 1344613"/>
              <a:gd name="connsiteX1756" fmla="*/ 898551 w 1317625"/>
              <a:gd name="connsiteY1756" fmla="*/ 941966 h 1344613"/>
              <a:gd name="connsiteX1757" fmla="*/ 897731 w 1317625"/>
              <a:gd name="connsiteY1757" fmla="*/ 940920 h 1344613"/>
              <a:gd name="connsiteX1758" fmla="*/ 895271 w 1317625"/>
              <a:gd name="connsiteY1758" fmla="*/ 937781 h 1344613"/>
              <a:gd name="connsiteX1759" fmla="*/ 891990 w 1317625"/>
              <a:gd name="connsiteY1759" fmla="*/ 934643 h 1344613"/>
              <a:gd name="connsiteX1760" fmla="*/ 888299 w 1317625"/>
              <a:gd name="connsiteY1760" fmla="*/ 931505 h 1344613"/>
              <a:gd name="connsiteX1761" fmla="*/ 885428 w 1317625"/>
              <a:gd name="connsiteY1761" fmla="*/ 928367 h 1344613"/>
              <a:gd name="connsiteX1762" fmla="*/ 882968 w 1317625"/>
              <a:gd name="connsiteY1762" fmla="*/ 925751 h 1344613"/>
              <a:gd name="connsiteX1763" fmla="*/ 881327 w 1317625"/>
              <a:gd name="connsiteY1763" fmla="*/ 923136 h 1344613"/>
              <a:gd name="connsiteX1764" fmla="*/ 879277 w 1317625"/>
              <a:gd name="connsiteY1764" fmla="*/ 915813 h 1344613"/>
              <a:gd name="connsiteX1765" fmla="*/ 877226 w 1317625"/>
              <a:gd name="connsiteY1765" fmla="*/ 907445 h 1344613"/>
              <a:gd name="connsiteX1766" fmla="*/ 875176 w 1317625"/>
              <a:gd name="connsiteY1766" fmla="*/ 898553 h 1344613"/>
              <a:gd name="connsiteX1767" fmla="*/ 873125 w 1317625"/>
              <a:gd name="connsiteY1767" fmla="*/ 891230 h 1344613"/>
              <a:gd name="connsiteX1768" fmla="*/ 874766 w 1317625"/>
              <a:gd name="connsiteY1768" fmla="*/ 887569 h 1344613"/>
              <a:gd name="connsiteX1769" fmla="*/ 876406 w 1317625"/>
              <a:gd name="connsiteY1769" fmla="*/ 883908 h 1344613"/>
              <a:gd name="connsiteX1770" fmla="*/ 877226 w 1317625"/>
              <a:gd name="connsiteY1770" fmla="*/ 880769 h 1344613"/>
              <a:gd name="connsiteX1771" fmla="*/ 878046 w 1317625"/>
              <a:gd name="connsiteY1771" fmla="*/ 877631 h 1344613"/>
              <a:gd name="connsiteX1772" fmla="*/ 878867 w 1317625"/>
              <a:gd name="connsiteY1772" fmla="*/ 871355 h 1344613"/>
              <a:gd name="connsiteX1773" fmla="*/ 879277 w 1317625"/>
              <a:gd name="connsiteY1773" fmla="*/ 866124 h 1344613"/>
              <a:gd name="connsiteX1774" fmla="*/ 879277 w 1317625"/>
              <a:gd name="connsiteY1774" fmla="*/ 863509 h 1344613"/>
              <a:gd name="connsiteX1775" fmla="*/ 879687 w 1317625"/>
              <a:gd name="connsiteY1775" fmla="*/ 861940 h 1344613"/>
              <a:gd name="connsiteX1776" fmla="*/ 880917 w 1317625"/>
              <a:gd name="connsiteY1776" fmla="*/ 859847 h 1344613"/>
              <a:gd name="connsiteX1777" fmla="*/ 881737 w 1317625"/>
              <a:gd name="connsiteY1777" fmla="*/ 858278 h 1344613"/>
              <a:gd name="connsiteX1778" fmla="*/ 882968 w 1317625"/>
              <a:gd name="connsiteY1778" fmla="*/ 857232 h 1344613"/>
              <a:gd name="connsiteX1779" fmla="*/ 884198 w 1317625"/>
              <a:gd name="connsiteY1779" fmla="*/ 856186 h 1344613"/>
              <a:gd name="connsiteX1780" fmla="*/ 886659 w 1317625"/>
              <a:gd name="connsiteY1780" fmla="*/ 855663 h 1344613"/>
              <a:gd name="connsiteX1781" fmla="*/ 889119 w 1317625"/>
              <a:gd name="connsiteY1781" fmla="*/ 855663 h 1344613"/>
              <a:gd name="connsiteX1782" fmla="*/ 890760 w 1317625"/>
              <a:gd name="connsiteY1782" fmla="*/ 856186 h 1344613"/>
              <a:gd name="connsiteX1783" fmla="*/ 890957 w 1317625"/>
              <a:gd name="connsiteY1783" fmla="*/ 856312 h 1344613"/>
              <a:gd name="connsiteX1784" fmla="*/ 890329 w 1317625"/>
              <a:gd name="connsiteY1784" fmla="*/ 855372 h 1344613"/>
              <a:gd name="connsiteX1785" fmla="*/ 889013 w 1317625"/>
              <a:gd name="connsiteY1785" fmla="*/ 853796 h 1344613"/>
              <a:gd name="connsiteX1786" fmla="*/ 887257 w 1317625"/>
              <a:gd name="connsiteY1786" fmla="*/ 853270 h 1344613"/>
              <a:gd name="connsiteX1787" fmla="*/ 884624 w 1317625"/>
              <a:gd name="connsiteY1787" fmla="*/ 853270 h 1344613"/>
              <a:gd name="connsiteX1788" fmla="*/ 881992 w 1317625"/>
              <a:gd name="connsiteY1788" fmla="*/ 853796 h 1344613"/>
              <a:gd name="connsiteX1789" fmla="*/ 880675 w 1317625"/>
              <a:gd name="connsiteY1789" fmla="*/ 854847 h 1344613"/>
              <a:gd name="connsiteX1790" fmla="*/ 879359 w 1317625"/>
              <a:gd name="connsiteY1790" fmla="*/ 855897 h 1344613"/>
              <a:gd name="connsiteX1791" fmla="*/ 878481 w 1317625"/>
              <a:gd name="connsiteY1791" fmla="*/ 857474 h 1344613"/>
              <a:gd name="connsiteX1792" fmla="*/ 877164 w 1317625"/>
              <a:gd name="connsiteY1792" fmla="*/ 859575 h 1344613"/>
              <a:gd name="connsiteX1793" fmla="*/ 876726 w 1317625"/>
              <a:gd name="connsiteY1793" fmla="*/ 861152 h 1344613"/>
              <a:gd name="connsiteX1794" fmla="*/ 876726 w 1317625"/>
              <a:gd name="connsiteY1794" fmla="*/ 863779 h 1344613"/>
              <a:gd name="connsiteX1795" fmla="*/ 876287 w 1317625"/>
              <a:gd name="connsiteY1795" fmla="*/ 869033 h 1344613"/>
              <a:gd name="connsiteX1796" fmla="*/ 875409 w 1317625"/>
              <a:gd name="connsiteY1796" fmla="*/ 874813 h 1344613"/>
              <a:gd name="connsiteX1797" fmla="*/ 874532 w 1317625"/>
              <a:gd name="connsiteY1797" fmla="*/ 878491 h 1344613"/>
              <a:gd name="connsiteX1798" fmla="*/ 873654 w 1317625"/>
              <a:gd name="connsiteY1798" fmla="*/ 881644 h 1344613"/>
              <a:gd name="connsiteX1799" fmla="*/ 871899 w 1317625"/>
              <a:gd name="connsiteY1799" fmla="*/ 885322 h 1344613"/>
              <a:gd name="connsiteX1800" fmla="*/ 870143 w 1317625"/>
              <a:gd name="connsiteY1800" fmla="*/ 889000 h 1344613"/>
              <a:gd name="connsiteX1801" fmla="*/ 868827 w 1317625"/>
              <a:gd name="connsiteY1801" fmla="*/ 877440 h 1344613"/>
              <a:gd name="connsiteX1802" fmla="*/ 867072 w 1317625"/>
              <a:gd name="connsiteY1802" fmla="*/ 867457 h 1344613"/>
              <a:gd name="connsiteX1803" fmla="*/ 865755 w 1317625"/>
              <a:gd name="connsiteY1803" fmla="*/ 862728 h 1344613"/>
              <a:gd name="connsiteX1804" fmla="*/ 863122 w 1317625"/>
              <a:gd name="connsiteY1804" fmla="*/ 859050 h 1344613"/>
              <a:gd name="connsiteX1805" fmla="*/ 861806 w 1317625"/>
              <a:gd name="connsiteY1805" fmla="*/ 857474 h 1344613"/>
              <a:gd name="connsiteX1806" fmla="*/ 860489 w 1317625"/>
              <a:gd name="connsiteY1806" fmla="*/ 855897 h 1344613"/>
              <a:gd name="connsiteX1807" fmla="*/ 857856 w 1317625"/>
              <a:gd name="connsiteY1807" fmla="*/ 854321 h 1344613"/>
              <a:gd name="connsiteX1808" fmla="*/ 855662 w 1317625"/>
              <a:gd name="connsiteY1808" fmla="*/ 853270 h 1344613"/>
              <a:gd name="connsiteX1809" fmla="*/ 855662 w 1317625"/>
              <a:gd name="connsiteY1809" fmla="*/ 852395 h 1344613"/>
              <a:gd name="connsiteX1810" fmla="*/ 832397 w 1317625"/>
              <a:gd name="connsiteY1810" fmla="*/ 842694 h 1344613"/>
              <a:gd name="connsiteX1811" fmla="*/ 829197 w 1317625"/>
              <a:gd name="connsiteY1811" fmla="*/ 842963 h 1344613"/>
              <a:gd name="connsiteX1812" fmla="*/ 822238 w 1317625"/>
              <a:gd name="connsiteY1812" fmla="*/ 842963 h 1344613"/>
              <a:gd name="connsiteX1813" fmla="*/ 819194 w 1317625"/>
              <a:gd name="connsiteY1813" fmla="*/ 842963 h 1344613"/>
              <a:gd name="connsiteX1814" fmla="*/ 816149 w 1317625"/>
              <a:gd name="connsiteY1814" fmla="*/ 842451 h 1344613"/>
              <a:gd name="connsiteX1815" fmla="*/ 813105 w 1317625"/>
              <a:gd name="connsiteY1815" fmla="*/ 841425 h 1344613"/>
              <a:gd name="connsiteX1816" fmla="*/ 809625 w 1317625"/>
              <a:gd name="connsiteY1816" fmla="*/ 839375 h 1344613"/>
              <a:gd name="connsiteX1817" fmla="*/ 806581 w 1317625"/>
              <a:gd name="connsiteY1817" fmla="*/ 837838 h 1344613"/>
              <a:gd name="connsiteX1818" fmla="*/ 804406 w 1317625"/>
              <a:gd name="connsiteY1818" fmla="*/ 835787 h 1344613"/>
              <a:gd name="connsiteX1819" fmla="*/ 802666 w 1317625"/>
              <a:gd name="connsiteY1819" fmla="*/ 832712 h 1344613"/>
              <a:gd name="connsiteX1820" fmla="*/ 801362 w 1317625"/>
              <a:gd name="connsiteY1820" fmla="*/ 830149 h 1344613"/>
              <a:gd name="connsiteX1821" fmla="*/ 800057 w 1317625"/>
              <a:gd name="connsiteY1821" fmla="*/ 827074 h 1344613"/>
              <a:gd name="connsiteX1822" fmla="*/ 798752 w 1317625"/>
              <a:gd name="connsiteY1822" fmla="*/ 824511 h 1344613"/>
              <a:gd name="connsiteX1823" fmla="*/ 797012 w 1317625"/>
              <a:gd name="connsiteY1823" fmla="*/ 822461 h 1344613"/>
              <a:gd name="connsiteX1824" fmla="*/ 795273 w 1317625"/>
              <a:gd name="connsiteY1824" fmla="*/ 820923 h 1344613"/>
              <a:gd name="connsiteX1825" fmla="*/ 790488 w 1317625"/>
              <a:gd name="connsiteY1825" fmla="*/ 811697 h 1344613"/>
              <a:gd name="connsiteX1826" fmla="*/ 785704 w 1317625"/>
              <a:gd name="connsiteY1826" fmla="*/ 802984 h 1344613"/>
              <a:gd name="connsiteX1827" fmla="*/ 780920 w 1317625"/>
              <a:gd name="connsiteY1827" fmla="*/ 794783 h 1344613"/>
              <a:gd name="connsiteX1828" fmla="*/ 775701 w 1317625"/>
              <a:gd name="connsiteY1828" fmla="*/ 786582 h 1344613"/>
              <a:gd name="connsiteX1829" fmla="*/ 772656 w 1317625"/>
              <a:gd name="connsiteY1829" fmla="*/ 782482 h 1344613"/>
              <a:gd name="connsiteX1830" fmla="*/ 770046 w 1317625"/>
              <a:gd name="connsiteY1830" fmla="*/ 779406 h 1344613"/>
              <a:gd name="connsiteX1831" fmla="*/ 767002 w 1317625"/>
              <a:gd name="connsiteY1831" fmla="*/ 776331 h 1344613"/>
              <a:gd name="connsiteX1832" fmla="*/ 765897 w 1317625"/>
              <a:gd name="connsiteY1832" fmla="*/ 775028 h 1344613"/>
              <a:gd name="connsiteX1833" fmla="*/ 760695 w 1317625"/>
              <a:gd name="connsiteY1833" fmla="*/ 773466 h 1344613"/>
              <a:gd name="connsiteX1834" fmla="*/ 752475 w 1317625"/>
              <a:gd name="connsiteY1834" fmla="*/ 771349 h 1344613"/>
              <a:gd name="connsiteX1835" fmla="*/ 752475 w 1317625"/>
              <a:gd name="connsiteY1835" fmla="*/ 767207 h 1344613"/>
              <a:gd name="connsiteX1836" fmla="*/ 751779 w 1317625"/>
              <a:gd name="connsiteY1836" fmla="*/ 767105 h 1344613"/>
              <a:gd name="connsiteX1837" fmla="*/ 750040 w 1317625"/>
              <a:gd name="connsiteY1837" fmla="*/ 764542 h 1344613"/>
              <a:gd name="connsiteX1838" fmla="*/ 747865 w 1317625"/>
              <a:gd name="connsiteY1838" fmla="*/ 761979 h 1344613"/>
              <a:gd name="connsiteX1839" fmla="*/ 746995 w 1317625"/>
              <a:gd name="connsiteY1839" fmla="*/ 760442 h 1344613"/>
              <a:gd name="connsiteX1840" fmla="*/ 746560 w 1317625"/>
              <a:gd name="connsiteY1840" fmla="*/ 758391 h 1344613"/>
              <a:gd name="connsiteX1841" fmla="*/ 746125 w 1317625"/>
              <a:gd name="connsiteY1841" fmla="*/ 756341 h 1344613"/>
              <a:gd name="connsiteX1842" fmla="*/ 746125 w 1317625"/>
              <a:gd name="connsiteY1842" fmla="*/ 753778 h 1344613"/>
              <a:gd name="connsiteX1843" fmla="*/ 752475 w 1317625"/>
              <a:gd name="connsiteY1843" fmla="*/ 755139 h 1344613"/>
              <a:gd name="connsiteX1844" fmla="*/ 752475 w 1317625"/>
              <a:gd name="connsiteY1844" fmla="*/ 753710 h 1344613"/>
              <a:gd name="connsiteX1845" fmla="*/ 752475 w 1317625"/>
              <a:gd name="connsiteY1845" fmla="*/ 743127 h 1344613"/>
              <a:gd name="connsiteX1846" fmla="*/ 752475 w 1317625"/>
              <a:gd name="connsiteY1846" fmla="*/ 731838 h 1344613"/>
              <a:gd name="connsiteX1847" fmla="*/ 757955 w 1317625"/>
              <a:gd name="connsiteY1847" fmla="*/ 731838 h 1344613"/>
              <a:gd name="connsiteX1848" fmla="*/ 761087 w 1317625"/>
              <a:gd name="connsiteY1848" fmla="*/ 731838 h 1344613"/>
              <a:gd name="connsiteX1849" fmla="*/ 764610 w 1317625"/>
              <a:gd name="connsiteY1849" fmla="*/ 731838 h 1344613"/>
              <a:gd name="connsiteX1850" fmla="*/ 768133 w 1317625"/>
              <a:gd name="connsiteY1850" fmla="*/ 731838 h 1344613"/>
              <a:gd name="connsiteX1851" fmla="*/ 772830 w 1317625"/>
              <a:gd name="connsiteY1851" fmla="*/ 731838 h 1344613"/>
              <a:gd name="connsiteX1852" fmla="*/ 777136 w 1317625"/>
              <a:gd name="connsiteY1852" fmla="*/ 730427 h 1344613"/>
              <a:gd name="connsiteX1853" fmla="*/ 781050 w 1317625"/>
              <a:gd name="connsiteY1853" fmla="*/ 729016 h 1344613"/>
              <a:gd name="connsiteX1854" fmla="*/ 784965 w 1317625"/>
              <a:gd name="connsiteY1854" fmla="*/ 726899 h 1344613"/>
              <a:gd name="connsiteX1855" fmla="*/ 791630 w 1317625"/>
              <a:gd name="connsiteY1855" fmla="*/ 722894 h 1344613"/>
              <a:gd name="connsiteX1856" fmla="*/ 791069 w 1317625"/>
              <a:gd name="connsiteY1856" fmla="*/ 723042 h 1344613"/>
              <a:gd name="connsiteX1857" fmla="*/ 783510 w 1317625"/>
              <a:gd name="connsiteY1857" fmla="*/ 726131 h 1344613"/>
              <a:gd name="connsiteX1858" fmla="*/ 779508 w 1317625"/>
              <a:gd name="connsiteY1858" fmla="*/ 727676 h 1344613"/>
              <a:gd name="connsiteX1859" fmla="*/ 775061 w 1317625"/>
              <a:gd name="connsiteY1859" fmla="*/ 728706 h 1344613"/>
              <a:gd name="connsiteX1860" fmla="*/ 770615 w 1317625"/>
              <a:gd name="connsiteY1860" fmla="*/ 730250 h 1344613"/>
              <a:gd name="connsiteX1861" fmla="*/ 765279 w 1317625"/>
              <a:gd name="connsiteY1861" fmla="*/ 730250 h 1344613"/>
              <a:gd name="connsiteX1862" fmla="*/ 760832 w 1317625"/>
              <a:gd name="connsiteY1862" fmla="*/ 730250 h 1344613"/>
              <a:gd name="connsiteX1863" fmla="*/ 755941 w 1317625"/>
              <a:gd name="connsiteY1863" fmla="*/ 730250 h 1344613"/>
              <a:gd name="connsiteX1864" fmla="*/ 750605 w 1317625"/>
              <a:gd name="connsiteY1864" fmla="*/ 730250 h 1344613"/>
              <a:gd name="connsiteX1865" fmla="*/ 747259 w 1317625"/>
              <a:gd name="connsiteY1865" fmla="*/ 730250 h 1344613"/>
              <a:gd name="connsiteX1866" fmla="*/ 746889 w 1317625"/>
              <a:gd name="connsiteY1866" fmla="*/ 736958 h 1344613"/>
              <a:gd name="connsiteX1867" fmla="*/ 746021 w 1317625"/>
              <a:gd name="connsiteY1867" fmla="*/ 743247 h 1344613"/>
              <a:gd name="connsiteX1868" fmla="*/ 744285 w 1317625"/>
              <a:gd name="connsiteY1868" fmla="*/ 748489 h 1344613"/>
              <a:gd name="connsiteX1869" fmla="*/ 742983 w 1317625"/>
              <a:gd name="connsiteY1869" fmla="*/ 753206 h 1344613"/>
              <a:gd name="connsiteX1870" fmla="*/ 742115 w 1317625"/>
              <a:gd name="connsiteY1870" fmla="*/ 757923 h 1344613"/>
              <a:gd name="connsiteX1871" fmla="*/ 742549 w 1317625"/>
              <a:gd name="connsiteY1871" fmla="*/ 762116 h 1344613"/>
              <a:gd name="connsiteX1872" fmla="*/ 742915 w 1317625"/>
              <a:gd name="connsiteY1872" fmla="*/ 763881 h 1344613"/>
              <a:gd name="connsiteX1873" fmla="*/ 742115 w 1317625"/>
              <a:gd name="connsiteY1873" fmla="*/ 763688 h 1344613"/>
              <a:gd name="connsiteX1874" fmla="*/ 739946 w 1317625"/>
              <a:gd name="connsiteY1874" fmla="*/ 763688 h 1344613"/>
              <a:gd name="connsiteX1875" fmla="*/ 738644 w 1317625"/>
              <a:gd name="connsiteY1875" fmla="*/ 763688 h 1344613"/>
              <a:gd name="connsiteX1876" fmla="*/ 737342 w 1317625"/>
              <a:gd name="connsiteY1876" fmla="*/ 763688 h 1344613"/>
              <a:gd name="connsiteX1877" fmla="*/ 736040 w 1317625"/>
              <a:gd name="connsiteY1877" fmla="*/ 763164 h 1344613"/>
              <a:gd name="connsiteX1878" fmla="*/ 735172 w 1317625"/>
              <a:gd name="connsiteY1878" fmla="*/ 762116 h 1344613"/>
              <a:gd name="connsiteX1879" fmla="*/ 733870 w 1317625"/>
              <a:gd name="connsiteY1879" fmla="*/ 760543 h 1344613"/>
              <a:gd name="connsiteX1880" fmla="*/ 732134 w 1317625"/>
              <a:gd name="connsiteY1880" fmla="*/ 758447 h 1344613"/>
              <a:gd name="connsiteX1881" fmla="*/ 731266 w 1317625"/>
              <a:gd name="connsiteY1881" fmla="*/ 755302 h 1344613"/>
              <a:gd name="connsiteX1882" fmla="*/ 730399 w 1317625"/>
              <a:gd name="connsiteY1882" fmla="*/ 751109 h 1344613"/>
              <a:gd name="connsiteX1883" fmla="*/ 722587 w 1317625"/>
              <a:gd name="connsiteY1883" fmla="*/ 753730 h 1344613"/>
              <a:gd name="connsiteX1884" fmla="*/ 717380 w 1317625"/>
              <a:gd name="connsiteY1884" fmla="*/ 755826 h 1344613"/>
              <a:gd name="connsiteX1885" fmla="*/ 715210 w 1317625"/>
              <a:gd name="connsiteY1885" fmla="*/ 757399 h 1344613"/>
              <a:gd name="connsiteX1886" fmla="*/ 713474 w 1317625"/>
              <a:gd name="connsiteY1886" fmla="*/ 758971 h 1344613"/>
              <a:gd name="connsiteX1887" fmla="*/ 712173 w 1317625"/>
              <a:gd name="connsiteY1887" fmla="*/ 760019 h 1344613"/>
              <a:gd name="connsiteX1888" fmla="*/ 711305 w 1317625"/>
              <a:gd name="connsiteY1888" fmla="*/ 761592 h 1344613"/>
              <a:gd name="connsiteX1889" fmla="*/ 710437 w 1317625"/>
              <a:gd name="connsiteY1889" fmla="*/ 764736 h 1344613"/>
              <a:gd name="connsiteX1890" fmla="*/ 710003 w 1317625"/>
              <a:gd name="connsiteY1890" fmla="*/ 768929 h 1344613"/>
              <a:gd name="connsiteX1891" fmla="*/ 710003 w 1317625"/>
              <a:gd name="connsiteY1891" fmla="*/ 774170 h 1344613"/>
              <a:gd name="connsiteX1892" fmla="*/ 710003 w 1317625"/>
              <a:gd name="connsiteY1892" fmla="*/ 780460 h 1344613"/>
              <a:gd name="connsiteX1893" fmla="*/ 710437 w 1317625"/>
              <a:gd name="connsiteY1893" fmla="*/ 787797 h 1344613"/>
              <a:gd name="connsiteX1894" fmla="*/ 711305 w 1317625"/>
              <a:gd name="connsiteY1894" fmla="*/ 794087 h 1344613"/>
              <a:gd name="connsiteX1895" fmla="*/ 713040 w 1317625"/>
              <a:gd name="connsiteY1895" fmla="*/ 799328 h 1344613"/>
              <a:gd name="connsiteX1896" fmla="*/ 715644 w 1317625"/>
              <a:gd name="connsiteY1896" fmla="*/ 804045 h 1344613"/>
              <a:gd name="connsiteX1897" fmla="*/ 716946 w 1317625"/>
              <a:gd name="connsiteY1897" fmla="*/ 806141 h 1344613"/>
              <a:gd name="connsiteX1898" fmla="*/ 718682 w 1317625"/>
              <a:gd name="connsiteY1898" fmla="*/ 807714 h 1344613"/>
              <a:gd name="connsiteX1899" fmla="*/ 720418 w 1317625"/>
              <a:gd name="connsiteY1899" fmla="*/ 809286 h 1344613"/>
              <a:gd name="connsiteX1900" fmla="*/ 722153 w 1317625"/>
              <a:gd name="connsiteY1900" fmla="*/ 810334 h 1344613"/>
              <a:gd name="connsiteX1901" fmla="*/ 724323 w 1317625"/>
              <a:gd name="connsiteY1901" fmla="*/ 811383 h 1344613"/>
              <a:gd name="connsiteX1902" fmla="*/ 726059 w 1317625"/>
              <a:gd name="connsiteY1902" fmla="*/ 811907 h 1344613"/>
              <a:gd name="connsiteX1903" fmla="*/ 727795 w 1317625"/>
              <a:gd name="connsiteY1903" fmla="*/ 812431 h 1344613"/>
              <a:gd name="connsiteX1904" fmla="*/ 730399 w 1317625"/>
              <a:gd name="connsiteY1904" fmla="*/ 812431 h 1344613"/>
              <a:gd name="connsiteX1905" fmla="*/ 730399 w 1317625"/>
              <a:gd name="connsiteY1905" fmla="*/ 814527 h 1344613"/>
              <a:gd name="connsiteX1906" fmla="*/ 731266 w 1317625"/>
              <a:gd name="connsiteY1906" fmla="*/ 817148 h 1344613"/>
              <a:gd name="connsiteX1907" fmla="*/ 732568 w 1317625"/>
              <a:gd name="connsiteY1907" fmla="*/ 819244 h 1344613"/>
              <a:gd name="connsiteX1908" fmla="*/ 734738 w 1317625"/>
              <a:gd name="connsiteY1908" fmla="*/ 821341 h 1344613"/>
              <a:gd name="connsiteX1909" fmla="*/ 739512 w 1317625"/>
              <a:gd name="connsiteY1909" fmla="*/ 825534 h 1344613"/>
              <a:gd name="connsiteX1910" fmla="*/ 745153 w 1317625"/>
              <a:gd name="connsiteY1910" fmla="*/ 829727 h 1344613"/>
              <a:gd name="connsiteX1911" fmla="*/ 755568 w 1317625"/>
              <a:gd name="connsiteY1911" fmla="*/ 837064 h 1344613"/>
              <a:gd name="connsiteX1912" fmla="*/ 761643 w 1317625"/>
              <a:gd name="connsiteY1912" fmla="*/ 841781 h 1344613"/>
              <a:gd name="connsiteX1913" fmla="*/ 793756 w 1317625"/>
              <a:gd name="connsiteY1913" fmla="*/ 874277 h 1344613"/>
              <a:gd name="connsiteX1914" fmla="*/ 795492 w 1317625"/>
              <a:gd name="connsiteY1914" fmla="*/ 877945 h 1344613"/>
              <a:gd name="connsiteX1915" fmla="*/ 798095 w 1317625"/>
              <a:gd name="connsiteY1915" fmla="*/ 881090 h 1344613"/>
              <a:gd name="connsiteX1916" fmla="*/ 800265 w 1317625"/>
              <a:gd name="connsiteY1916" fmla="*/ 883711 h 1344613"/>
              <a:gd name="connsiteX1917" fmla="*/ 803303 w 1317625"/>
              <a:gd name="connsiteY1917" fmla="*/ 885807 h 1344613"/>
              <a:gd name="connsiteX1918" fmla="*/ 806774 w 1317625"/>
              <a:gd name="connsiteY1918" fmla="*/ 886855 h 1344613"/>
              <a:gd name="connsiteX1919" fmla="*/ 810246 w 1317625"/>
              <a:gd name="connsiteY1919" fmla="*/ 887904 h 1344613"/>
              <a:gd name="connsiteX1920" fmla="*/ 814585 w 1317625"/>
              <a:gd name="connsiteY1920" fmla="*/ 887904 h 1344613"/>
              <a:gd name="connsiteX1921" fmla="*/ 819359 w 1317625"/>
              <a:gd name="connsiteY1921" fmla="*/ 887380 h 1344613"/>
              <a:gd name="connsiteX1922" fmla="*/ 820227 w 1317625"/>
              <a:gd name="connsiteY1922" fmla="*/ 888952 h 1344613"/>
              <a:gd name="connsiteX1923" fmla="*/ 821963 w 1317625"/>
              <a:gd name="connsiteY1923" fmla="*/ 891048 h 1344613"/>
              <a:gd name="connsiteX1924" fmla="*/ 823265 w 1317625"/>
              <a:gd name="connsiteY1924" fmla="*/ 893145 h 1344613"/>
              <a:gd name="connsiteX1925" fmla="*/ 825000 w 1317625"/>
              <a:gd name="connsiteY1925" fmla="*/ 895765 h 1344613"/>
              <a:gd name="connsiteX1926" fmla="*/ 830208 w 1317625"/>
              <a:gd name="connsiteY1926" fmla="*/ 900482 h 1344613"/>
              <a:gd name="connsiteX1927" fmla="*/ 835849 w 1317625"/>
              <a:gd name="connsiteY1927" fmla="*/ 905724 h 1344613"/>
              <a:gd name="connsiteX1928" fmla="*/ 841491 w 1317625"/>
              <a:gd name="connsiteY1928" fmla="*/ 909917 h 1344613"/>
              <a:gd name="connsiteX1929" fmla="*/ 846698 w 1317625"/>
              <a:gd name="connsiteY1929" fmla="*/ 913061 h 1344613"/>
              <a:gd name="connsiteX1930" fmla="*/ 851038 w 1317625"/>
              <a:gd name="connsiteY1930" fmla="*/ 915158 h 1344613"/>
              <a:gd name="connsiteX1931" fmla="*/ 854075 w 1317625"/>
              <a:gd name="connsiteY1931" fmla="*/ 916206 h 1344613"/>
              <a:gd name="connsiteX1932" fmla="*/ 853641 w 1317625"/>
              <a:gd name="connsiteY1932" fmla="*/ 919875 h 1344613"/>
              <a:gd name="connsiteX1933" fmla="*/ 852339 w 1317625"/>
              <a:gd name="connsiteY1933" fmla="*/ 924068 h 1344613"/>
              <a:gd name="connsiteX1934" fmla="*/ 850604 w 1317625"/>
              <a:gd name="connsiteY1934" fmla="*/ 928785 h 1344613"/>
              <a:gd name="connsiteX1935" fmla="*/ 848434 w 1317625"/>
              <a:gd name="connsiteY1935" fmla="*/ 932454 h 1344613"/>
              <a:gd name="connsiteX1936" fmla="*/ 842792 w 1317625"/>
              <a:gd name="connsiteY1936" fmla="*/ 922495 h 1344613"/>
              <a:gd name="connsiteX1937" fmla="*/ 838019 w 1317625"/>
              <a:gd name="connsiteY1937" fmla="*/ 921971 h 1344613"/>
              <a:gd name="connsiteX1938" fmla="*/ 833245 w 1317625"/>
              <a:gd name="connsiteY1938" fmla="*/ 920399 h 1344613"/>
              <a:gd name="connsiteX1939" fmla="*/ 831510 w 1317625"/>
              <a:gd name="connsiteY1939" fmla="*/ 919875 h 1344613"/>
              <a:gd name="connsiteX1940" fmla="*/ 829340 w 1317625"/>
              <a:gd name="connsiteY1940" fmla="*/ 918826 h 1344613"/>
              <a:gd name="connsiteX1941" fmla="*/ 828472 w 1317625"/>
              <a:gd name="connsiteY1941" fmla="*/ 917254 h 1344613"/>
              <a:gd name="connsiteX1942" fmla="*/ 828038 w 1317625"/>
              <a:gd name="connsiteY1942" fmla="*/ 916206 h 1344613"/>
              <a:gd name="connsiteX1943" fmla="*/ 823699 w 1317625"/>
              <a:gd name="connsiteY1943" fmla="*/ 916206 h 1344613"/>
              <a:gd name="connsiteX1944" fmla="*/ 819359 w 1317625"/>
              <a:gd name="connsiteY1944" fmla="*/ 916206 h 1344613"/>
              <a:gd name="connsiteX1945" fmla="*/ 819359 w 1317625"/>
              <a:gd name="connsiteY1945" fmla="*/ 919351 h 1344613"/>
              <a:gd name="connsiteX1946" fmla="*/ 819359 w 1317625"/>
              <a:gd name="connsiteY1946" fmla="*/ 923019 h 1344613"/>
              <a:gd name="connsiteX1947" fmla="*/ 819359 w 1317625"/>
              <a:gd name="connsiteY1947" fmla="*/ 927212 h 1344613"/>
              <a:gd name="connsiteX1948" fmla="*/ 819359 w 1317625"/>
              <a:gd name="connsiteY1948" fmla="*/ 932454 h 1344613"/>
              <a:gd name="connsiteX1949" fmla="*/ 819793 w 1317625"/>
              <a:gd name="connsiteY1949" fmla="*/ 936122 h 1344613"/>
              <a:gd name="connsiteX1950" fmla="*/ 821963 w 1317625"/>
              <a:gd name="connsiteY1950" fmla="*/ 940315 h 1344613"/>
              <a:gd name="connsiteX1951" fmla="*/ 822831 w 1317625"/>
              <a:gd name="connsiteY1951" fmla="*/ 942412 h 1344613"/>
              <a:gd name="connsiteX1952" fmla="*/ 824132 w 1317625"/>
              <a:gd name="connsiteY1952" fmla="*/ 943984 h 1344613"/>
              <a:gd name="connsiteX1953" fmla="*/ 826302 w 1317625"/>
              <a:gd name="connsiteY1953" fmla="*/ 945032 h 1344613"/>
              <a:gd name="connsiteX1954" fmla="*/ 828038 w 1317625"/>
              <a:gd name="connsiteY1954" fmla="*/ 945556 h 1344613"/>
              <a:gd name="connsiteX1955" fmla="*/ 826302 w 1317625"/>
              <a:gd name="connsiteY1955" fmla="*/ 950798 h 1344613"/>
              <a:gd name="connsiteX1956" fmla="*/ 823699 w 1317625"/>
              <a:gd name="connsiteY1956" fmla="*/ 957087 h 1344613"/>
              <a:gd name="connsiteX1957" fmla="*/ 822831 w 1317625"/>
              <a:gd name="connsiteY1957" fmla="*/ 960232 h 1344613"/>
              <a:gd name="connsiteX1958" fmla="*/ 821963 w 1317625"/>
              <a:gd name="connsiteY1958" fmla="*/ 962852 h 1344613"/>
              <a:gd name="connsiteX1959" fmla="*/ 820227 w 1317625"/>
              <a:gd name="connsiteY1959" fmla="*/ 964425 h 1344613"/>
              <a:gd name="connsiteX1960" fmla="*/ 819359 w 1317625"/>
              <a:gd name="connsiteY1960" fmla="*/ 964949 h 1344613"/>
              <a:gd name="connsiteX1961" fmla="*/ 817189 w 1317625"/>
              <a:gd name="connsiteY1961" fmla="*/ 973335 h 1344613"/>
              <a:gd name="connsiteX1962" fmla="*/ 814152 w 1317625"/>
              <a:gd name="connsiteY1962" fmla="*/ 980148 h 1344613"/>
              <a:gd name="connsiteX1963" fmla="*/ 812850 w 1317625"/>
              <a:gd name="connsiteY1963" fmla="*/ 983817 h 1344613"/>
              <a:gd name="connsiteX1964" fmla="*/ 811982 w 1317625"/>
              <a:gd name="connsiteY1964" fmla="*/ 986962 h 1344613"/>
              <a:gd name="connsiteX1965" fmla="*/ 811548 w 1317625"/>
              <a:gd name="connsiteY1965" fmla="*/ 990630 h 1344613"/>
              <a:gd name="connsiteX1966" fmla="*/ 810680 w 1317625"/>
              <a:gd name="connsiteY1966" fmla="*/ 993775 h 1344613"/>
              <a:gd name="connsiteX1967" fmla="*/ 805039 w 1317625"/>
              <a:gd name="connsiteY1967" fmla="*/ 992727 h 1344613"/>
              <a:gd name="connsiteX1968" fmla="*/ 798529 w 1317625"/>
              <a:gd name="connsiteY1968" fmla="*/ 990630 h 1344613"/>
              <a:gd name="connsiteX1969" fmla="*/ 793322 w 1317625"/>
              <a:gd name="connsiteY1969" fmla="*/ 988010 h 1344613"/>
              <a:gd name="connsiteX1970" fmla="*/ 790718 w 1317625"/>
              <a:gd name="connsiteY1970" fmla="*/ 986962 h 1344613"/>
              <a:gd name="connsiteX1971" fmla="*/ 792454 w 1317625"/>
              <a:gd name="connsiteY1971" fmla="*/ 983817 h 1344613"/>
              <a:gd name="connsiteX1972" fmla="*/ 794190 w 1317625"/>
              <a:gd name="connsiteY1972" fmla="*/ 980672 h 1344613"/>
              <a:gd name="connsiteX1973" fmla="*/ 796359 w 1317625"/>
              <a:gd name="connsiteY1973" fmla="*/ 978052 h 1344613"/>
              <a:gd name="connsiteX1974" fmla="*/ 798963 w 1317625"/>
              <a:gd name="connsiteY1974" fmla="*/ 975431 h 1344613"/>
              <a:gd name="connsiteX1975" fmla="*/ 801133 w 1317625"/>
              <a:gd name="connsiteY1975" fmla="*/ 972810 h 1344613"/>
              <a:gd name="connsiteX1976" fmla="*/ 803303 w 1317625"/>
              <a:gd name="connsiteY1976" fmla="*/ 969666 h 1344613"/>
              <a:gd name="connsiteX1977" fmla="*/ 804171 w 1317625"/>
              <a:gd name="connsiteY1977" fmla="*/ 968093 h 1344613"/>
              <a:gd name="connsiteX1978" fmla="*/ 804605 w 1317625"/>
              <a:gd name="connsiteY1978" fmla="*/ 965997 h 1344613"/>
              <a:gd name="connsiteX1979" fmla="*/ 805039 w 1317625"/>
              <a:gd name="connsiteY1979" fmla="*/ 963900 h 1344613"/>
              <a:gd name="connsiteX1980" fmla="*/ 805039 w 1317625"/>
              <a:gd name="connsiteY1980" fmla="*/ 961804 h 1344613"/>
              <a:gd name="connsiteX1981" fmla="*/ 804605 w 1317625"/>
              <a:gd name="connsiteY1981" fmla="*/ 957611 h 1344613"/>
              <a:gd name="connsiteX1982" fmla="*/ 804171 w 1317625"/>
              <a:gd name="connsiteY1982" fmla="*/ 953942 h 1344613"/>
              <a:gd name="connsiteX1983" fmla="*/ 803303 w 1317625"/>
              <a:gd name="connsiteY1983" fmla="*/ 950273 h 1344613"/>
              <a:gd name="connsiteX1984" fmla="*/ 802001 w 1317625"/>
              <a:gd name="connsiteY1984" fmla="*/ 946605 h 1344613"/>
              <a:gd name="connsiteX1985" fmla="*/ 798095 w 1317625"/>
              <a:gd name="connsiteY1985" fmla="*/ 939267 h 1344613"/>
              <a:gd name="connsiteX1986" fmla="*/ 793756 w 1317625"/>
              <a:gd name="connsiteY1986" fmla="*/ 932454 h 1344613"/>
              <a:gd name="connsiteX1987" fmla="*/ 788548 w 1317625"/>
              <a:gd name="connsiteY1987" fmla="*/ 926164 h 1344613"/>
              <a:gd name="connsiteX1988" fmla="*/ 783341 w 1317625"/>
              <a:gd name="connsiteY1988" fmla="*/ 920399 h 1344613"/>
              <a:gd name="connsiteX1989" fmla="*/ 778133 w 1317625"/>
              <a:gd name="connsiteY1989" fmla="*/ 916206 h 1344613"/>
              <a:gd name="connsiteX1990" fmla="*/ 773360 w 1317625"/>
              <a:gd name="connsiteY1990" fmla="*/ 913061 h 1344613"/>
              <a:gd name="connsiteX1991" fmla="*/ 770322 w 1317625"/>
              <a:gd name="connsiteY1991" fmla="*/ 912537 h 1344613"/>
              <a:gd name="connsiteX1992" fmla="*/ 767285 w 1317625"/>
              <a:gd name="connsiteY1992" fmla="*/ 911489 h 1344613"/>
              <a:gd name="connsiteX1993" fmla="*/ 764681 w 1317625"/>
              <a:gd name="connsiteY1993" fmla="*/ 909917 h 1344613"/>
              <a:gd name="connsiteX1994" fmla="*/ 762077 w 1317625"/>
              <a:gd name="connsiteY1994" fmla="*/ 908868 h 1344613"/>
              <a:gd name="connsiteX1995" fmla="*/ 757304 w 1317625"/>
              <a:gd name="connsiteY1995" fmla="*/ 905724 h 1344613"/>
              <a:gd name="connsiteX1996" fmla="*/ 754266 w 1317625"/>
              <a:gd name="connsiteY1996" fmla="*/ 902055 h 1344613"/>
              <a:gd name="connsiteX1997" fmla="*/ 749059 w 1317625"/>
              <a:gd name="connsiteY1997" fmla="*/ 896289 h 1344613"/>
              <a:gd name="connsiteX1998" fmla="*/ 747323 w 1317625"/>
              <a:gd name="connsiteY1998" fmla="*/ 893669 h 1344613"/>
              <a:gd name="connsiteX1999" fmla="*/ 741247 w 1317625"/>
              <a:gd name="connsiteY1999" fmla="*/ 892097 h 1344613"/>
              <a:gd name="connsiteX2000" fmla="*/ 735606 w 1317625"/>
              <a:gd name="connsiteY2000" fmla="*/ 890524 h 1344613"/>
              <a:gd name="connsiteX2001" fmla="*/ 729965 w 1317625"/>
              <a:gd name="connsiteY2001" fmla="*/ 888428 h 1344613"/>
              <a:gd name="connsiteX2002" fmla="*/ 724757 w 1317625"/>
              <a:gd name="connsiteY2002" fmla="*/ 886331 h 1344613"/>
              <a:gd name="connsiteX2003" fmla="*/ 719550 w 1317625"/>
              <a:gd name="connsiteY2003" fmla="*/ 884235 h 1344613"/>
              <a:gd name="connsiteX2004" fmla="*/ 714776 w 1317625"/>
              <a:gd name="connsiteY2004" fmla="*/ 881614 h 1344613"/>
              <a:gd name="connsiteX2005" fmla="*/ 710437 w 1317625"/>
              <a:gd name="connsiteY2005" fmla="*/ 878470 h 1344613"/>
              <a:gd name="connsiteX2006" fmla="*/ 706097 w 1317625"/>
              <a:gd name="connsiteY2006" fmla="*/ 875849 h 1344613"/>
              <a:gd name="connsiteX2007" fmla="*/ 697852 w 1317625"/>
              <a:gd name="connsiteY2007" fmla="*/ 868511 h 1344613"/>
              <a:gd name="connsiteX2008" fmla="*/ 690909 w 1317625"/>
              <a:gd name="connsiteY2008" fmla="*/ 861698 h 1344613"/>
              <a:gd name="connsiteX2009" fmla="*/ 683966 w 1317625"/>
              <a:gd name="connsiteY2009" fmla="*/ 854360 h 1344613"/>
              <a:gd name="connsiteX2010" fmla="*/ 678324 w 1317625"/>
              <a:gd name="connsiteY2010" fmla="*/ 847023 h 1344613"/>
              <a:gd name="connsiteX2011" fmla="*/ 673551 w 1317625"/>
              <a:gd name="connsiteY2011" fmla="*/ 839161 h 1344613"/>
              <a:gd name="connsiteX2012" fmla="*/ 669211 w 1317625"/>
              <a:gd name="connsiteY2012" fmla="*/ 831823 h 1344613"/>
              <a:gd name="connsiteX2013" fmla="*/ 665740 w 1317625"/>
              <a:gd name="connsiteY2013" fmla="*/ 825010 h 1344613"/>
              <a:gd name="connsiteX2014" fmla="*/ 662702 w 1317625"/>
              <a:gd name="connsiteY2014" fmla="*/ 818196 h 1344613"/>
              <a:gd name="connsiteX2015" fmla="*/ 657928 w 1317625"/>
              <a:gd name="connsiteY2015" fmla="*/ 807190 h 1344613"/>
              <a:gd name="connsiteX2016" fmla="*/ 654891 w 1317625"/>
              <a:gd name="connsiteY2016" fmla="*/ 799852 h 1344613"/>
              <a:gd name="connsiteX2017" fmla="*/ 647513 w 1317625"/>
              <a:gd name="connsiteY2017" fmla="*/ 799852 h 1344613"/>
              <a:gd name="connsiteX2018" fmla="*/ 641872 w 1317625"/>
              <a:gd name="connsiteY2018" fmla="*/ 799852 h 1344613"/>
              <a:gd name="connsiteX2019" fmla="*/ 636665 w 1317625"/>
              <a:gd name="connsiteY2019" fmla="*/ 799852 h 1344613"/>
              <a:gd name="connsiteX2020" fmla="*/ 632325 w 1317625"/>
              <a:gd name="connsiteY2020" fmla="*/ 799852 h 1344613"/>
              <a:gd name="connsiteX2021" fmla="*/ 629721 w 1317625"/>
              <a:gd name="connsiteY2021" fmla="*/ 800376 h 1344613"/>
              <a:gd name="connsiteX2022" fmla="*/ 627986 w 1317625"/>
              <a:gd name="connsiteY2022" fmla="*/ 800376 h 1344613"/>
              <a:gd name="connsiteX2023" fmla="*/ 625382 w 1317625"/>
              <a:gd name="connsiteY2023" fmla="*/ 801424 h 1344613"/>
              <a:gd name="connsiteX2024" fmla="*/ 623212 w 1317625"/>
              <a:gd name="connsiteY2024" fmla="*/ 802473 h 1344613"/>
              <a:gd name="connsiteX2025" fmla="*/ 618005 w 1317625"/>
              <a:gd name="connsiteY2025" fmla="*/ 805093 h 1344613"/>
              <a:gd name="connsiteX2026" fmla="*/ 612363 w 1317625"/>
              <a:gd name="connsiteY2026" fmla="*/ 809286 h 1344613"/>
              <a:gd name="connsiteX2027" fmla="*/ 609759 w 1317625"/>
              <a:gd name="connsiteY2027" fmla="*/ 805617 h 1344613"/>
              <a:gd name="connsiteX2028" fmla="*/ 608458 w 1317625"/>
              <a:gd name="connsiteY2028" fmla="*/ 801949 h 1344613"/>
              <a:gd name="connsiteX2029" fmla="*/ 606288 w 1317625"/>
              <a:gd name="connsiteY2029" fmla="*/ 797756 h 1344613"/>
              <a:gd name="connsiteX2030" fmla="*/ 605420 w 1317625"/>
              <a:gd name="connsiteY2030" fmla="*/ 793039 h 1344613"/>
              <a:gd name="connsiteX2031" fmla="*/ 604552 w 1317625"/>
              <a:gd name="connsiteY2031" fmla="*/ 788846 h 1344613"/>
              <a:gd name="connsiteX2032" fmla="*/ 603684 w 1317625"/>
              <a:gd name="connsiteY2032" fmla="*/ 783604 h 1344613"/>
              <a:gd name="connsiteX2033" fmla="*/ 603684 w 1317625"/>
              <a:gd name="connsiteY2033" fmla="*/ 778887 h 1344613"/>
              <a:gd name="connsiteX2034" fmla="*/ 603250 w 1317625"/>
              <a:gd name="connsiteY2034" fmla="*/ 774170 h 1344613"/>
              <a:gd name="connsiteX2035" fmla="*/ 603684 w 1317625"/>
              <a:gd name="connsiteY2035" fmla="*/ 767881 h 1344613"/>
              <a:gd name="connsiteX2036" fmla="*/ 604552 w 1317625"/>
              <a:gd name="connsiteY2036" fmla="*/ 762640 h 1344613"/>
              <a:gd name="connsiteX2037" fmla="*/ 605420 w 1317625"/>
              <a:gd name="connsiteY2037" fmla="*/ 756350 h 1344613"/>
              <a:gd name="connsiteX2038" fmla="*/ 605538 w 1317625"/>
              <a:gd name="connsiteY2038" fmla="*/ 754063 h 1344613"/>
              <a:gd name="connsiteX2039" fmla="*/ 597432 w 1317625"/>
              <a:gd name="connsiteY2039" fmla="*/ 754063 h 1344613"/>
              <a:gd name="connsiteX2040" fmla="*/ 595328 w 1317625"/>
              <a:gd name="connsiteY2040" fmla="*/ 754063 h 1344613"/>
              <a:gd name="connsiteX2041" fmla="*/ 592804 w 1317625"/>
              <a:gd name="connsiteY2041" fmla="*/ 752265 h 1344613"/>
              <a:gd name="connsiteX2042" fmla="*/ 590280 w 1317625"/>
              <a:gd name="connsiteY2042" fmla="*/ 750467 h 1344613"/>
              <a:gd name="connsiteX2043" fmla="*/ 587335 w 1317625"/>
              <a:gd name="connsiteY2043" fmla="*/ 748669 h 1344613"/>
              <a:gd name="connsiteX2044" fmla="*/ 584811 w 1317625"/>
              <a:gd name="connsiteY2044" fmla="*/ 746271 h 1344613"/>
              <a:gd name="connsiteX2045" fmla="*/ 582708 w 1317625"/>
              <a:gd name="connsiteY2045" fmla="*/ 743874 h 1344613"/>
              <a:gd name="connsiteX2046" fmla="*/ 581446 w 1317625"/>
              <a:gd name="connsiteY2046" fmla="*/ 741476 h 1344613"/>
              <a:gd name="connsiteX2047" fmla="*/ 581025 w 1317625"/>
              <a:gd name="connsiteY2047" fmla="*/ 739678 h 1344613"/>
              <a:gd name="connsiteX2048" fmla="*/ 583129 w 1317625"/>
              <a:gd name="connsiteY2048" fmla="*/ 737880 h 1344613"/>
              <a:gd name="connsiteX2049" fmla="*/ 585232 w 1317625"/>
              <a:gd name="connsiteY2049" fmla="*/ 735483 h 1344613"/>
              <a:gd name="connsiteX2050" fmla="*/ 586915 w 1317625"/>
              <a:gd name="connsiteY2050" fmla="*/ 731287 h 1344613"/>
              <a:gd name="connsiteX2051" fmla="*/ 589439 w 1317625"/>
              <a:gd name="connsiteY2051" fmla="*/ 727092 h 1344613"/>
              <a:gd name="connsiteX2052" fmla="*/ 590701 w 1317625"/>
              <a:gd name="connsiteY2052" fmla="*/ 722297 h 1344613"/>
              <a:gd name="connsiteX2053" fmla="*/ 592384 w 1317625"/>
              <a:gd name="connsiteY2053" fmla="*/ 717502 h 1344613"/>
              <a:gd name="connsiteX2054" fmla="*/ 593646 w 1317625"/>
              <a:gd name="connsiteY2054" fmla="*/ 712107 h 1344613"/>
              <a:gd name="connsiteX2055" fmla="*/ 594908 w 1317625"/>
              <a:gd name="connsiteY2055" fmla="*/ 706713 h 1344613"/>
              <a:gd name="connsiteX2056" fmla="*/ 608790 w 1317625"/>
              <a:gd name="connsiteY2056" fmla="*/ 703716 h 1344613"/>
              <a:gd name="connsiteX2057" fmla="*/ 624356 w 1317625"/>
              <a:gd name="connsiteY2057" fmla="*/ 700719 h 1344613"/>
              <a:gd name="connsiteX2058" fmla="*/ 640530 w 1317625"/>
              <a:gd name="connsiteY2058" fmla="*/ 697976 h 1344613"/>
              <a:gd name="connsiteX2059" fmla="*/ 634953 w 1317625"/>
              <a:gd name="connsiteY2059" fmla="*/ 697976 h 1344613"/>
              <a:gd name="connsiteX2060" fmla="*/ 629118 w 1317625"/>
              <a:gd name="connsiteY2060" fmla="*/ 697976 h 1344613"/>
              <a:gd name="connsiteX2061" fmla="*/ 623282 w 1317625"/>
              <a:gd name="connsiteY2061" fmla="*/ 697976 h 1344613"/>
              <a:gd name="connsiteX2062" fmla="*/ 617030 w 1317625"/>
              <a:gd name="connsiteY2062" fmla="*/ 699032 h 1344613"/>
              <a:gd name="connsiteX2063" fmla="*/ 610778 w 1317625"/>
              <a:gd name="connsiteY2063" fmla="*/ 700088 h 1344613"/>
              <a:gd name="connsiteX2064" fmla="*/ 614946 w 1317625"/>
              <a:gd name="connsiteY2064" fmla="*/ 686360 h 1344613"/>
              <a:gd name="connsiteX2065" fmla="*/ 617864 w 1317625"/>
              <a:gd name="connsiteY2065" fmla="*/ 673160 h 1344613"/>
              <a:gd name="connsiteX2066" fmla="*/ 619531 w 1317625"/>
              <a:gd name="connsiteY2066" fmla="*/ 666297 h 1344613"/>
              <a:gd name="connsiteX2067" fmla="*/ 621198 w 1317625"/>
              <a:gd name="connsiteY2067" fmla="*/ 660489 h 1344613"/>
              <a:gd name="connsiteX2068" fmla="*/ 622449 w 1317625"/>
              <a:gd name="connsiteY2068" fmla="*/ 655209 h 1344613"/>
              <a:gd name="connsiteX2069" fmla="*/ 624950 w 1317625"/>
              <a:gd name="connsiteY2069" fmla="*/ 650985 h 1344613"/>
              <a:gd name="connsiteX2070" fmla="*/ 616613 w 1317625"/>
              <a:gd name="connsiteY2070" fmla="*/ 648345 h 1344613"/>
              <a:gd name="connsiteX2071" fmla="*/ 607860 w 1317625"/>
              <a:gd name="connsiteY2071" fmla="*/ 646761 h 1344613"/>
              <a:gd name="connsiteX2072" fmla="*/ 599941 w 1317625"/>
              <a:gd name="connsiteY2072" fmla="*/ 645177 h 1344613"/>
              <a:gd name="connsiteX2073" fmla="*/ 591605 w 1317625"/>
              <a:gd name="connsiteY2073" fmla="*/ 644649 h 1344613"/>
              <a:gd name="connsiteX2074" fmla="*/ 591605 w 1317625"/>
              <a:gd name="connsiteY2074" fmla="*/ 624585 h 1344613"/>
              <a:gd name="connsiteX2075" fmla="*/ 594106 w 1317625"/>
              <a:gd name="connsiteY2075" fmla="*/ 608217 h 1344613"/>
              <a:gd name="connsiteX2076" fmla="*/ 588687 w 1317625"/>
              <a:gd name="connsiteY2076" fmla="*/ 592377 h 1344613"/>
              <a:gd name="connsiteX2077" fmla="*/ 587020 w 1317625"/>
              <a:gd name="connsiteY2077" fmla="*/ 592905 h 1344613"/>
              <a:gd name="connsiteX2078" fmla="*/ 585353 w 1317625"/>
              <a:gd name="connsiteY2078" fmla="*/ 592905 h 1344613"/>
              <a:gd name="connsiteX2079" fmla="*/ 584102 w 1317625"/>
              <a:gd name="connsiteY2079" fmla="*/ 591849 h 1344613"/>
              <a:gd name="connsiteX2080" fmla="*/ 583269 w 1317625"/>
              <a:gd name="connsiteY2080" fmla="*/ 590265 h 1344613"/>
              <a:gd name="connsiteX2081" fmla="*/ 582435 w 1317625"/>
              <a:gd name="connsiteY2081" fmla="*/ 588681 h 1344613"/>
              <a:gd name="connsiteX2082" fmla="*/ 580768 w 1317625"/>
              <a:gd name="connsiteY2082" fmla="*/ 587625 h 1344613"/>
              <a:gd name="connsiteX2083" fmla="*/ 579517 w 1317625"/>
              <a:gd name="connsiteY2083" fmla="*/ 586569 h 1344613"/>
              <a:gd name="connsiteX2084" fmla="*/ 577850 w 1317625"/>
              <a:gd name="connsiteY2084" fmla="*/ 586042 h 1344613"/>
              <a:gd name="connsiteX2085" fmla="*/ 591605 w 1317625"/>
              <a:gd name="connsiteY2085" fmla="*/ 556474 h 1344613"/>
              <a:gd name="connsiteX2086" fmla="*/ 591605 w 1317625"/>
              <a:gd name="connsiteY2086" fmla="*/ 551194 h 1344613"/>
              <a:gd name="connsiteX2087" fmla="*/ 592022 w 1317625"/>
              <a:gd name="connsiteY2087" fmla="*/ 547498 h 1344613"/>
              <a:gd name="connsiteX2088" fmla="*/ 592438 w 1317625"/>
              <a:gd name="connsiteY2088" fmla="*/ 544330 h 1344613"/>
              <a:gd name="connsiteX2089" fmla="*/ 592855 w 1317625"/>
              <a:gd name="connsiteY2089" fmla="*/ 541690 h 1344613"/>
              <a:gd name="connsiteX2090" fmla="*/ 594106 w 1317625"/>
              <a:gd name="connsiteY2090" fmla="*/ 537994 h 1344613"/>
              <a:gd name="connsiteX2091" fmla="*/ 596606 w 1317625"/>
              <a:gd name="connsiteY2091" fmla="*/ 534826 h 1344613"/>
              <a:gd name="connsiteX2092" fmla="*/ 598274 w 1317625"/>
              <a:gd name="connsiteY2092" fmla="*/ 532186 h 1344613"/>
              <a:gd name="connsiteX2093" fmla="*/ 601191 w 1317625"/>
              <a:gd name="connsiteY2093" fmla="*/ 527962 h 1344613"/>
              <a:gd name="connsiteX2094" fmla="*/ 602025 w 1317625"/>
              <a:gd name="connsiteY2094" fmla="*/ 524794 h 1344613"/>
              <a:gd name="connsiteX2095" fmla="*/ 603275 w 1317625"/>
              <a:gd name="connsiteY2095" fmla="*/ 521098 h 1344613"/>
              <a:gd name="connsiteX2096" fmla="*/ 604109 w 1317625"/>
              <a:gd name="connsiteY2096" fmla="*/ 516346 h 1344613"/>
              <a:gd name="connsiteX2097" fmla="*/ 605359 w 1317625"/>
              <a:gd name="connsiteY2097" fmla="*/ 511066 h 1344613"/>
              <a:gd name="connsiteX2098" fmla="*/ 611195 w 1317625"/>
              <a:gd name="connsiteY2098" fmla="*/ 506315 h 1344613"/>
              <a:gd name="connsiteX2099" fmla="*/ 616613 w 1317625"/>
              <a:gd name="connsiteY2099" fmla="*/ 502091 h 1344613"/>
              <a:gd name="connsiteX2100" fmla="*/ 619114 w 1317625"/>
              <a:gd name="connsiteY2100" fmla="*/ 500507 h 1344613"/>
              <a:gd name="connsiteX2101" fmla="*/ 621615 w 1317625"/>
              <a:gd name="connsiteY2101" fmla="*/ 499451 h 1344613"/>
              <a:gd name="connsiteX2102" fmla="*/ 624533 w 1317625"/>
              <a:gd name="connsiteY2102" fmla="*/ 498395 h 1344613"/>
              <a:gd name="connsiteX2103" fmla="*/ 627450 w 1317625"/>
              <a:gd name="connsiteY2103" fmla="*/ 498395 h 1344613"/>
              <a:gd name="connsiteX2104" fmla="*/ 623699 w 1317625"/>
              <a:gd name="connsiteY2104" fmla="*/ 495227 h 1344613"/>
              <a:gd name="connsiteX2105" fmla="*/ 619948 w 1317625"/>
              <a:gd name="connsiteY2105" fmla="*/ 491003 h 1344613"/>
              <a:gd name="connsiteX2106" fmla="*/ 618697 w 1317625"/>
              <a:gd name="connsiteY2106" fmla="*/ 489419 h 1344613"/>
              <a:gd name="connsiteX2107" fmla="*/ 617447 w 1317625"/>
              <a:gd name="connsiteY2107" fmla="*/ 487835 h 1344613"/>
              <a:gd name="connsiteX2108" fmla="*/ 616613 w 1317625"/>
              <a:gd name="connsiteY2108" fmla="*/ 486251 h 1344613"/>
              <a:gd name="connsiteX2109" fmla="*/ 616613 w 1317625"/>
              <a:gd name="connsiteY2109" fmla="*/ 484667 h 1344613"/>
              <a:gd name="connsiteX2110" fmla="*/ 616613 w 1317625"/>
              <a:gd name="connsiteY2110" fmla="*/ 480443 h 1344613"/>
              <a:gd name="connsiteX2111" fmla="*/ 617030 w 1317625"/>
              <a:gd name="connsiteY2111" fmla="*/ 476747 h 1344613"/>
              <a:gd name="connsiteX2112" fmla="*/ 617447 w 1317625"/>
              <a:gd name="connsiteY2112" fmla="*/ 474107 h 1344613"/>
              <a:gd name="connsiteX2113" fmla="*/ 618697 w 1317625"/>
              <a:gd name="connsiteY2113" fmla="*/ 471467 h 1344613"/>
              <a:gd name="connsiteX2114" fmla="*/ 621198 w 1317625"/>
              <a:gd name="connsiteY2114" fmla="*/ 466715 h 1344613"/>
              <a:gd name="connsiteX2115" fmla="*/ 624245 w 1317625"/>
              <a:gd name="connsiteY2115" fmla="*/ 462856 h 1344613"/>
              <a:gd name="connsiteX2116" fmla="*/ 623490 w 1317625"/>
              <a:gd name="connsiteY2116" fmla="*/ 462553 h 1344613"/>
              <a:gd name="connsiteX2117" fmla="*/ 622181 w 1317625"/>
              <a:gd name="connsiteY2117" fmla="*/ 461502 h 1344613"/>
              <a:gd name="connsiteX2118" fmla="*/ 619561 w 1317625"/>
              <a:gd name="connsiteY2118" fmla="*/ 460976 h 1344613"/>
              <a:gd name="connsiteX2119" fmla="*/ 616505 w 1317625"/>
              <a:gd name="connsiteY2119" fmla="*/ 459399 h 1344613"/>
              <a:gd name="connsiteX2120" fmla="*/ 613013 w 1317625"/>
              <a:gd name="connsiteY2120" fmla="*/ 456771 h 1344613"/>
              <a:gd name="connsiteX2121" fmla="*/ 609957 w 1317625"/>
              <a:gd name="connsiteY2121" fmla="*/ 454143 h 1344613"/>
              <a:gd name="connsiteX2122" fmla="*/ 606464 w 1317625"/>
              <a:gd name="connsiteY2122" fmla="*/ 450464 h 1344613"/>
              <a:gd name="connsiteX2123" fmla="*/ 604282 w 1317625"/>
              <a:gd name="connsiteY2123" fmla="*/ 446785 h 1344613"/>
              <a:gd name="connsiteX2124" fmla="*/ 602972 w 1317625"/>
              <a:gd name="connsiteY2124" fmla="*/ 444683 h 1344613"/>
              <a:gd name="connsiteX2125" fmla="*/ 602535 w 1317625"/>
              <a:gd name="connsiteY2125" fmla="*/ 443106 h 1344613"/>
              <a:gd name="connsiteX2126" fmla="*/ 602099 w 1317625"/>
              <a:gd name="connsiteY2126" fmla="*/ 441004 h 1344613"/>
              <a:gd name="connsiteX2127" fmla="*/ 601662 w 1317625"/>
              <a:gd name="connsiteY2127" fmla="*/ 439427 h 1344613"/>
              <a:gd name="connsiteX2128" fmla="*/ 602535 w 1317625"/>
              <a:gd name="connsiteY2128" fmla="*/ 432068 h 1344613"/>
              <a:gd name="connsiteX2129" fmla="*/ 605155 w 1317625"/>
              <a:gd name="connsiteY2129" fmla="*/ 422608 h 1344613"/>
              <a:gd name="connsiteX2130" fmla="*/ 607774 w 1317625"/>
              <a:gd name="connsiteY2130" fmla="*/ 412096 h 1344613"/>
              <a:gd name="connsiteX2131" fmla="*/ 610393 w 1317625"/>
              <a:gd name="connsiteY2131" fmla="*/ 403161 h 1344613"/>
              <a:gd name="connsiteX2132" fmla="*/ 615632 w 1317625"/>
              <a:gd name="connsiteY2132" fmla="*/ 402635 h 1344613"/>
              <a:gd name="connsiteX2133" fmla="*/ 619998 w 1317625"/>
              <a:gd name="connsiteY2133" fmla="*/ 402110 h 1344613"/>
              <a:gd name="connsiteX2134" fmla="*/ 623927 w 1317625"/>
              <a:gd name="connsiteY2134" fmla="*/ 401058 h 1344613"/>
              <a:gd name="connsiteX2135" fmla="*/ 626983 w 1317625"/>
              <a:gd name="connsiteY2135" fmla="*/ 399482 h 1344613"/>
              <a:gd name="connsiteX2136" fmla="*/ 632222 w 1317625"/>
              <a:gd name="connsiteY2136" fmla="*/ 396328 h 1344613"/>
              <a:gd name="connsiteX2137" fmla="*/ 636588 w 1317625"/>
              <a:gd name="connsiteY2137" fmla="*/ 393700 h 1344613"/>
              <a:gd name="connsiteX2138" fmla="*/ 638770 w 1317625"/>
              <a:gd name="connsiteY2138" fmla="*/ 394751 h 1344613"/>
              <a:gd name="connsiteX2139" fmla="*/ 642263 w 1317625"/>
              <a:gd name="connsiteY2139" fmla="*/ 397379 h 1344613"/>
              <a:gd name="connsiteX2140" fmla="*/ 644446 w 1317625"/>
              <a:gd name="connsiteY2140" fmla="*/ 398956 h 1344613"/>
              <a:gd name="connsiteX2141" fmla="*/ 646192 w 1317625"/>
              <a:gd name="connsiteY2141" fmla="*/ 400533 h 1344613"/>
              <a:gd name="connsiteX2142" fmla="*/ 647938 w 1317625"/>
              <a:gd name="connsiteY2142" fmla="*/ 402110 h 1344613"/>
              <a:gd name="connsiteX2143" fmla="*/ 648375 w 1317625"/>
              <a:gd name="connsiteY2143" fmla="*/ 403161 h 1344613"/>
              <a:gd name="connsiteX2144" fmla="*/ 645319 w 1317625"/>
              <a:gd name="connsiteY2144" fmla="*/ 408417 h 1344613"/>
              <a:gd name="connsiteX2145" fmla="*/ 642263 w 1317625"/>
              <a:gd name="connsiteY2145" fmla="*/ 413147 h 1344613"/>
              <a:gd name="connsiteX2146" fmla="*/ 643136 w 1317625"/>
              <a:gd name="connsiteY2146" fmla="*/ 415775 h 1344613"/>
              <a:gd name="connsiteX2147" fmla="*/ 644446 w 1317625"/>
              <a:gd name="connsiteY2147" fmla="*/ 419454 h 1344613"/>
              <a:gd name="connsiteX2148" fmla="*/ 646192 w 1317625"/>
              <a:gd name="connsiteY2148" fmla="*/ 423133 h 1344613"/>
              <a:gd name="connsiteX2149" fmla="*/ 648375 w 1317625"/>
              <a:gd name="connsiteY2149" fmla="*/ 426813 h 1344613"/>
              <a:gd name="connsiteX2150" fmla="*/ 651867 w 1317625"/>
              <a:gd name="connsiteY2150" fmla="*/ 433120 h 1344613"/>
              <a:gd name="connsiteX2151" fmla="*/ 654050 w 1317625"/>
              <a:gd name="connsiteY2151" fmla="*/ 435222 h 1344613"/>
              <a:gd name="connsiteX2152" fmla="*/ 650994 w 1317625"/>
              <a:gd name="connsiteY2152" fmla="*/ 436273 h 1344613"/>
              <a:gd name="connsiteX2153" fmla="*/ 648375 w 1317625"/>
              <a:gd name="connsiteY2153" fmla="*/ 437850 h 1344613"/>
              <a:gd name="connsiteX2154" fmla="*/ 645319 w 1317625"/>
              <a:gd name="connsiteY2154" fmla="*/ 439427 h 1344613"/>
              <a:gd name="connsiteX2155" fmla="*/ 643573 w 1317625"/>
              <a:gd name="connsiteY2155" fmla="*/ 441529 h 1344613"/>
              <a:gd name="connsiteX2156" fmla="*/ 640953 w 1317625"/>
              <a:gd name="connsiteY2156" fmla="*/ 443632 h 1344613"/>
              <a:gd name="connsiteX2157" fmla="*/ 639644 w 1317625"/>
              <a:gd name="connsiteY2157" fmla="*/ 445734 h 1344613"/>
              <a:gd name="connsiteX2158" fmla="*/ 637461 w 1317625"/>
              <a:gd name="connsiteY2158" fmla="*/ 448362 h 1344613"/>
              <a:gd name="connsiteX2159" fmla="*/ 636588 w 1317625"/>
              <a:gd name="connsiteY2159" fmla="*/ 450990 h 1344613"/>
              <a:gd name="connsiteX2160" fmla="*/ 636213 w 1317625"/>
              <a:gd name="connsiteY2160" fmla="*/ 452116 h 1344613"/>
              <a:gd name="connsiteX2161" fmla="*/ 638175 w 1317625"/>
              <a:gd name="connsiteY2161" fmla="*/ 450879 h 1344613"/>
              <a:gd name="connsiteX2162" fmla="*/ 641562 w 1317625"/>
              <a:gd name="connsiteY2162" fmla="*/ 448743 h 1344613"/>
              <a:gd name="connsiteX2163" fmla="*/ 645795 w 1317625"/>
              <a:gd name="connsiteY2163" fmla="*/ 447675 h 1344613"/>
              <a:gd name="connsiteX2164" fmla="*/ 646219 w 1317625"/>
              <a:gd name="connsiteY2164" fmla="*/ 454083 h 1344613"/>
              <a:gd name="connsiteX2165" fmla="*/ 646642 w 1317625"/>
              <a:gd name="connsiteY2165" fmla="*/ 460491 h 1344613"/>
              <a:gd name="connsiteX2166" fmla="*/ 648335 w 1317625"/>
              <a:gd name="connsiteY2166" fmla="*/ 465830 h 1344613"/>
              <a:gd name="connsiteX2167" fmla="*/ 649605 w 1317625"/>
              <a:gd name="connsiteY2167" fmla="*/ 471170 h 1344613"/>
              <a:gd name="connsiteX2168" fmla="*/ 652920 w 1317625"/>
              <a:gd name="connsiteY2168" fmla="*/ 483716 h 1344613"/>
              <a:gd name="connsiteX2169" fmla="*/ 657044 w 1317625"/>
              <a:gd name="connsiteY2169" fmla="*/ 487307 h 1344613"/>
              <a:gd name="connsiteX2170" fmla="*/ 663296 w 1317625"/>
              <a:gd name="connsiteY2170" fmla="*/ 492587 h 1344613"/>
              <a:gd name="connsiteX2171" fmla="*/ 668051 w 1317625"/>
              <a:gd name="connsiteY2171" fmla="*/ 496602 h 1344613"/>
              <a:gd name="connsiteX2172" fmla="*/ 666334 w 1317625"/>
              <a:gd name="connsiteY2172" fmla="*/ 492434 h 1344613"/>
              <a:gd name="connsiteX2173" fmla="*/ 663367 w 1317625"/>
              <a:gd name="connsiteY2173" fmla="*/ 480729 h 1344613"/>
              <a:gd name="connsiteX2174" fmla="*/ 661884 w 1317625"/>
              <a:gd name="connsiteY2174" fmla="*/ 475326 h 1344613"/>
              <a:gd name="connsiteX2175" fmla="*/ 661389 w 1317625"/>
              <a:gd name="connsiteY2175" fmla="*/ 469924 h 1344613"/>
              <a:gd name="connsiteX2176" fmla="*/ 660895 w 1317625"/>
              <a:gd name="connsiteY2176" fmla="*/ 464522 h 1344613"/>
              <a:gd name="connsiteX2177" fmla="*/ 660400 w 1317625"/>
              <a:gd name="connsiteY2177" fmla="*/ 459120 h 1344613"/>
              <a:gd name="connsiteX2178" fmla="*/ 660400 w 1317625"/>
              <a:gd name="connsiteY2178" fmla="*/ 451016 h 1344613"/>
              <a:gd name="connsiteX2179" fmla="*/ 660400 w 1317625"/>
              <a:gd name="connsiteY2179" fmla="*/ 442913 h 1344613"/>
              <a:gd name="connsiteX2180" fmla="*/ 663367 w 1317625"/>
              <a:gd name="connsiteY2180" fmla="*/ 444714 h 1344613"/>
              <a:gd name="connsiteX2181" fmla="*/ 665345 w 1317625"/>
              <a:gd name="connsiteY2181" fmla="*/ 445614 h 1344613"/>
              <a:gd name="connsiteX2182" fmla="*/ 666828 w 1317625"/>
              <a:gd name="connsiteY2182" fmla="*/ 446515 h 1344613"/>
              <a:gd name="connsiteX2183" fmla="*/ 669301 w 1317625"/>
              <a:gd name="connsiteY2183" fmla="*/ 446515 h 1344613"/>
              <a:gd name="connsiteX2184" fmla="*/ 674245 w 1317625"/>
              <a:gd name="connsiteY2184" fmla="*/ 445614 h 1344613"/>
              <a:gd name="connsiteX2185" fmla="*/ 680673 w 1317625"/>
              <a:gd name="connsiteY2185" fmla="*/ 442913 h 1344613"/>
              <a:gd name="connsiteX2186" fmla="*/ 686607 w 1317625"/>
              <a:gd name="connsiteY2186" fmla="*/ 455518 h 1344613"/>
              <a:gd name="connsiteX2187" fmla="*/ 690562 w 1317625"/>
              <a:gd name="connsiteY2187" fmla="*/ 464522 h 1344613"/>
              <a:gd name="connsiteX2188" fmla="*/ 689573 w 1317625"/>
              <a:gd name="connsiteY2188" fmla="*/ 471725 h 1344613"/>
              <a:gd name="connsiteX2189" fmla="*/ 688584 w 1317625"/>
              <a:gd name="connsiteY2189" fmla="*/ 478928 h 1344613"/>
              <a:gd name="connsiteX2190" fmla="*/ 686607 w 1317625"/>
              <a:gd name="connsiteY2190" fmla="*/ 485231 h 1344613"/>
              <a:gd name="connsiteX2191" fmla="*/ 684134 w 1317625"/>
              <a:gd name="connsiteY2191" fmla="*/ 490633 h 1344613"/>
              <a:gd name="connsiteX2192" fmla="*/ 683320 w 1317625"/>
              <a:gd name="connsiteY2192" fmla="*/ 491868 h 1344613"/>
              <a:gd name="connsiteX2193" fmla="*/ 686220 w 1317625"/>
              <a:gd name="connsiteY2193" fmla="*/ 489419 h 1344613"/>
              <a:gd name="connsiteX2194" fmla="*/ 689555 w 1317625"/>
              <a:gd name="connsiteY2194" fmla="*/ 486779 h 1344613"/>
              <a:gd name="connsiteX2195" fmla="*/ 692889 w 1317625"/>
              <a:gd name="connsiteY2195" fmla="*/ 484139 h 1344613"/>
              <a:gd name="connsiteX2196" fmla="*/ 695390 w 1317625"/>
              <a:gd name="connsiteY2196" fmla="*/ 483083 h 1344613"/>
              <a:gd name="connsiteX2197" fmla="*/ 697474 w 1317625"/>
              <a:gd name="connsiteY2197" fmla="*/ 482555 h 1344613"/>
              <a:gd name="connsiteX2198" fmla="*/ 699975 w 1317625"/>
              <a:gd name="connsiteY2198" fmla="*/ 482027 h 1344613"/>
              <a:gd name="connsiteX2199" fmla="*/ 702059 w 1317625"/>
              <a:gd name="connsiteY2199" fmla="*/ 481499 h 1344613"/>
              <a:gd name="connsiteX2200" fmla="*/ 705810 w 1317625"/>
              <a:gd name="connsiteY2200" fmla="*/ 482027 h 1344613"/>
              <a:gd name="connsiteX2201" fmla="*/ 708728 w 1317625"/>
              <a:gd name="connsiteY2201" fmla="*/ 482027 h 1344613"/>
              <a:gd name="connsiteX2202" fmla="*/ 711229 w 1317625"/>
              <a:gd name="connsiteY2202" fmla="*/ 483083 h 1344613"/>
              <a:gd name="connsiteX2203" fmla="*/ 713730 w 1317625"/>
              <a:gd name="connsiteY2203" fmla="*/ 483611 h 1344613"/>
              <a:gd name="connsiteX2204" fmla="*/ 717481 w 1317625"/>
              <a:gd name="connsiteY2204" fmla="*/ 485723 h 1344613"/>
              <a:gd name="connsiteX2205" fmla="*/ 720399 w 1317625"/>
              <a:gd name="connsiteY2205" fmla="*/ 487835 h 1344613"/>
              <a:gd name="connsiteX2206" fmla="*/ 723316 w 1317625"/>
              <a:gd name="connsiteY2206" fmla="*/ 490475 h 1344613"/>
              <a:gd name="connsiteX2207" fmla="*/ 726234 w 1317625"/>
              <a:gd name="connsiteY2207" fmla="*/ 492587 h 1344613"/>
              <a:gd name="connsiteX2208" fmla="*/ 727484 w 1317625"/>
              <a:gd name="connsiteY2208" fmla="*/ 493643 h 1344613"/>
              <a:gd name="connsiteX2209" fmla="*/ 729152 w 1317625"/>
              <a:gd name="connsiteY2209" fmla="*/ 494171 h 1344613"/>
              <a:gd name="connsiteX2210" fmla="*/ 730819 w 1317625"/>
              <a:gd name="connsiteY2210" fmla="*/ 494699 h 1344613"/>
              <a:gd name="connsiteX2211" fmla="*/ 732903 w 1317625"/>
              <a:gd name="connsiteY2211" fmla="*/ 494699 h 1344613"/>
              <a:gd name="connsiteX2212" fmla="*/ 736237 w 1317625"/>
              <a:gd name="connsiteY2212" fmla="*/ 501035 h 1344613"/>
              <a:gd name="connsiteX2213" fmla="*/ 739155 w 1317625"/>
              <a:gd name="connsiteY2213" fmla="*/ 506842 h 1344613"/>
              <a:gd name="connsiteX2214" fmla="*/ 741656 w 1317625"/>
              <a:gd name="connsiteY2214" fmla="*/ 512122 h 1344613"/>
              <a:gd name="connsiteX2215" fmla="*/ 743740 w 1317625"/>
              <a:gd name="connsiteY2215" fmla="*/ 517930 h 1344613"/>
              <a:gd name="connsiteX2216" fmla="*/ 747908 w 1317625"/>
              <a:gd name="connsiteY2216" fmla="*/ 529546 h 1344613"/>
              <a:gd name="connsiteX2217" fmla="*/ 750826 w 1317625"/>
              <a:gd name="connsiteY2217" fmla="*/ 540106 h 1344613"/>
              <a:gd name="connsiteX2218" fmla="*/ 752910 w 1317625"/>
              <a:gd name="connsiteY2218" fmla="*/ 551194 h 1344613"/>
              <a:gd name="connsiteX2219" fmla="*/ 755411 w 1317625"/>
              <a:gd name="connsiteY2219" fmla="*/ 562282 h 1344613"/>
              <a:gd name="connsiteX2220" fmla="*/ 757495 w 1317625"/>
              <a:gd name="connsiteY2220" fmla="*/ 573898 h 1344613"/>
              <a:gd name="connsiteX2221" fmla="*/ 760412 w 1317625"/>
              <a:gd name="connsiteY2221" fmla="*/ 586042 h 1344613"/>
              <a:gd name="connsiteX2222" fmla="*/ 755827 w 1317625"/>
              <a:gd name="connsiteY2222" fmla="*/ 586569 h 1344613"/>
              <a:gd name="connsiteX2223" fmla="*/ 751242 w 1317625"/>
              <a:gd name="connsiteY2223" fmla="*/ 587097 h 1344613"/>
              <a:gd name="connsiteX2224" fmla="*/ 747491 w 1317625"/>
              <a:gd name="connsiteY2224" fmla="*/ 588681 h 1344613"/>
              <a:gd name="connsiteX2225" fmla="*/ 743740 w 1317625"/>
              <a:gd name="connsiteY2225" fmla="*/ 590265 h 1344613"/>
              <a:gd name="connsiteX2226" fmla="*/ 737488 w 1317625"/>
              <a:gd name="connsiteY2226" fmla="*/ 594489 h 1344613"/>
              <a:gd name="connsiteX2227" fmla="*/ 731652 w 1317625"/>
              <a:gd name="connsiteY2227" fmla="*/ 599241 h 1344613"/>
              <a:gd name="connsiteX2228" fmla="*/ 728735 w 1317625"/>
              <a:gd name="connsiteY2228" fmla="*/ 601353 h 1344613"/>
              <a:gd name="connsiteX2229" fmla="*/ 725400 w 1317625"/>
              <a:gd name="connsiteY2229" fmla="*/ 603465 h 1344613"/>
              <a:gd name="connsiteX2230" fmla="*/ 722066 w 1317625"/>
              <a:gd name="connsiteY2230" fmla="*/ 605049 h 1344613"/>
              <a:gd name="connsiteX2231" fmla="*/ 717898 w 1317625"/>
              <a:gd name="connsiteY2231" fmla="*/ 606105 h 1344613"/>
              <a:gd name="connsiteX2232" fmla="*/ 713730 w 1317625"/>
              <a:gd name="connsiteY2232" fmla="*/ 607161 h 1344613"/>
              <a:gd name="connsiteX2233" fmla="*/ 708728 w 1317625"/>
              <a:gd name="connsiteY2233" fmla="*/ 607161 h 1344613"/>
              <a:gd name="connsiteX2234" fmla="*/ 703310 w 1317625"/>
              <a:gd name="connsiteY2234" fmla="*/ 606633 h 1344613"/>
              <a:gd name="connsiteX2235" fmla="*/ 696641 w 1317625"/>
              <a:gd name="connsiteY2235" fmla="*/ 605049 h 1344613"/>
              <a:gd name="connsiteX2236" fmla="*/ 698758 w 1317625"/>
              <a:gd name="connsiteY2236" fmla="*/ 606838 h 1344613"/>
              <a:gd name="connsiteX2237" fmla="*/ 704016 w 1317625"/>
              <a:gd name="connsiteY2237" fmla="*/ 608013 h 1344613"/>
              <a:gd name="connsiteX2238" fmla="*/ 709788 w 1317625"/>
              <a:gd name="connsiteY2238" fmla="*/ 608542 h 1344613"/>
              <a:gd name="connsiteX2239" fmla="*/ 715116 w 1317625"/>
              <a:gd name="connsiteY2239" fmla="*/ 608542 h 1344613"/>
              <a:gd name="connsiteX2240" fmla="*/ 720000 w 1317625"/>
              <a:gd name="connsiteY2240" fmla="*/ 607484 h 1344613"/>
              <a:gd name="connsiteX2241" fmla="*/ 724440 w 1317625"/>
              <a:gd name="connsiteY2241" fmla="*/ 606425 h 1344613"/>
              <a:gd name="connsiteX2242" fmla="*/ 728880 w 1317625"/>
              <a:gd name="connsiteY2242" fmla="*/ 604838 h 1344613"/>
              <a:gd name="connsiteX2243" fmla="*/ 731988 w 1317625"/>
              <a:gd name="connsiteY2243" fmla="*/ 602721 h 1344613"/>
              <a:gd name="connsiteX2244" fmla="*/ 735540 w 1317625"/>
              <a:gd name="connsiteY2244" fmla="*/ 600604 h 1344613"/>
              <a:gd name="connsiteX2245" fmla="*/ 742200 w 1317625"/>
              <a:gd name="connsiteY2245" fmla="*/ 595842 h 1344613"/>
              <a:gd name="connsiteX2246" fmla="*/ 749748 w 1317625"/>
              <a:gd name="connsiteY2246" fmla="*/ 591608 h 1344613"/>
              <a:gd name="connsiteX2247" fmla="*/ 753744 w 1317625"/>
              <a:gd name="connsiteY2247" fmla="*/ 590021 h 1344613"/>
              <a:gd name="connsiteX2248" fmla="*/ 758184 w 1317625"/>
              <a:gd name="connsiteY2248" fmla="*/ 588433 h 1344613"/>
              <a:gd name="connsiteX2249" fmla="*/ 763068 w 1317625"/>
              <a:gd name="connsiteY2249" fmla="*/ 587904 h 1344613"/>
              <a:gd name="connsiteX2250" fmla="*/ 766543 w 1317625"/>
              <a:gd name="connsiteY2250" fmla="*/ 587490 h 1344613"/>
              <a:gd name="connsiteX2251" fmla="*/ 765279 w 1317625"/>
              <a:gd name="connsiteY2251" fmla="*/ 576357 h 1344613"/>
              <a:gd name="connsiteX2252" fmla="*/ 763094 w 1317625"/>
              <a:gd name="connsiteY2252" fmla="*/ 566392 h 1344613"/>
              <a:gd name="connsiteX2253" fmla="*/ 760909 w 1317625"/>
              <a:gd name="connsiteY2253" fmla="*/ 556951 h 1344613"/>
              <a:gd name="connsiteX2254" fmla="*/ 758724 w 1317625"/>
              <a:gd name="connsiteY2254" fmla="*/ 548035 h 1344613"/>
              <a:gd name="connsiteX2255" fmla="*/ 753918 w 1317625"/>
              <a:gd name="connsiteY2255" fmla="*/ 533349 h 1344613"/>
              <a:gd name="connsiteX2256" fmla="*/ 749111 w 1317625"/>
              <a:gd name="connsiteY2256" fmla="*/ 520761 h 1344613"/>
              <a:gd name="connsiteX2257" fmla="*/ 744742 w 1317625"/>
              <a:gd name="connsiteY2257" fmla="*/ 511845 h 1344613"/>
              <a:gd name="connsiteX2258" fmla="*/ 741246 w 1317625"/>
              <a:gd name="connsiteY2258" fmla="*/ 505551 h 1344613"/>
              <a:gd name="connsiteX2259" fmla="*/ 739061 w 1317625"/>
              <a:gd name="connsiteY2259" fmla="*/ 501880 h 1344613"/>
              <a:gd name="connsiteX2260" fmla="*/ 738187 w 1317625"/>
              <a:gd name="connsiteY2260" fmla="*/ 500831 h 1344613"/>
              <a:gd name="connsiteX2261" fmla="*/ 740372 w 1317625"/>
              <a:gd name="connsiteY2261" fmla="*/ 500307 h 1344613"/>
              <a:gd name="connsiteX2262" fmla="*/ 741683 w 1317625"/>
              <a:gd name="connsiteY2262" fmla="*/ 499258 h 1344613"/>
              <a:gd name="connsiteX2263" fmla="*/ 742994 w 1317625"/>
              <a:gd name="connsiteY2263" fmla="*/ 497684 h 1344613"/>
              <a:gd name="connsiteX2264" fmla="*/ 742994 w 1317625"/>
              <a:gd name="connsiteY2264" fmla="*/ 495062 h 1344613"/>
              <a:gd name="connsiteX2265" fmla="*/ 742994 w 1317625"/>
              <a:gd name="connsiteY2265" fmla="*/ 493488 h 1344613"/>
              <a:gd name="connsiteX2266" fmla="*/ 742994 w 1317625"/>
              <a:gd name="connsiteY2266" fmla="*/ 491915 h 1344613"/>
              <a:gd name="connsiteX2267" fmla="*/ 742994 w 1317625"/>
              <a:gd name="connsiteY2267" fmla="*/ 490866 h 1344613"/>
              <a:gd name="connsiteX2268" fmla="*/ 743868 w 1317625"/>
              <a:gd name="connsiteY2268" fmla="*/ 490341 h 1344613"/>
              <a:gd name="connsiteX2269" fmla="*/ 753044 w 1317625"/>
              <a:gd name="connsiteY2269" fmla="*/ 486146 h 1344613"/>
              <a:gd name="connsiteX2270" fmla="*/ 762220 w 1317625"/>
              <a:gd name="connsiteY2270" fmla="*/ 482474 h 1344613"/>
              <a:gd name="connsiteX2271" fmla="*/ 770085 w 1317625"/>
              <a:gd name="connsiteY2271" fmla="*/ 479852 h 1344613"/>
              <a:gd name="connsiteX2272" fmla="*/ 778387 w 1317625"/>
              <a:gd name="connsiteY2272" fmla="*/ 477229 h 1344613"/>
              <a:gd name="connsiteX2273" fmla="*/ 794118 w 1317625"/>
              <a:gd name="connsiteY2273" fmla="*/ 472509 h 1344613"/>
              <a:gd name="connsiteX2274" fmla="*/ 810285 w 1317625"/>
              <a:gd name="connsiteY2274" fmla="*/ 468313 h 1344613"/>
              <a:gd name="connsiteX2275" fmla="*/ 813781 w 1317625"/>
              <a:gd name="connsiteY2275" fmla="*/ 474082 h 1344613"/>
              <a:gd name="connsiteX2276" fmla="*/ 818150 w 1317625"/>
              <a:gd name="connsiteY2276" fmla="*/ 480376 h 1344613"/>
              <a:gd name="connsiteX2277" fmla="*/ 820335 w 1317625"/>
              <a:gd name="connsiteY2277" fmla="*/ 482999 h 1344613"/>
              <a:gd name="connsiteX2278" fmla="*/ 822957 w 1317625"/>
              <a:gd name="connsiteY2278" fmla="*/ 485097 h 1344613"/>
              <a:gd name="connsiteX2279" fmla="*/ 826015 w 1317625"/>
              <a:gd name="connsiteY2279" fmla="*/ 486670 h 1344613"/>
              <a:gd name="connsiteX2280" fmla="*/ 827763 w 1317625"/>
              <a:gd name="connsiteY2280" fmla="*/ 487194 h 1344613"/>
              <a:gd name="connsiteX2281" fmla="*/ 833881 w 1317625"/>
              <a:gd name="connsiteY2281" fmla="*/ 487194 h 1344613"/>
              <a:gd name="connsiteX2282" fmla="*/ 838687 w 1317625"/>
              <a:gd name="connsiteY2282" fmla="*/ 487194 h 1344613"/>
              <a:gd name="connsiteX2283" fmla="*/ 842620 w 1317625"/>
              <a:gd name="connsiteY2283" fmla="*/ 487194 h 1344613"/>
              <a:gd name="connsiteX2284" fmla="*/ 845679 w 1317625"/>
              <a:gd name="connsiteY2284" fmla="*/ 487194 h 1344613"/>
              <a:gd name="connsiteX2285" fmla="*/ 851359 w 1317625"/>
              <a:gd name="connsiteY2285" fmla="*/ 480901 h 1344613"/>
              <a:gd name="connsiteX2286" fmla="*/ 854072 w 1317625"/>
              <a:gd name="connsiteY2286" fmla="*/ 483907 h 1344613"/>
              <a:gd name="connsiteX2287" fmla="*/ 854075 w 1317625"/>
              <a:gd name="connsiteY2287" fmla="*/ 483899 h 1344613"/>
              <a:gd name="connsiteX2288" fmla="*/ 856932 w 1317625"/>
              <a:gd name="connsiteY2288" fmla="*/ 476423 h 1344613"/>
              <a:gd name="connsiteX2289" fmla="*/ 862171 w 1317625"/>
              <a:gd name="connsiteY2289" fmla="*/ 462540 h 1344613"/>
              <a:gd name="connsiteX2290" fmla="*/ 865028 w 1317625"/>
              <a:gd name="connsiteY2290" fmla="*/ 457200 h 1344613"/>
              <a:gd name="connsiteX2291" fmla="*/ 895797 w 1317625"/>
              <a:gd name="connsiteY2291" fmla="*/ 469558 h 1344613"/>
              <a:gd name="connsiteX2292" fmla="*/ 894851 w 1317625"/>
              <a:gd name="connsiteY2292" fmla="*/ 465537 h 1344613"/>
              <a:gd name="connsiteX2293" fmla="*/ 863600 w 1317625"/>
              <a:gd name="connsiteY2293" fmla="*/ 455766 h 1344613"/>
              <a:gd name="connsiteX2294" fmla="*/ 865290 w 1317625"/>
              <a:gd name="connsiteY2294" fmla="*/ 455224 h 1344613"/>
              <a:gd name="connsiteX2295" fmla="*/ 867401 w 1317625"/>
              <a:gd name="connsiteY2295" fmla="*/ 454681 h 1344613"/>
              <a:gd name="connsiteX2296" fmla="*/ 868668 w 1317625"/>
              <a:gd name="connsiteY2296" fmla="*/ 453052 h 1344613"/>
              <a:gd name="connsiteX2297" fmla="*/ 869935 w 1317625"/>
              <a:gd name="connsiteY2297" fmla="*/ 451424 h 1344613"/>
              <a:gd name="connsiteX2298" fmla="*/ 871202 w 1317625"/>
              <a:gd name="connsiteY2298" fmla="*/ 449795 h 1344613"/>
              <a:gd name="connsiteX2299" fmla="*/ 871624 w 1317625"/>
              <a:gd name="connsiteY2299" fmla="*/ 447624 h 1344613"/>
              <a:gd name="connsiteX2300" fmla="*/ 872047 w 1317625"/>
              <a:gd name="connsiteY2300" fmla="*/ 444910 h 1344613"/>
              <a:gd name="connsiteX2301" fmla="*/ 872047 w 1317625"/>
              <a:gd name="connsiteY2301" fmla="*/ 442739 h 1344613"/>
              <a:gd name="connsiteX2302" fmla="*/ 872047 w 1317625"/>
              <a:gd name="connsiteY2302" fmla="*/ 440567 h 1344613"/>
              <a:gd name="connsiteX2303" fmla="*/ 871624 w 1317625"/>
              <a:gd name="connsiteY2303" fmla="*/ 439482 h 1344613"/>
              <a:gd name="connsiteX2304" fmla="*/ 871202 w 1317625"/>
              <a:gd name="connsiteY2304" fmla="*/ 439482 h 1344613"/>
              <a:gd name="connsiteX2305" fmla="*/ 869935 w 1317625"/>
              <a:gd name="connsiteY2305" fmla="*/ 439482 h 1344613"/>
              <a:gd name="connsiteX2306" fmla="*/ 869090 w 1317625"/>
              <a:gd name="connsiteY2306" fmla="*/ 438939 h 1344613"/>
              <a:gd name="connsiteX2307" fmla="*/ 868246 w 1317625"/>
              <a:gd name="connsiteY2307" fmla="*/ 438939 h 1344613"/>
              <a:gd name="connsiteX2308" fmla="*/ 867401 w 1317625"/>
              <a:gd name="connsiteY2308" fmla="*/ 437853 h 1344613"/>
              <a:gd name="connsiteX2309" fmla="*/ 866556 w 1317625"/>
              <a:gd name="connsiteY2309" fmla="*/ 435139 h 1344613"/>
              <a:gd name="connsiteX2310" fmla="*/ 871202 w 1317625"/>
              <a:gd name="connsiteY2310" fmla="*/ 434053 h 1344613"/>
              <a:gd name="connsiteX2311" fmla="*/ 877959 w 1317625"/>
              <a:gd name="connsiteY2311" fmla="*/ 432968 h 1344613"/>
              <a:gd name="connsiteX2312" fmla="*/ 885983 w 1317625"/>
              <a:gd name="connsiteY2312" fmla="*/ 431882 h 1344613"/>
              <a:gd name="connsiteX2313" fmla="*/ 894851 w 1317625"/>
              <a:gd name="connsiteY2313" fmla="*/ 430796 h 1344613"/>
              <a:gd name="connsiteX2314" fmla="*/ 910055 w 1317625"/>
              <a:gd name="connsiteY2314" fmla="*/ 429168 h 1344613"/>
              <a:gd name="connsiteX2315" fmla="*/ 916812 w 1317625"/>
              <a:gd name="connsiteY2315" fmla="*/ 428625 h 1344613"/>
              <a:gd name="connsiteX2316" fmla="*/ 925258 w 1317625"/>
              <a:gd name="connsiteY2316" fmla="*/ 429168 h 1344613"/>
              <a:gd name="connsiteX2317" fmla="*/ 932437 w 1317625"/>
              <a:gd name="connsiteY2317" fmla="*/ 430254 h 1344613"/>
              <a:gd name="connsiteX2318" fmla="*/ 938350 w 1317625"/>
              <a:gd name="connsiteY2318" fmla="*/ 431882 h 1344613"/>
              <a:gd name="connsiteX2319" fmla="*/ 943418 w 1317625"/>
              <a:gd name="connsiteY2319" fmla="*/ 433510 h 1344613"/>
              <a:gd name="connsiteX2320" fmla="*/ 948908 w 1317625"/>
              <a:gd name="connsiteY2320" fmla="*/ 435682 h 1344613"/>
              <a:gd name="connsiteX2321" fmla="*/ 954820 w 1317625"/>
              <a:gd name="connsiteY2321" fmla="*/ 437853 h 1344613"/>
              <a:gd name="connsiteX2322" fmla="*/ 961577 w 1317625"/>
              <a:gd name="connsiteY2322" fmla="*/ 438939 h 1344613"/>
              <a:gd name="connsiteX2323" fmla="*/ 968907 w 1317625"/>
              <a:gd name="connsiteY2323" fmla="*/ 439387 h 1344613"/>
              <a:gd name="connsiteX2324" fmla="*/ 968907 w 1317625"/>
              <a:gd name="connsiteY2324" fmla="*/ 438372 h 1344613"/>
              <a:gd name="connsiteX2325" fmla="*/ 960154 w 1317625"/>
              <a:gd name="connsiteY2325" fmla="*/ 437855 h 1344613"/>
              <a:gd name="connsiteX2326" fmla="*/ 953152 w 1317625"/>
              <a:gd name="connsiteY2326" fmla="*/ 436821 h 1344613"/>
              <a:gd name="connsiteX2327" fmla="*/ 947900 w 1317625"/>
              <a:gd name="connsiteY2327" fmla="*/ 434754 h 1344613"/>
              <a:gd name="connsiteX2328" fmla="*/ 942649 w 1317625"/>
              <a:gd name="connsiteY2328" fmla="*/ 432686 h 1344613"/>
              <a:gd name="connsiteX2329" fmla="*/ 937835 w 1317625"/>
              <a:gd name="connsiteY2329" fmla="*/ 431136 h 1344613"/>
              <a:gd name="connsiteX2330" fmla="*/ 931708 w 1317625"/>
              <a:gd name="connsiteY2330" fmla="*/ 429585 h 1344613"/>
              <a:gd name="connsiteX2331" fmla="*/ 925143 w 1317625"/>
              <a:gd name="connsiteY2331" fmla="*/ 428551 h 1344613"/>
              <a:gd name="connsiteX2332" fmla="*/ 916391 w 1317625"/>
              <a:gd name="connsiteY2332" fmla="*/ 428034 h 1344613"/>
              <a:gd name="connsiteX2333" fmla="*/ 909826 w 1317625"/>
              <a:gd name="connsiteY2333" fmla="*/ 428551 h 1344613"/>
              <a:gd name="connsiteX2334" fmla="*/ 895384 w 1317625"/>
              <a:gd name="connsiteY2334" fmla="*/ 430102 h 1344613"/>
              <a:gd name="connsiteX2335" fmla="*/ 887069 w 1317625"/>
              <a:gd name="connsiteY2335" fmla="*/ 431136 h 1344613"/>
              <a:gd name="connsiteX2336" fmla="*/ 879629 w 1317625"/>
              <a:gd name="connsiteY2336" fmla="*/ 432169 h 1344613"/>
              <a:gd name="connsiteX2337" fmla="*/ 873940 w 1317625"/>
              <a:gd name="connsiteY2337" fmla="*/ 433203 h 1344613"/>
              <a:gd name="connsiteX2338" fmla="*/ 870001 w 1317625"/>
              <a:gd name="connsiteY2338" fmla="*/ 434237 h 1344613"/>
              <a:gd name="connsiteX2339" fmla="*/ 867813 w 1317625"/>
              <a:gd name="connsiteY2339" fmla="*/ 430619 h 1344613"/>
              <a:gd name="connsiteX2340" fmla="*/ 866500 w 1317625"/>
              <a:gd name="connsiteY2340" fmla="*/ 426484 h 1344613"/>
              <a:gd name="connsiteX2341" fmla="*/ 865625 w 1317625"/>
              <a:gd name="connsiteY2341" fmla="*/ 423383 h 1344613"/>
              <a:gd name="connsiteX2342" fmla="*/ 865187 w 1317625"/>
              <a:gd name="connsiteY2342" fmla="*/ 419765 h 1344613"/>
              <a:gd name="connsiteX2343" fmla="*/ 865187 w 1317625"/>
              <a:gd name="connsiteY2343" fmla="*/ 416663 h 1344613"/>
              <a:gd name="connsiteX2344" fmla="*/ 865625 w 1317625"/>
              <a:gd name="connsiteY2344" fmla="*/ 413562 h 1344613"/>
              <a:gd name="connsiteX2345" fmla="*/ 866500 w 1317625"/>
              <a:gd name="connsiteY2345" fmla="*/ 410461 h 1344613"/>
              <a:gd name="connsiteX2346" fmla="*/ 867375 w 1317625"/>
              <a:gd name="connsiteY2346" fmla="*/ 407877 h 1344613"/>
              <a:gd name="connsiteX2347" fmla="*/ 869126 w 1317625"/>
              <a:gd name="connsiteY2347" fmla="*/ 404776 h 1344613"/>
              <a:gd name="connsiteX2348" fmla="*/ 870439 w 1317625"/>
              <a:gd name="connsiteY2348" fmla="*/ 402191 h 1344613"/>
              <a:gd name="connsiteX2349" fmla="*/ 872189 w 1317625"/>
              <a:gd name="connsiteY2349" fmla="*/ 400124 h 1344613"/>
              <a:gd name="connsiteX2350" fmla="*/ 874378 w 1317625"/>
              <a:gd name="connsiteY2350" fmla="*/ 398056 h 1344613"/>
              <a:gd name="connsiteX2351" fmla="*/ 879192 w 1317625"/>
              <a:gd name="connsiteY2351" fmla="*/ 393922 h 1344613"/>
              <a:gd name="connsiteX2352" fmla="*/ 884443 w 1317625"/>
              <a:gd name="connsiteY2352" fmla="*/ 390304 h 1344613"/>
              <a:gd name="connsiteX2353" fmla="*/ 891445 w 1317625"/>
              <a:gd name="connsiteY2353" fmla="*/ 394438 h 1344613"/>
              <a:gd name="connsiteX2354" fmla="*/ 901949 w 1317625"/>
              <a:gd name="connsiteY2354" fmla="*/ 400641 h 1344613"/>
              <a:gd name="connsiteX2355" fmla="*/ 908075 w 1317625"/>
              <a:gd name="connsiteY2355" fmla="*/ 403742 h 1344613"/>
              <a:gd name="connsiteX2356" fmla="*/ 913765 w 1317625"/>
              <a:gd name="connsiteY2356" fmla="*/ 406326 h 1344613"/>
              <a:gd name="connsiteX2357" fmla="*/ 918579 w 1317625"/>
              <a:gd name="connsiteY2357" fmla="*/ 408911 h 1344613"/>
              <a:gd name="connsiteX2358" fmla="*/ 922517 w 1317625"/>
              <a:gd name="connsiteY2358" fmla="*/ 409427 h 1344613"/>
              <a:gd name="connsiteX2359" fmla="*/ 923830 w 1317625"/>
              <a:gd name="connsiteY2359" fmla="*/ 405809 h 1344613"/>
              <a:gd name="connsiteX2360" fmla="*/ 926456 w 1317625"/>
              <a:gd name="connsiteY2360" fmla="*/ 399090 h 1344613"/>
              <a:gd name="connsiteX2361" fmla="*/ 929520 w 1317625"/>
              <a:gd name="connsiteY2361" fmla="*/ 391854 h 1344613"/>
              <a:gd name="connsiteX2362" fmla="*/ 930833 w 1317625"/>
              <a:gd name="connsiteY2362" fmla="*/ 387202 h 1344613"/>
              <a:gd name="connsiteX2363" fmla="*/ 936084 w 1317625"/>
              <a:gd name="connsiteY2363" fmla="*/ 384618 h 1344613"/>
              <a:gd name="connsiteX2364" fmla="*/ 937260 w 1317625"/>
              <a:gd name="connsiteY2364" fmla="*/ 383924 h 1344613"/>
              <a:gd name="connsiteX2365" fmla="*/ 936454 w 1317625"/>
              <a:gd name="connsiteY2365" fmla="*/ 384114 h 1344613"/>
              <a:gd name="connsiteX2366" fmla="*/ 930018 w 1317625"/>
              <a:gd name="connsiteY2366" fmla="*/ 384618 h 1344613"/>
              <a:gd name="connsiteX2367" fmla="*/ 930447 w 1317625"/>
              <a:gd name="connsiteY2367" fmla="*/ 381591 h 1344613"/>
              <a:gd name="connsiteX2368" fmla="*/ 930447 w 1317625"/>
              <a:gd name="connsiteY2368" fmla="*/ 378564 h 1344613"/>
              <a:gd name="connsiteX2369" fmla="*/ 929589 w 1317625"/>
              <a:gd name="connsiteY2369" fmla="*/ 376545 h 1344613"/>
              <a:gd name="connsiteX2370" fmla="*/ 927873 w 1317625"/>
              <a:gd name="connsiteY2370" fmla="*/ 375032 h 1344613"/>
              <a:gd name="connsiteX2371" fmla="*/ 923153 w 1317625"/>
              <a:gd name="connsiteY2371" fmla="*/ 373013 h 1344613"/>
              <a:gd name="connsiteX2372" fmla="*/ 917575 w 1317625"/>
              <a:gd name="connsiteY2372" fmla="*/ 371500 h 1344613"/>
              <a:gd name="connsiteX2373" fmla="*/ 915001 w 1317625"/>
              <a:gd name="connsiteY2373" fmla="*/ 370491 h 1344613"/>
              <a:gd name="connsiteX2374" fmla="*/ 911998 w 1317625"/>
              <a:gd name="connsiteY2374" fmla="*/ 368977 h 1344613"/>
              <a:gd name="connsiteX2375" fmla="*/ 908994 w 1317625"/>
              <a:gd name="connsiteY2375" fmla="*/ 366959 h 1344613"/>
              <a:gd name="connsiteX2376" fmla="*/ 906849 w 1317625"/>
              <a:gd name="connsiteY2376" fmla="*/ 364436 h 1344613"/>
              <a:gd name="connsiteX2377" fmla="*/ 904275 w 1317625"/>
              <a:gd name="connsiteY2377" fmla="*/ 361409 h 1344613"/>
              <a:gd name="connsiteX2378" fmla="*/ 902987 w 1317625"/>
              <a:gd name="connsiteY2378" fmla="*/ 357877 h 1344613"/>
              <a:gd name="connsiteX2379" fmla="*/ 901700 w 1317625"/>
              <a:gd name="connsiteY2379" fmla="*/ 352831 h 1344613"/>
              <a:gd name="connsiteX2380" fmla="*/ 901700 w 1317625"/>
              <a:gd name="connsiteY2380" fmla="*/ 346777 h 1344613"/>
              <a:gd name="connsiteX2381" fmla="*/ 901700 w 1317625"/>
              <a:gd name="connsiteY2381" fmla="*/ 343245 h 1344613"/>
              <a:gd name="connsiteX2382" fmla="*/ 902558 w 1317625"/>
              <a:gd name="connsiteY2382" fmla="*/ 339713 h 1344613"/>
              <a:gd name="connsiteX2383" fmla="*/ 903846 w 1317625"/>
              <a:gd name="connsiteY2383" fmla="*/ 337190 h 1344613"/>
              <a:gd name="connsiteX2384" fmla="*/ 905991 w 1317625"/>
              <a:gd name="connsiteY2384" fmla="*/ 335172 h 1344613"/>
              <a:gd name="connsiteX2385" fmla="*/ 907707 w 1317625"/>
              <a:gd name="connsiteY2385" fmla="*/ 333154 h 1344613"/>
              <a:gd name="connsiteX2386" fmla="*/ 910710 w 1317625"/>
              <a:gd name="connsiteY2386" fmla="*/ 331640 h 1344613"/>
              <a:gd name="connsiteX2387" fmla="*/ 913285 w 1317625"/>
              <a:gd name="connsiteY2387" fmla="*/ 330631 h 1344613"/>
              <a:gd name="connsiteX2388" fmla="*/ 916288 w 1317625"/>
              <a:gd name="connsiteY2388" fmla="*/ 329622 h 1344613"/>
              <a:gd name="connsiteX2389" fmla="*/ 307385 w 1317625"/>
              <a:gd name="connsiteY2389" fmla="*/ 327025 h 1344613"/>
              <a:gd name="connsiteX2390" fmla="*/ 311262 w 1317625"/>
              <a:gd name="connsiteY2390" fmla="*/ 327546 h 1344613"/>
              <a:gd name="connsiteX2391" fmla="*/ 316000 w 1317625"/>
              <a:gd name="connsiteY2391" fmla="*/ 328067 h 1344613"/>
              <a:gd name="connsiteX2392" fmla="*/ 321601 w 1317625"/>
              <a:gd name="connsiteY2392" fmla="*/ 329630 h 1344613"/>
              <a:gd name="connsiteX2393" fmla="*/ 328924 w 1317625"/>
              <a:gd name="connsiteY2393" fmla="*/ 331193 h 1344613"/>
              <a:gd name="connsiteX2394" fmla="*/ 337109 w 1317625"/>
              <a:gd name="connsiteY2394" fmla="*/ 332756 h 1344613"/>
              <a:gd name="connsiteX2395" fmla="*/ 345724 w 1317625"/>
              <a:gd name="connsiteY2395" fmla="*/ 333798 h 1344613"/>
              <a:gd name="connsiteX2396" fmla="*/ 356494 w 1317625"/>
              <a:gd name="connsiteY2396" fmla="*/ 333798 h 1344613"/>
              <a:gd name="connsiteX2397" fmla="*/ 356494 w 1317625"/>
              <a:gd name="connsiteY2397" fmla="*/ 335882 h 1344613"/>
              <a:gd name="connsiteX2398" fmla="*/ 355632 w 1317625"/>
              <a:gd name="connsiteY2398" fmla="*/ 337445 h 1344613"/>
              <a:gd name="connsiteX2399" fmla="*/ 354770 w 1317625"/>
              <a:gd name="connsiteY2399" fmla="*/ 339008 h 1344613"/>
              <a:gd name="connsiteX2400" fmla="*/ 353909 w 1317625"/>
              <a:gd name="connsiteY2400" fmla="*/ 340571 h 1344613"/>
              <a:gd name="connsiteX2401" fmla="*/ 350893 w 1317625"/>
              <a:gd name="connsiteY2401" fmla="*/ 343697 h 1344613"/>
              <a:gd name="connsiteX2402" fmla="*/ 347447 w 1317625"/>
              <a:gd name="connsiteY2402" fmla="*/ 346302 h 1344613"/>
              <a:gd name="connsiteX2403" fmla="*/ 339262 w 1317625"/>
              <a:gd name="connsiteY2403" fmla="*/ 351512 h 1344613"/>
              <a:gd name="connsiteX2404" fmla="*/ 333232 w 1317625"/>
              <a:gd name="connsiteY2404" fmla="*/ 356722 h 1344613"/>
              <a:gd name="connsiteX2405" fmla="*/ 332801 w 1317625"/>
              <a:gd name="connsiteY2405" fmla="*/ 357764 h 1344613"/>
              <a:gd name="connsiteX2406" fmla="*/ 332370 w 1317625"/>
              <a:gd name="connsiteY2406" fmla="*/ 358806 h 1344613"/>
              <a:gd name="connsiteX2407" fmla="*/ 332370 w 1317625"/>
              <a:gd name="connsiteY2407" fmla="*/ 359327 h 1344613"/>
              <a:gd name="connsiteX2408" fmla="*/ 332801 w 1317625"/>
              <a:gd name="connsiteY2408" fmla="*/ 360369 h 1344613"/>
              <a:gd name="connsiteX2409" fmla="*/ 334093 w 1317625"/>
              <a:gd name="connsiteY2409" fmla="*/ 361411 h 1344613"/>
              <a:gd name="connsiteX2410" fmla="*/ 335385 w 1317625"/>
              <a:gd name="connsiteY2410" fmla="*/ 361932 h 1344613"/>
              <a:gd name="connsiteX2411" fmla="*/ 337970 w 1317625"/>
              <a:gd name="connsiteY2411" fmla="*/ 362974 h 1344613"/>
              <a:gd name="connsiteX2412" fmla="*/ 340986 w 1317625"/>
              <a:gd name="connsiteY2412" fmla="*/ 363495 h 1344613"/>
              <a:gd name="connsiteX2413" fmla="*/ 349170 w 1317625"/>
              <a:gd name="connsiteY2413" fmla="*/ 365058 h 1344613"/>
              <a:gd name="connsiteX2414" fmla="*/ 361232 w 1317625"/>
              <a:gd name="connsiteY2414" fmla="*/ 366621 h 1344613"/>
              <a:gd name="connsiteX2415" fmla="*/ 376740 w 1317625"/>
              <a:gd name="connsiteY2415" fmla="*/ 368184 h 1344613"/>
              <a:gd name="connsiteX2416" fmla="*/ 396556 w 1317625"/>
              <a:gd name="connsiteY2416" fmla="*/ 369226 h 1344613"/>
              <a:gd name="connsiteX2417" fmla="*/ 396556 w 1317625"/>
              <a:gd name="connsiteY2417" fmla="*/ 374436 h 1344613"/>
              <a:gd name="connsiteX2418" fmla="*/ 396556 w 1317625"/>
              <a:gd name="connsiteY2418" fmla="*/ 381729 h 1344613"/>
              <a:gd name="connsiteX2419" fmla="*/ 395264 w 1317625"/>
              <a:gd name="connsiteY2419" fmla="*/ 383813 h 1344613"/>
              <a:gd name="connsiteX2420" fmla="*/ 391817 w 1317625"/>
              <a:gd name="connsiteY2420" fmla="*/ 385376 h 1344613"/>
              <a:gd name="connsiteX2421" fmla="*/ 387079 w 1317625"/>
              <a:gd name="connsiteY2421" fmla="*/ 387460 h 1344613"/>
              <a:gd name="connsiteX2422" fmla="*/ 381910 w 1317625"/>
              <a:gd name="connsiteY2422" fmla="*/ 389544 h 1344613"/>
              <a:gd name="connsiteX2423" fmla="*/ 371140 w 1317625"/>
              <a:gd name="connsiteY2423" fmla="*/ 393191 h 1344613"/>
              <a:gd name="connsiteX2424" fmla="*/ 364678 w 1317625"/>
              <a:gd name="connsiteY2424" fmla="*/ 394754 h 1344613"/>
              <a:gd name="connsiteX2425" fmla="*/ 365971 w 1317625"/>
              <a:gd name="connsiteY2425" fmla="*/ 396317 h 1344613"/>
              <a:gd name="connsiteX2426" fmla="*/ 366832 w 1317625"/>
              <a:gd name="connsiteY2426" fmla="*/ 397880 h 1344613"/>
              <a:gd name="connsiteX2427" fmla="*/ 368125 w 1317625"/>
              <a:gd name="connsiteY2427" fmla="*/ 398922 h 1344613"/>
              <a:gd name="connsiteX2428" fmla="*/ 369417 w 1317625"/>
              <a:gd name="connsiteY2428" fmla="*/ 399964 h 1344613"/>
              <a:gd name="connsiteX2429" fmla="*/ 373725 w 1317625"/>
              <a:gd name="connsiteY2429" fmla="*/ 401006 h 1344613"/>
              <a:gd name="connsiteX2430" fmla="*/ 378033 w 1317625"/>
              <a:gd name="connsiteY2430" fmla="*/ 401527 h 1344613"/>
              <a:gd name="connsiteX2431" fmla="*/ 387079 w 1317625"/>
              <a:gd name="connsiteY2431" fmla="*/ 401527 h 1344613"/>
              <a:gd name="connsiteX2432" fmla="*/ 393541 w 1317625"/>
              <a:gd name="connsiteY2432" fmla="*/ 401006 h 1344613"/>
              <a:gd name="connsiteX2433" fmla="*/ 393541 w 1317625"/>
              <a:gd name="connsiteY2433" fmla="*/ 403611 h 1344613"/>
              <a:gd name="connsiteX2434" fmla="*/ 394402 w 1317625"/>
              <a:gd name="connsiteY2434" fmla="*/ 406216 h 1344613"/>
              <a:gd name="connsiteX2435" fmla="*/ 395694 w 1317625"/>
              <a:gd name="connsiteY2435" fmla="*/ 408300 h 1344613"/>
              <a:gd name="connsiteX2436" fmla="*/ 396987 w 1317625"/>
              <a:gd name="connsiteY2436" fmla="*/ 410905 h 1344613"/>
              <a:gd name="connsiteX2437" fmla="*/ 400864 w 1317625"/>
              <a:gd name="connsiteY2437" fmla="*/ 416636 h 1344613"/>
              <a:gd name="connsiteX2438" fmla="*/ 405172 w 1317625"/>
              <a:gd name="connsiteY2438" fmla="*/ 421846 h 1344613"/>
              <a:gd name="connsiteX2439" fmla="*/ 409479 w 1317625"/>
              <a:gd name="connsiteY2439" fmla="*/ 426535 h 1344613"/>
              <a:gd name="connsiteX2440" fmla="*/ 412495 w 1317625"/>
              <a:gd name="connsiteY2440" fmla="*/ 431224 h 1344613"/>
              <a:gd name="connsiteX2441" fmla="*/ 414218 w 1317625"/>
              <a:gd name="connsiteY2441" fmla="*/ 433829 h 1344613"/>
              <a:gd name="connsiteX2442" fmla="*/ 415510 w 1317625"/>
              <a:gd name="connsiteY2442" fmla="*/ 435913 h 1344613"/>
              <a:gd name="connsiteX2443" fmla="*/ 415941 w 1317625"/>
              <a:gd name="connsiteY2443" fmla="*/ 437476 h 1344613"/>
              <a:gd name="connsiteX2444" fmla="*/ 416372 w 1317625"/>
              <a:gd name="connsiteY2444" fmla="*/ 439560 h 1344613"/>
              <a:gd name="connsiteX2445" fmla="*/ 416372 w 1317625"/>
              <a:gd name="connsiteY2445" fmla="*/ 443207 h 1344613"/>
              <a:gd name="connsiteX2446" fmla="*/ 416803 w 1317625"/>
              <a:gd name="connsiteY2446" fmla="*/ 447896 h 1344613"/>
              <a:gd name="connsiteX2447" fmla="*/ 416803 w 1317625"/>
              <a:gd name="connsiteY2447" fmla="*/ 450501 h 1344613"/>
              <a:gd name="connsiteX2448" fmla="*/ 417664 w 1317625"/>
              <a:gd name="connsiteY2448" fmla="*/ 452585 h 1344613"/>
              <a:gd name="connsiteX2449" fmla="*/ 418095 w 1317625"/>
              <a:gd name="connsiteY2449" fmla="*/ 454148 h 1344613"/>
              <a:gd name="connsiteX2450" fmla="*/ 419387 w 1317625"/>
              <a:gd name="connsiteY2450" fmla="*/ 455711 h 1344613"/>
              <a:gd name="connsiteX2451" fmla="*/ 421972 w 1317625"/>
              <a:gd name="connsiteY2451" fmla="*/ 459358 h 1344613"/>
              <a:gd name="connsiteX2452" fmla="*/ 424126 w 1317625"/>
              <a:gd name="connsiteY2452" fmla="*/ 463005 h 1344613"/>
              <a:gd name="connsiteX2453" fmla="*/ 425418 w 1317625"/>
              <a:gd name="connsiteY2453" fmla="*/ 466131 h 1344613"/>
              <a:gd name="connsiteX2454" fmla="*/ 426711 w 1317625"/>
              <a:gd name="connsiteY2454" fmla="*/ 469256 h 1344613"/>
              <a:gd name="connsiteX2455" fmla="*/ 428003 w 1317625"/>
              <a:gd name="connsiteY2455" fmla="*/ 472382 h 1344613"/>
              <a:gd name="connsiteX2456" fmla="*/ 430157 w 1317625"/>
              <a:gd name="connsiteY2456" fmla="*/ 474987 h 1344613"/>
              <a:gd name="connsiteX2457" fmla="*/ 432741 w 1317625"/>
              <a:gd name="connsiteY2457" fmla="*/ 477071 h 1344613"/>
              <a:gd name="connsiteX2458" fmla="*/ 436188 w 1317625"/>
              <a:gd name="connsiteY2458" fmla="*/ 478634 h 1344613"/>
              <a:gd name="connsiteX2459" fmla="*/ 436618 w 1317625"/>
              <a:gd name="connsiteY2459" fmla="*/ 481760 h 1344613"/>
              <a:gd name="connsiteX2460" fmla="*/ 438342 w 1317625"/>
              <a:gd name="connsiteY2460" fmla="*/ 485407 h 1344613"/>
              <a:gd name="connsiteX2461" fmla="*/ 440495 w 1317625"/>
              <a:gd name="connsiteY2461" fmla="*/ 488533 h 1344613"/>
              <a:gd name="connsiteX2462" fmla="*/ 442649 w 1317625"/>
              <a:gd name="connsiteY2462" fmla="*/ 491659 h 1344613"/>
              <a:gd name="connsiteX2463" fmla="*/ 445665 w 1317625"/>
              <a:gd name="connsiteY2463" fmla="*/ 493743 h 1344613"/>
              <a:gd name="connsiteX2464" fmla="*/ 448680 w 1317625"/>
              <a:gd name="connsiteY2464" fmla="*/ 495827 h 1344613"/>
              <a:gd name="connsiteX2465" fmla="*/ 451265 w 1317625"/>
              <a:gd name="connsiteY2465" fmla="*/ 496869 h 1344613"/>
              <a:gd name="connsiteX2466" fmla="*/ 453850 w 1317625"/>
              <a:gd name="connsiteY2466" fmla="*/ 497390 h 1344613"/>
              <a:gd name="connsiteX2467" fmla="*/ 453850 w 1317625"/>
              <a:gd name="connsiteY2467" fmla="*/ 502600 h 1344613"/>
              <a:gd name="connsiteX2468" fmla="*/ 453850 w 1317625"/>
              <a:gd name="connsiteY2468" fmla="*/ 507289 h 1344613"/>
              <a:gd name="connsiteX2469" fmla="*/ 457727 w 1317625"/>
              <a:gd name="connsiteY2469" fmla="*/ 505726 h 1344613"/>
              <a:gd name="connsiteX2470" fmla="*/ 461173 w 1317625"/>
              <a:gd name="connsiteY2470" fmla="*/ 504684 h 1344613"/>
              <a:gd name="connsiteX2471" fmla="*/ 464188 w 1317625"/>
              <a:gd name="connsiteY2471" fmla="*/ 504684 h 1344613"/>
              <a:gd name="connsiteX2472" fmla="*/ 466773 w 1317625"/>
              <a:gd name="connsiteY2472" fmla="*/ 505205 h 1344613"/>
              <a:gd name="connsiteX2473" fmla="*/ 472373 w 1317625"/>
              <a:gd name="connsiteY2473" fmla="*/ 507810 h 1344613"/>
              <a:gd name="connsiteX2474" fmla="*/ 476250 w 1317625"/>
              <a:gd name="connsiteY2474" fmla="*/ 510415 h 1344613"/>
              <a:gd name="connsiteX2475" fmla="*/ 475389 w 1317625"/>
              <a:gd name="connsiteY2475" fmla="*/ 517188 h 1344613"/>
              <a:gd name="connsiteX2476" fmla="*/ 474527 w 1317625"/>
              <a:gd name="connsiteY2476" fmla="*/ 522919 h 1344613"/>
              <a:gd name="connsiteX2477" fmla="*/ 474096 w 1317625"/>
              <a:gd name="connsiteY2477" fmla="*/ 526045 h 1344613"/>
              <a:gd name="connsiteX2478" fmla="*/ 474096 w 1317625"/>
              <a:gd name="connsiteY2478" fmla="*/ 529692 h 1344613"/>
              <a:gd name="connsiteX2479" fmla="*/ 474958 w 1317625"/>
              <a:gd name="connsiteY2479" fmla="*/ 532818 h 1344613"/>
              <a:gd name="connsiteX2480" fmla="*/ 476250 w 1317625"/>
              <a:gd name="connsiteY2480" fmla="*/ 535944 h 1344613"/>
              <a:gd name="connsiteX2481" fmla="*/ 474096 w 1317625"/>
              <a:gd name="connsiteY2481" fmla="*/ 536465 h 1344613"/>
              <a:gd name="connsiteX2482" fmla="*/ 471512 w 1317625"/>
              <a:gd name="connsiteY2482" fmla="*/ 536986 h 1344613"/>
              <a:gd name="connsiteX2483" fmla="*/ 469358 w 1317625"/>
              <a:gd name="connsiteY2483" fmla="*/ 537507 h 1344613"/>
              <a:gd name="connsiteX2484" fmla="*/ 466773 w 1317625"/>
              <a:gd name="connsiteY2484" fmla="*/ 538549 h 1344613"/>
              <a:gd name="connsiteX2485" fmla="*/ 465050 w 1317625"/>
              <a:gd name="connsiteY2485" fmla="*/ 540112 h 1344613"/>
              <a:gd name="connsiteX2486" fmla="*/ 463758 w 1317625"/>
              <a:gd name="connsiteY2486" fmla="*/ 541675 h 1344613"/>
              <a:gd name="connsiteX2487" fmla="*/ 462896 w 1317625"/>
              <a:gd name="connsiteY2487" fmla="*/ 543238 h 1344613"/>
              <a:gd name="connsiteX2488" fmla="*/ 462034 w 1317625"/>
              <a:gd name="connsiteY2488" fmla="*/ 545843 h 1344613"/>
              <a:gd name="connsiteX2489" fmla="*/ 462034 w 1317625"/>
              <a:gd name="connsiteY2489" fmla="*/ 546885 h 1344613"/>
              <a:gd name="connsiteX2490" fmla="*/ 462896 w 1317625"/>
              <a:gd name="connsiteY2490" fmla="*/ 547927 h 1344613"/>
              <a:gd name="connsiteX2491" fmla="*/ 463327 w 1317625"/>
              <a:gd name="connsiteY2491" fmla="*/ 548969 h 1344613"/>
              <a:gd name="connsiteX2492" fmla="*/ 464188 w 1317625"/>
              <a:gd name="connsiteY2492" fmla="*/ 550532 h 1344613"/>
              <a:gd name="connsiteX2493" fmla="*/ 466773 w 1317625"/>
              <a:gd name="connsiteY2493" fmla="*/ 552616 h 1344613"/>
              <a:gd name="connsiteX2494" fmla="*/ 470650 w 1317625"/>
              <a:gd name="connsiteY2494" fmla="*/ 555221 h 1344613"/>
              <a:gd name="connsiteX2495" fmla="*/ 466773 w 1317625"/>
              <a:gd name="connsiteY2495" fmla="*/ 557826 h 1344613"/>
              <a:gd name="connsiteX2496" fmla="*/ 464619 w 1317625"/>
              <a:gd name="connsiteY2496" fmla="*/ 559909 h 1344613"/>
              <a:gd name="connsiteX2497" fmla="*/ 462896 w 1317625"/>
              <a:gd name="connsiteY2497" fmla="*/ 561993 h 1344613"/>
              <a:gd name="connsiteX2498" fmla="*/ 461173 w 1317625"/>
              <a:gd name="connsiteY2498" fmla="*/ 564077 h 1344613"/>
              <a:gd name="connsiteX2499" fmla="*/ 459450 w 1317625"/>
              <a:gd name="connsiteY2499" fmla="*/ 568245 h 1344613"/>
              <a:gd name="connsiteX2500" fmla="*/ 456434 w 1317625"/>
              <a:gd name="connsiteY2500" fmla="*/ 574497 h 1344613"/>
              <a:gd name="connsiteX2501" fmla="*/ 367694 w 1317625"/>
              <a:gd name="connsiteY2501" fmla="*/ 574497 h 1344613"/>
              <a:gd name="connsiteX2502" fmla="*/ 367694 w 1317625"/>
              <a:gd name="connsiteY2502" fmla="*/ 580749 h 1344613"/>
              <a:gd name="connsiteX2503" fmla="*/ 367694 w 1317625"/>
              <a:gd name="connsiteY2503" fmla="*/ 587522 h 1344613"/>
              <a:gd name="connsiteX2504" fmla="*/ 354770 w 1317625"/>
              <a:gd name="connsiteY2504" fmla="*/ 588043 h 1344613"/>
              <a:gd name="connsiteX2505" fmla="*/ 343570 w 1317625"/>
              <a:gd name="connsiteY2505" fmla="*/ 589085 h 1344613"/>
              <a:gd name="connsiteX2506" fmla="*/ 338401 w 1317625"/>
              <a:gd name="connsiteY2506" fmla="*/ 590127 h 1344613"/>
              <a:gd name="connsiteX2507" fmla="*/ 334093 w 1317625"/>
              <a:gd name="connsiteY2507" fmla="*/ 591690 h 1344613"/>
              <a:gd name="connsiteX2508" fmla="*/ 332370 w 1317625"/>
              <a:gd name="connsiteY2508" fmla="*/ 592732 h 1344613"/>
              <a:gd name="connsiteX2509" fmla="*/ 330216 w 1317625"/>
              <a:gd name="connsiteY2509" fmla="*/ 593774 h 1344613"/>
              <a:gd name="connsiteX2510" fmla="*/ 328924 w 1317625"/>
              <a:gd name="connsiteY2510" fmla="*/ 595337 h 1344613"/>
              <a:gd name="connsiteX2511" fmla="*/ 327631 w 1317625"/>
              <a:gd name="connsiteY2511" fmla="*/ 596900 h 1344613"/>
              <a:gd name="connsiteX2512" fmla="*/ 328062 w 1317625"/>
              <a:gd name="connsiteY2512" fmla="*/ 593253 h 1344613"/>
              <a:gd name="connsiteX2513" fmla="*/ 328493 w 1317625"/>
              <a:gd name="connsiteY2513" fmla="*/ 590127 h 1344613"/>
              <a:gd name="connsiteX2514" fmla="*/ 328924 w 1317625"/>
              <a:gd name="connsiteY2514" fmla="*/ 587001 h 1344613"/>
              <a:gd name="connsiteX2515" fmla="*/ 329785 w 1317625"/>
              <a:gd name="connsiteY2515" fmla="*/ 583875 h 1344613"/>
              <a:gd name="connsiteX2516" fmla="*/ 331078 w 1317625"/>
              <a:gd name="connsiteY2516" fmla="*/ 581270 h 1344613"/>
              <a:gd name="connsiteX2517" fmla="*/ 332370 w 1317625"/>
              <a:gd name="connsiteY2517" fmla="*/ 579186 h 1344613"/>
              <a:gd name="connsiteX2518" fmla="*/ 334093 w 1317625"/>
              <a:gd name="connsiteY2518" fmla="*/ 577102 h 1344613"/>
              <a:gd name="connsiteX2519" fmla="*/ 335385 w 1317625"/>
              <a:gd name="connsiteY2519" fmla="*/ 575018 h 1344613"/>
              <a:gd name="connsiteX2520" fmla="*/ 339693 w 1317625"/>
              <a:gd name="connsiteY2520" fmla="*/ 571892 h 1344613"/>
              <a:gd name="connsiteX2521" fmla="*/ 344001 w 1317625"/>
              <a:gd name="connsiteY2521" fmla="*/ 569287 h 1344613"/>
              <a:gd name="connsiteX2522" fmla="*/ 348740 w 1317625"/>
              <a:gd name="connsiteY2522" fmla="*/ 567724 h 1344613"/>
              <a:gd name="connsiteX2523" fmla="*/ 353909 w 1317625"/>
              <a:gd name="connsiteY2523" fmla="*/ 565640 h 1344613"/>
              <a:gd name="connsiteX2524" fmla="*/ 363386 w 1317625"/>
              <a:gd name="connsiteY2524" fmla="*/ 563035 h 1344613"/>
              <a:gd name="connsiteX2525" fmla="*/ 372432 w 1317625"/>
              <a:gd name="connsiteY2525" fmla="*/ 560430 h 1344613"/>
              <a:gd name="connsiteX2526" fmla="*/ 375879 w 1317625"/>
              <a:gd name="connsiteY2526" fmla="*/ 558346 h 1344613"/>
              <a:gd name="connsiteX2527" fmla="*/ 378894 w 1317625"/>
              <a:gd name="connsiteY2527" fmla="*/ 555742 h 1344613"/>
              <a:gd name="connsiteX2528" fmla="*/ 379756 w 1317625"/>
              <a:gd name="connsiteY2528" fmla="*/ 554179 h 1344613"/>
              <a:gd name="connsiteX2529" fmla="*/ 381048 w 1317625"/>
              <a:gd name="connsiteY2529" fmla="*/ 552616 h 1344613"/>
              <a:gd name="connsiteX2530" fmla="*/ 381910 w 1317625"/>
              <a:gd name="connsiteY2530" fmla="*/ 550532 h 1344613"/>
              <a:gd name="connsiteX2531" fmla="*/ 381910 w 1317625"/>
              <a:gd name="connsiteY2531" fmla="*/ 550011 h 1344613"/>
              <a:gd name="connsiteX2532" fmla="*/ 381048 w 1317625"/>
              <a:gd name="connsiteY2532" fmla="*/ 551053 h 1344613"/>
              <a:gd name="connsiteX2533" fmla="*/ 379756 w 1317625"/>
              <a:gd name="connsiteY2533" fmla="*/ 552095 h 1344613"/>
              <a:gd name="connsiteX2534" fmla="*/ 378463 w 1317625"/>
              <a:gd name="connsiteY2534" fmla="*/ 553137 h 1344613"/>
              <a:gd name="connsiteX2535" fmla="*/ 374586 w 1317625"/>
              <a:gd name="connsiteY2535" fmla="*/ 554700 h 1344613"/>
              <a:gd name="connsiteX2536" fmla="*/ 370279 w 1317625"/>
              <a:gd name="connsiteY2536" fmla="*/ 555221 h 1344613"/>
              <a:gd name="connsiteX2537" fmla="*/ 363817 w 1317625"/>
              <a:gd name="connsiteY2537" fmla="*/ 554700 h 1344613"/>
              <a:gd name="connsiteX2538" fmla="*/ 352617 w 1317625"/>
              <a:gd name="connsiteY2538" fmla="*/ 552095 h 1344613"/>
              <a:gd name="connsiteX2539" fmla="*/ 346155 w 1317625"/>
              <a:gd name="connsiteY2539" fmla="*/ 550532 h 1344613"/>
              <a:gd name="connsiteX2540" fmla="*/ 340986 w 1317625"/>
              <a:gd name="connsiteY2540" fmla="*/ 548448 h 1344613"/>
              <a:gd name="connsiteX2541" fmla="*/ 339262 w 1317625"/>
              <a:gd name="connsiteY2541" fmla="*/ 547406 h 1344613"/>
              <a:gd name="connsiteX2542" fmla="*/ 337539 w 1317625"/>
              <a:gd name="connsiteY2542" fmla="*/ 545843 h 1344613"/>
              <a:gd name="connsiteX2543" fmla="*/ 336247 w 1317625"/>
              <a:gd name="connsiteY2543" fmla="*/ 544280 h 1344613"/>
              <a:gd name="connsiteX2544" fmla="*/ 336247 w 1317625"/>
              <a:gd name="connsiteY2544" fmla="*/ 542717 h 1344613"/>
              <a:gd name="connsiteX2545" fmla="*/ 336247 w 1317625"/>
              <a:gd name="connsiteY2545" fmla="*/ 539070 h 1344613"/>
              <a:gd name="connsiteX2546" fmla="*/ 337970 w 1317625"/>
              <a:gd name="connsiteY2546" fmla="*/ 536465 h 1344613"/>
              <a:gd name="connsiteX2547" fmla="*/ 339262 w 1317625"/>
              <a:gd name="connsiteY2547" fmla="*/ 534381 h 1344613"/>
              <a:gd name="connsiteX2548" fmla="*/ 340986 w 1317625"/>
              <a:gd name="connsiteY2548" fmla="*/ 532818 h 1344613"/>
              <a:gd name="connsiteX2549" fmla="*/ 343570 w 1317625"/>
              <a:gd name="connsiteY2549" fmla="*/ 531255 h 1344613"/>
              <a:gd name="connsiteX2550" fmla="*/ 345724 w 1317625"/>
              <a:gd name="connsiteY2550" fmla="*/ 530734 h 1344613"/>
              <a:gd name="connsiteX2551" fmla="*/ 348309 w 1317625"/>
              <a:gd name="connsiteY2551" fmla="*/ 530213 h 1344613"/>
              <a:gd name="connsiteX2552" fmla="*/ 350463 w 1317625"/>
              <a:gd name="connsiteY2552" fmla="*/ 529692 h 1344613"/>
              <a:gd name="connsiteX2553" fmla="*/ 350463 w 1317625"/>
              <a:gd name="connsiteY2553" fmla="*/ 510415 h 1344613"/>
              <a:gd name="connsiteX2554" fmla="*/ 342278 w 1317625"/>
              <a:gd name="connsiteY2554" fmla="*/ 510415 h 1344613"/>
              <a:gd name="connsiteX2555" fmla="*/ 343570 w 1317625"/>
              <a:gd name="connsiteY2555" fmla="*/ 506768 h 1344613"/>
              <a:gd name="connsiteX2556" fmla="*/ 345293 w 1317625"/>
              <a:gd name="connsiteY2556" fmla="*/ 503642 h 1344613"/>
              <a:gd name="connsiteX2557" fmla="*/ 347878 w 1317625"/>
              <a:gd name="connsiteY2557" fmla="*/ 501037 h 1344613"/>
              <a:gd name="connsiteX2558" fmla="*/ 350032 w 1317625"/>
              <a:gd name="connsiteY2558" fmla="*/ 498432 h 1344613"/>
              <a:gd name="connsiteX2559" fmla="*/ 355201 w 1317625"/>
              <a:gd name="connsiteY2559" fmla="*/ 495306 h 1344613"/>
              <a:gd name="connsiteX2560" fmla="*/ 360371 w 1317625"/>
              <a:gd name="connsiteY2560" fmla="*/ 493222 h 1344613"/>
              <a:gd name="connsiteX2561" fmla="*/ 365971 w 1317625"/>
              <a:gd name="connsiteY2561" fmla="*/ 491138 h 1344613"/>
              <a:gd name="connsiteX2562" fmla="*/ 371140 w 1317625"/>
              <a:gd name="connsiteY2562" fmla="*/ 488012 h 1344613"/>
              <a:gd name="connsiteX2563" fmla="*/ 373294 w 1317625"/>
              <a:gd name="connsiteY2563" fmla="*/ 486449 h 1344613"/>
              <a:gd name="connsiteX2564" fmla="*/ 375017 w 1317625"/>
              <a:gd name="connsiteY2564" fmla="*/ 484365 h 1344613"/>
              <a:gd name="connsiteX2565" fmla="*/ 377602 w 1317625"/>
              <a:gd name="connsiteY2565" fmla="*/ 481760 h 1344613"/>
              <a:gd name="connsiteX2566" fmla="*/ 378894 w 1317625"/>
              <a:gd name="connsiteY2566" fmla="*/ 478634 h 1344613"/>
              <a:gd name="connsiteX2567" fmla="*/ 376309 w 1317625"/>
              <a:gd name="connsiteY2567" fmla="*/ 476029 h 1344613"/>
              <a:gd name="connsiteX2568" fmla="*/ 373294 w 1317625"/>
              <a:gd name="connsiteY2568" fmla="*/ 473424 h 1344613"/>
              <a:gd name="connsiteX2569" fmla="*/ 371140 w 1317625"/>
              <a:gd name="connsiteY2569" fmla="*/ 471340 h 1344613"/>
              <a:gd name="connsiteX2570" fmla="*/ 368555 w 1317625"/>
              <a:gd name="connsiteY2570" fmla="*/ 468215 h 1344613"/>
              <a:gd name="connsiteX2571" fmla="*/ 367263 w 1317625"/>
              <a:gd name="connsiteY2571" fmla="*/ 465089 h 1344613"/>
              <a:gd name="connsiteX2572" fmla="*/ 365971 w 1317625"/>
              <a:gd name="connsiteY2572" fmla="*/ 462484 h 1344613"/>
              <a:gd name="connsiteX2573" fmla="*/ 365109 w 1317625"/>
              <a:gd name="connsiteY2573" fmla="*/ 459358 h 1344613"/>
              <a:gd name="connsiteX2574" fmla="*/ 364678 w 1317625"/>
              <a:gd name="connsiteY2574" fmla="*/ 455711 h 1344613"/>
              <a:gd name="connsiteX2575" fmla="*/ 358647 w 1317625"/>
              <a:gd name="connsiteY2575" fmla="*/ 455711 h 1344613"/>
              <a:gd name="connsiteX2576" fmla="*/ 353478 w 1317625"/>
              <a:gd name="connsiteY2576" fmla="*/ 454669 h 1344613"/>
              <a:gd name="connsiteX2577" fmla="*/ 349170 w 1317625"/>
              <a:gd name="connsiteY2577" fmla="*/ 453106 h 1344613"/>
              <a:gd name="connsiteX2578" fmla="*/ 345293 w 1317625"/>
              <a:gd name="connsiteY2578" fmla="*/ 451543 h 1344613"/>
              <a:gd name="connsiteX2579" fmla="*/ 342709 w 1317625"/>
              <a:gd name="connsiteY2579" fmla="*/ 449459 h 1344613"/>
              <a:gd name="connsiteX2580" fmla="*/ 340555 w 1317625"/>
              <a:gd name="connsiteY2580" fmla="*/ 446333 h 1344613"/>
              <a:gd name="connsiteX2581" fmla="*/ 339262 w 1317625"/>
              <a:gd name="connsiteY2581" fmla="*/ 443728 h 1344613"/>
              <a:gd name="connsiteX2582" fmla="*/ 339262 w 1317625"/>
              <a:gd name="connsiteY2582" fmla="*/ 439560 h 1344613"/>
              <a:gd name="connsiteX2583" fmla="*/ 339262 w 1317625"/>
              <a:gd name="connsiteY2583" fmla="*/ 435913 h 1344613"/>
              <a:gd name="connsiteX2584" fmla="*/ 340124 w 1317625"/>
              <a:gd name="connsiteY2584" fmla="*/ 432787 h 1344613"/>
              <a:gd name="connsiteX2585" fmla="*/ 341847 w 1317625"/>
              <a:gd name="connsiteY2585" fmla="*/ 430182 h 1344613"/>
              <a:gd name="connsiteX2586" fmla="*/ 343570 w 1317625"/>
              <a:gd name="connsiteY2586" fmla="*/ 427056 h 1344613"/>
              <a:gd name="connsiteX2587" fmla="*/ 344863 w 1317625"/>
              <a:gd name="connsiteY2587" fmla="*/ 423930 h 1344613"/>
              <a:gd name="connsiteX2588" fmla="*/ 346155 w 1317625"/>
              <a:gd name="connsiteY2588" fmla="*/ 420804 h 1344613"/>
              <a:gd name="connsiteX2589" fmla="*/ 347447 w 1317625"/>
              <a:gd name="connsiteY2589" fmla="*/ 417678 h 1344613"/>
              <a:gd name="connsiteX2590" fmla="*/ 347878 w 1317625"/>
              <a:gd name="connsiteY2590" fmla="*/ 414552 h 1344613"/>
              <a:gd name="connsiteX2591" fmla="*/ 344432 w 1317625"/>
              <a:gd name="connsiteY2591" fmla="*/ 416115 h 1344613"/>
              <a:gd name="connsiteX2592" fmla="*/ 341847 w 1317625"/>
              <a:gd name="connsiteY2592" fmla="*/ 418199 h 1344613"/>
              <a:gd name="connsiteX2593" fmla="*/ 339262 w 1317625"/>
              <a:gd name="connsiteY2593" fmla="*/ 420804 h 1344613"/>
              <a:gd name="connsiteX2594" fmla="*/ 336247 w 1317625"/>
              <a:gd name="connsiteY2594" fmla="*/ 423930 h 1344613"/>
              <a:gd name="connsiteX2595" fmla="*/ 332370 w 1317625"/>
              <a:gd name="connsiteY2595" fmla="*/ 430703 h 1344613"/>
              <a:gd name="connsiteX2596" fmla="*/ 327631 w 1317625"/>
              <a:gd name="connsiteY2596" fmla="*/ 436434 h 1344613"/>
              <a:gd name="connsiteX2597" fmla="*/ 318154 w 1317625"/>
              <a:gd name="connsiteY2597" fmla="*/ 420283 h 1344613"/>
              <a:gd name="connsiteX2598" fmla="*/ 314277 w 1317625"/>
              <a:gd name="connsiteY2598" fmla="*/ 411426 h 1344613"/>
              <a:gd name="connsiteX2599" fmla="*/ 313416 w 1317625"/>
              <a:gd name="connsiteY2599" fmla="*/ 408821 h 1344613"/>
              <a:gd name="connsiteX2600" fmla="*/ 313416 w 1317625"/>
              <a:gd name="connsiteY2600" fmla="*/ 406737 h 1344613"/>
              <a:gd name="connsiteX2601" fmla="*/ 313416 w 1317625"/>
              <a:gd name="connsiteY2601" fmla="*/ 404132 h 1344613"/>
              <a:gd name="connsiteX2602" fmla="*/ 313416 w 1317625"/>
              <a:gd name="connsiteY2602" fmla="*/ 401006 h 1344613"/>
              <a:gd name="connsiteX2603" fmla="*/ 312123 w 1317625"/>
              <a:gd name="connsiteY2603" fmla="*/ 400485 h 1344613"/>
              <a:gd name="connsiteX2604" fmla="*/ 311693 w 1317625"/>
              <a:gd name="connsiteY2604" fmla="*/ 398922 h 1344613"/>
              <a:gd name="connsiteX2605" fmla="*/ 311262 w 1317625"/>
              <a:gd name="connsiteY2605" fmla="*/ 397359 h 1344613"/>
              <a:gd name="connsiteX2606" fmla="*/ 310831 w 1317625"/>
              <a:gd name="connsiteY2606" fmla="*/ 395275 h 1344613"/>
              <a:gd name="connsiteX2607" fmla="*/ 310831 w 1317625"/>
              <a:gd name="connsiteY2607" fmla="*/ 390065 h 1344613"/>
              <a:gd name="connsiteX2608" fmla="*/ 311262 w 1317625"/>
              <a:gd name="connsiteY2608" fmla="*/ 384334 h 1344613"/>
              <a:gd name="connsiteX2609" fmla="*/ 312123 w 1317625"/>
              <a:gd name="connsiteY2609" fmla="*/ 370789 h 1344613"/>
              <a:gd name="connsiteX2610" fmla="*/ 313416 w 1317625"/>
              <a:gd name="connsiteY2610" fmla="*/ 359848 h 1344613"/>
              <a:gd name="connsiteX2611" fmla="*/ 313846 w 1317625"/>
              <a:gd name="connsiteY2611" fmla="*/ 357764 h 1344613"/>
              <a:gd name="connsiteX2612" fmla="*/ 313846 w 1317625"/>
              <a:gd name="connsiteY2612" fmla="*/ 355680 h 1344613"/>
              <a:gd name="connsiteX2613" fmla="*/ 313416 w 1317625"/>
              <a:gd name="connsiteY2613" fmla="*/ 353596 h 1344613"/>
              <a:gd name="connsiteX2614" fmla="*/ 312985 w 1317625"/>
              <a:gd name="connsiteY2614" fmla="*/ 352554 h 1344613"/>
              <a:gd name="connsiteX2615" fmla="*/ 311262 w 1317625"/>
              <a:gd name="connsiteY2615" fmla="*/ 350470 h 1344613"/>
              <a:gd name="connsiteX2616" fmla="*/ 309539 w 1317625"/>
              <a:gd name="connsiteY2616" fmla="*/ 349428 h 1344613"/>
              <a:gd name="connsiteX2617" fmla="*/ 307385 w 1317625"/>
              <a:gd name="connsiteY2617" fmla="*/ 348386 h 1344613"/>
              <a:gd name="connsiteX2618" fmla="*/ 306523 w 1317625"/>
              <a:gd name="connsiteY2618" fmla="*/ 347865 h 1344613"/>
              <a:gd name="connsiteX2619" fmla="*/ 306092 w 1317625"/>
              <a:gd name="connsiteY2619" fmla="*/ 347344 h 1344613"/>
              <a:gd name="connsiteX2620" fmla="*/ 307385 w 1317625"/>
              <a:gd name="connsiteY2620" fmla="*/ 346302 h 1344613"/>
              <a:gd name="connsiteX2621" fmla="*/ 310400 w 1317625"/>
              <a:gd name="connsiteY2621" fmla="*/ 341613 h 1344613"/>
              <a:gd name="connsiteX2622" fmla="*/ 313416 w 1317625"/>
              <a:gd name="connsiteY2622" fmla="*/ 336924 h 1344613"/>
              <a:gd name="connsiteX2623" fmla="*/ 313416 w 1317625"/>
              <a:gd name="connsiteY2623" fmla="*/ 333798 h 1344613"/>
              <a:gd name="connsiteX2624" fmla="*/ 309539 w 1317625"/>
              <a:gd name="connsiteY2624" fmla="*/ 332756 h 1344613"/>
              <a:gd name="connsiteX2625" fmla="*/ 306954 w 1317625"/>
              <a:gd name="connsiteY2625" fmla="*/ 332235 h 1344613"/>
              <a:gd name="connsiteX2626" fmla="*/ 306092 w 1317625"/>
              <a:gd name="connsiteY2626" fmla="*/ 331714 h 1344613"/>
              <a:gd name="connsiteX2627" fmla="*/ 305231 w 1317625"/>
              <a:gd name="connsiteY2627" fmla="*/ 330672 h 1344613"/>
              <a:gd name="connsiteX2628" fmla="*/ 304800 w 1317625"/>
              <a:gd name="connsiteY2628" fmla="*/ 329630 h 1344613"/>
              <a:gd name="connsiteX2629" fmla="*/ 304800 w 1317625"/>
              <a:gd name="connsiteY2629" fmla="*/ 327546 h 1344613"/>
              <a:gd name="connsiteX2630" fmla="*/ 299171 w 1317625"/>
              <a:gd name="connsiteY2630" fmla="*/ 250825 h 1344613"/>
              <a:gd name="connsiteX2631" fmla="*/ 300614 w 1317625"/>
              <a:gd name="connsiteY2631" fmla="*/ 260043 h 1344613"/>
              <a:gd name="connsiteX2632" fmla="*/ 301769 w 1317625"/>
              <a:gd name="connsiteY2632" fmla="*/ 272948 h 1344613"/>
              <a:gd name="connsiteX2633" fmla="*/ 302923 w 1317625"/>
              <a:gd name="connsiteY2633" fmla="*/ 291383 h 1344613"/>
              <a:gd name="connsiteX2634" fmla="*/ 303212 w 1317625"/>
              <a:gd name="connsiteY2634" fmla="*/ 307975 h 1344613"/>
              <a:gd name="connsiteX2635" fmla="*/ 301480 w 1317625"/>
              <a:gd name="connsiteY2635" fmla="*/ 306132 h 1344613"/>
              <a:gd name="connsiteX2636" fmla="*/ 300037 w 1317625"/>
              <a:gd name="connsiteY2636" fmla="*/ 302444 h 1344613"/>
              <a:gd name="connsiteX2637" fmla="*/ 298305 w 1317625"/>
              <a:gd name="connsiteY2637" fmla="*/ 296914 h 1344613"/>
              <a:gd name="connsiteX2638" fmla="*/ 296862 w 1317625"/>
              <a:gd name="connsiteY2638" fmla="*/ 291383 h 1344613"/>
              <a:gd name="connsiteX2639" fmla="*/ 294553 w 1317625"/>
              <a:gd name="connsiteY2639" fmla="*/ 278478 h 1344613"/>
              <a:gd name="connsiteX2640" fmla="*/ 293687 w 1317625"/>
              <a:gd name="connsiteY2640" fmla="*/ 272948 h 1344613"/>
              <a:gd name="connsiteX2641" fmla="*/ 701061 w 1317625"/>
              <a:gd name="connsiteY2641" fmla="*/ 203656 h 1344613"/>
              <a:gd name="connsiteX2642" fmla="*/ 698462 w 1317625"/>
              <a:gd name="connsiteY2642" fmla="*/ 204181 h 1344613"/>
              <a:gd name="connsiteX2643" fmla="*/ 692397 w 1317625"/>
              <a:gd name="connsiteY2643" fmla="*/ 204705 h 1344613"/>
              <a:gd name="connsiteX2644" fmla="*/ 686331 w 1317625"/>
              <a:gd name="connsiteY2644" fmla="*/ 205230 h 1344613"/>
              <a:gd name="connsiteX2645" fmla="*/ 686024 w 1317625"/>
              <a:gd name="connsiteY2645" fmla="*/ 206366 h 1344613"/>
              <a:gd name="connsiteX2646" fmla="*/ 689968 w 1317625"/>
              <a:gd name="connsiteY2646" fmla="*/ 206034 h 1344613"/>
              <a:gd name="connsiteX2647" fmla="*/ 696162 w 1317625"/>
              <a:gd name="connsiteY2647" fmla="*/ 205511 h 1344613"/>
              <a:gd name="connsiteX2648" fmla="*/ 698817 w 1317625"/>
              <a:gd name="connsiteY2648" fmla="*/ 204989 h 1344613"/>
              <a:gd name="connsiteX2649" fmla="*/ 701029 w 1317625"/>
              <a:gd name="connsiteY2649" fmla="*/ 204989 h 1344613"/>
              <a:gd name="connsiteX2650" fmla="*/ 702799 w 1317625"/>
              <a:gd name="connsiteY2650" fmla="*/ 205511 h 1344613"/>
              <a:gd name="connsiteX2651" fmla="*/ 704127 w 1317625"/>
              <a:gd name="connsiteY2651" fmla="*/ 206556 h 1344613"/>
              <a:gd name="connsiteX2652" fmla="*/ 704264 w 1317625"/>
              <a:gd name="connsiteY2652" fmla="*/ 203970 h 1344613"/>
              <a:gd name="connsiteX2653" fmla="*/ 703227 w 1317625"/>
              <a:gd name="connsiteY2653" fmla="*/ 203656 h 1344613"/>
              <a:gd name="connsiteX2654" fmla="*/ 47389 w 1317625"/>
              <a:gd name="connsiteY2654" fmla="*/ 180976 h 1344613"/>
              <a:gd name="connsiteX2655" fmla="*/ 68525 w 1317625"/>
              <a:gd name="connsiteY2655" fmla="*/ 182952 h 1344613"/>
              <a:gd name="connsiteX2656" fmla="*/ 87260 w 1317625"/>
              <a:gd name="connsiteY2656" fmla="*/ 186905 h 1344613"/>
              <a:gd name="connsiteX2657" fmla="*/ 96867 w 1317625"/>
              <a:gd name="connsiteY2657" fmla="*/ 188881 h 1344613"/>
              <a:gd name="connsiteX2658" fmla="*/ 105513 w 1317625"/>
              <a:gd name="connsiteY2658" fmla="*/ 187893 h 1344613"/>
              <a:gd name="connsiteX2659" fmla="*/ 109837 w 1317625"/>
              <a:gd name="connsiteY2659" fmla="*/ 186905 h 1344613"/>
              <a:gd name="connsiteX2660" fmla="*/ 113199 w 1317625"/>
              <a:gd name="connsiteY2660" fmla="*/ 185917 h 1344613"/>
              <a:gd name="connsiteX2661" fmla="*/ 117042 w 1317625"/>
              <a:gd name="connsiteY2661" fmla="*/ 183940 h 1344613"/>
              <a:gd name="connsiteX2662" fmla="*/ 120885 w 1317625"/>
              <a:gd name="connsiteY2662" fmla="*/ 180976 h 1344613"/>
              <a:gd name="connsiteX2663" fmla="*/ 120885 w 1317625"/>
              <a:gd name="connsiteY2663" fmla="*/ 189869 h 1344613"/>
              <a:gd name="connsiteX2664" fmla="*/ 120885 w 1317625"/>
              <a:gd name="connsiteY2664" fmla="*/ 205679 h 1344613"/>
              <a:gd name="connsiteX2665" fmla="*/ 116081 w 1317625"/>
              <a:gd name="connsiteY2665" fmla="*/ 211608 h 1344613"/>
              <a:gd name="connsiteX2666" fmla="*/ 111278 w 1317625"/>
              <a:gd name="connsiteY2666" fmla="*/ 216548 h 1344613"/>
              <a:gd name="connsiteX2667" fmla="*/ 106955 w 1317625"/>
              <a:gd name="connsiteY2667" fmla="*/ 220501 h 1344613"/>
              <a:gd name="connsiteX2668" fmla="*/ 102151 w 1317625"/>
              <a:gd name="connsiteY2668" fmla="*/ 224453 h 1344613"/>
              <a:gd name="connsiteX2669" fmla="*/ 98308 w 1317625"/>
              <a:gd name="connsiteY2669" fmla="*/ 226430 h 1344613"/>
              <a:gd name="connsiteX2670" fmla="*/ 94945 w 1317625"/>
              <a:gd name="connsiteY2670" fmla="*/ 228406 h 1344613"/>
              <a:gd name="connsiteX2671" fmla="*/ 91583 w 1317625"/>
              <a:gd name="connsiteY2671" fmla="*/ 229394 h 1344613"/>
              <a:gd name="connsiteX2672" fmla="*/ 89181 w 1317625"/>
              <a:gd name="connsiteY2672" fmla="*/ 229394 h 1344613"/>
              <a:gd name="connsiteX2673" fmla="*/ 81975 w 1317625"/>
              <a:gd name="connsiteY2673" fmla="*/ 228406 h 1344613"/>
              <a:gd name="connsiteX2674" fmla="*/ 76211 w 1317625"/>
              <a:gd name="connsiteY2674" fmla="*/ 226430 h 1344613"/>
              <a:gd name="connsiteX2675" fmla="*/ 71407 w 1317625"/>
              <a:gd name="connsiteY2675" fmla="*/ 223465 h 1344613"/>
              <a:gd name="connsiteX2676" fmla="*/ 67084 w 1317625"/>
              <a:gd name="connsiteY2676" fmla="*/ 218525 h 1344613"/>
              <a:gd name="connsiteX2677" fmla="*/ 57957 w 1317625"/>
              <a:gd name="connsiteY2677" fmla="*/ 209632 h 1344613"/>
              <a:gd name="connsiteX2678" fmla="*/ 47389 w 1317625"/>
              <a:gd name="connsiteY2678" fmla="*/ 199750 h 1344613"/>
              <a:gd name="connsiteX2679" fmla="*/ 946659 w 1317625"/>
              <a:gd name="connsiteY2679" fmla="*/ 0 h 1344613"/>
              <a:gd name="connsiteX2680" fmla="*/ 960955 w 1317625"/>
              <a:gd name="connsiteY2680" fmla="*/ 0 h 1344613"/>
              <a:gd name="connsiteX2681" fmla="*/ 961388 w 1317625"/>
              <a:gd name="connsiteY2681" fmla="*/ 2661 h 1344613"/>
              <a:gd name="connsiteX2682" fmla="*/ 962688 w 1317625"/>
              <a:gd name="connsiteY2682" fmla="*/ 4790 h 1344613"/>
              <a:gd name="connsiteX2683" fmla="*/ 964854 w 1317625"/>
              <a:gd name="connsiteY2683" fmla="*/ 5854 h 1344613"/>
              <a:gd name="connsiteX2684" fmla="*/ 966587 w 1317625"/>
              <a:gd name="connsiteY2684" fmla="*/ 6387 h 1344613"/>
              <a:gd name="connsiteX2685" fmla="*/ 968753 w 1317625"/>
              <a:gd name="connsiteY2685" fmla="*/ 5854 h 1344613"/>
              <a:gd name="connsiteX2686" fmla="*/ 971785 w 1317625"/>
              <a:gd name="connsiteY2686" fmla="*/ 4790 h 1344613"/>
              <a:gd name="connsiteX2687" fmla="*/ 973085 w 1317625"/>
              <a:gd name="connsiteY2687" fmla="*/ 3726 h 1344613"/>
              <a:gd name="connsiteX2688" fmla="*/ 974385 w 1317625"/>
              <a:gd name="connsiteY2688" fmla="*/ 2661 h 1344613"/>
              <a:gd name="connsiteX2689" fmla="*/ 975251 w 1317625"/>
              <a:gd name="connsiteY2689" fmla="*/ 1597 h 1344613"/>
              <a:gd name="connsiteX2690" fmla="*/ 975251 w 1317625"/>
              <a:gd name="connsiteY2690" fmla="*/ 0 h 1344613"/>
              <a:gd name="connsiteX2691" fmla="*/ 977417 w 1317625"/>
              <a:gd name="connsiteY2691" fmla="*/ 1597 h 1344613"/>
              <a:gd name="connsiteX2692" fmla="*/ 979583 w 1317625"/>
              <a:gd name="connsiteY2692" fmla="*/ 3193 h 1344613"/>
              <a:gd name="connsiteX2693" fmla="*/ 981316 w 1317625"/>
              <a:gd name="connsiteY2693" fmla="*/ 3726 h 1344613"/>
              <a:gd name="connsiteX2694" fmla="*/ 983049 w 1317625"/>
              <a:gd name="connsiteY2694" fmla="*/ 4258 h 1344613"/>
              <a:gd name="connsiteX2695" fmla="*/ 986948 w 1317625"/>
              <a:gd name="connsiteY2695" fmla="*/ 4258 h 1344613"/>
              <a:gd name="connsiteX2696" fmla="*/ 990847 w 1317625"/>
              <a:gd name="connsiteY2696" fmla="*/ 3726 h 1344613"/>
              <a:gd name="connsiteX2697" fmla="*/ 997345 w 1317625"/>
              <a:gd name="connsiteY2697" fmla="*/ 1597 h 1344613"/>
              <a:gd name="connsiteX2698" fmla="*/ 1004277 w 1317625"/>
              <a:gd name="connsiteY2698" fmla="*/ 0 h 1344613"/>
              <a:gd name="connsiteX2699" fmla="*/ 1011208 w 1317625"/>
              <a:gd name="connsiteY2699" fmla="*/ 532 h 1344613"/>
              <a:gd name="connsiteX2700" fmla="*/ 1018573 w 1317625"/>
              <a:gd name="connsiteY2700" fmla="*/ 1064 h 1344613"/>
              <a:gd name="connsiteX2701" fmla="*/ 1024638 w 1317625"/>
              <a:gd name="connsiteY2701" fmla="*/ 2129 h 1344613"/>
              <a:gd name="connsiteX2702" fmla="*/ 1031136 w 1317625"/>
              <a:gd name="connsiteY2702" fmla="*/ 3193 h 1344613"/>
              <a:gd name="connsiteX2703" fmla="*/ 1038068 w 1317625"/>
              <a:gd name="connsiteY2703" fmla="*/ 4790 h 1344613"/>
              <a:gd name="connsiteX2704" fmla="*/ 1044566 w 1317625"/>
              <a:gd name="connsiteY2704" fmla="*/ 5854 h 1344613"/>
              <a:gd name="connsiteX2705" fmla="*/ 1051064 w 1317625"/>
              <a:gd name="connsiteY2705" fmla="*/ 6387 h 1344613"/>
              <a:gd name="connsiteX2706" fmla="*/ 1058862 w 1317625"/>
              <a:gd name="connsiteY2706" fmla="*/ 6387 h 1344613"/>
              <a:gd name="connsiteX2707" fmla="*/ 1058862 w 1317625"/>
              <a:gd name="connsiteY2707" fmla="*/ 23418 h 1344613"/>
              <a:gd name="connsiteX2708" fmla="*/ 1058429 w 1317625"/>
              <a:gd name="connsiteY2708" fmla="*/ 26079 h 1344613"/>
              <a:gd name="connsiteX2709" fmla="*/ 1057129 w 1317625"/>
              <a:gd name="connsiteY2709" fmla="*/ 29272 h 1344613"/>
              <a:gd name="connsiteX2710" fmla="*/ 1055830 w 1317625"/>
              <a:gd name="connsiteY2710" fmla="*/ 30869 h 1344613"/>
              <a:gd name="connsiteX2711" fmla="*/ 1054963 w 1317625"/>
              <a:gd name="connsiteY2711" fmla="*/ 31933 h 1344613"/>
              <a:gd name="connsiteX2712" fmla="*/ 1054097 w 1317625"/>
              <a:gd name="connsiteY2712" fmla="*/ 32466 h 1344613"/>
              <a:gd name="connsiteX2713" fmla="*/ 1053230 w 1317625"/>
              <a:gd name="connsiteY2713" fmla="*/ 32998 h 1344613"/>
              <a:gd name="connsiteX2714" fmla="*/ 1044566 w 1317625"/>
              <a:gd name="connsiteY2714" fmla="*/ 32998 h 1344613"/>
              <a:gd name="connsiteX2715" fmla="*/ 1038068 w 1317625"/>
              <a:gd name="connsiteY2715" fmla="*/ 31933 h 1344613"/>
              <a:gd name="connsiteX2716" fmla="*/ 1034602 w 1317625"/>
              <a:gd name="connsiteY2716" fmla="*/ 30337 h 1344613"/>
              <a:gd name="connsiteX2717" fmla="*/ 1031570 w 1317625"/>
              <a:gd name="connsiteY2717" fmla="*/ 28740 h 1344613"/>
              <a:gd name="connsiteX2718" fmla="*/ 1029403 w 1317625"/>
              <a:gd name="connsiteY2718" fmla="*/ 26611 h 1344613"/>
              <a:gd name="connsiteX2719" fmla="*/ 1026804 w 1317625"/>
              <a:gd name="connsiteY2719" fmla="*/ 23418 h 1344613"/>
              <a:gd name="connsiteX2720" fmla="*/ 1001244 w 1317625"/>
              <a:gd name="connsiteY2720" fmla="*/ 23418 h 1344613"/>
              <a:gd name="connsiteX2721" fmla="*/ 1004710 w 1317625"/>
              <a:gd name="connsiteY2721" fmla="*/ 30869 h 1344613"/>
              <a:gd name="connsiteX2722" fmla="*/ 1007743 w 1317625"/>
              <a:gd name="connsiteY2722" fmla="*/ 37256 h 1344613"/>
              <a:gd name="connsiteX2723" fmla="*/ 1012075 w 1317625"/>
              <a:gd name="connsiteY2723" fmla="*/ 43110 h 1344613"/>
              <a:gd name="connsiteX2724" fmla="*/ 1016407 w 1317625"/>
              <a:gd name="connsiteY2724" fmla="*/ 47368 h 1344613"/>
              <a:gd name="connsiteX2725" fmla="*/ 1021172 w 1317625"/>
              <a:gd name="connsiteY2725" fmla="*/ 51094 h 1344613"/>
              <a:gd name="connsiteX2726" fmla="*/ 1026371 w 1317625"/>
              <a:gd name="connsiteY2726" fmla="*/ 54287 h 1344613"/>
              <a:gd name="connsiteX2727" fmla="*/ 1032003 w 1317625"/>
              <a:gd name="connsiteY2727" fmla="*/ 56948 h 1344613"/>
              <a:gd name="connsiteX2728" fmla="*/ 1038501 w 1317625"/>
              <a:gd name="connsiteY2728" fmla="*/ 59077 h 1344613"/>
              <a:gd name="connsiteX2729" fmla="*/ 1035902 w 1317625"/>
              <a:gd name="connsiteY2729" fmla="*/ 63335 h 1344613"/>
              <a:gd name="connsiteX2730" fmla="*/ 1033736 w 1317625"/>
              <a:gd name="connsiteY2730" fmla="*/ 67060 h 1344613"/>
              <a:gd name="connsiteX2731" fmla="*/ 1030703 w 1317625"/>
              <a:gd name="connsiteY2731" fmla="*/ 70254 h 1344613"/>
              <a:gd name="connsiteX2732" fmla="*/ 1028104 w 1317625"/>
              <a:gd name="connsiteY2732" fmla="*/ 72383 h 1344613"/>
              <a:gd name="connsiteX2733" fmla="*/ 1024205 w 1317625"/>
              <a:gd name="connsiteY2733" fmla="*/ 73979 h 1344613"/>
              <a:gd name="connsiteX2734" fmla="*/ 1020739 w 1317625"/>
              <a:gd name="connsiteY2734" fmla="*/ 75044 h 1344613"/>
              <a:gd name="connsiteX2735" fmla="*/ 1016840 w 1317625"/>
              <a:gd name="connsiteY2735" fmla="*/ 75576 h 1344613"/>
              <a:gd name="connsiteX2736" fmla="*/ 1012508 w 1317625"/>
              <a:gd name="connsiteY2736" fmla="*/ 75576 h 1344613"/>
              <a:gd name="connsiteX2737" fmla="*/ 1009475 w 1317625"/>
              <a:gd name="connsiteY2737" fmla="*/ 75576 h 1344613"/>
              <a:gd name="connsiteX2738" fmla="*/ 1006876 w 1317625"/>
              <a:gd name="connsiteY2738" fmla="*/ 75044 h 1344613"/>
              <a:gd name="connsiteX2739" fmla="*/ 1004710 w 1317625"/>
              <a:gd name="connsiteY2739" fmla="*/ 73979 h 1344613"/>
              <a:gd name="connsiteX2740" fmla="*/ 1002544 w 1317625"/>
              <a:gd name="connsiteY2740" fmla="*/ 72383 h 1344613"/>
              <a:gd name="connsiteX2741" fmla="*/ 1000811 w 1317625"/>
              <a:gd name="connsiteY2741" fmla="*/ 71318 h 1344613"/>
              <a:gd name="connsiteX2742" fmla="*/ 999511 w 1317625"/>
              <a:gd name="connsiteY2742" fmla="*/ 70254 h 1344613"/>
              <a:gd name="connsiteX2743" fmla="*/ 997345 w 1317625"/>
              <a:gd name="connsiteY2743" fmla="*/ 69721 h 1344613"/>
              <a:gd name="connsiteX2744" fmla="*/ 995179 w 1317625"/>
              <a:gd name="connsiteY2744" fmla="*/ 69189 h 1344613"/>
              <a:gd name="connsiteX2745" fmla="*/ 993013 w 1317625"/>
              <a:gd name="connsiteY2745" fmla="*/ 68125 h 1344613"/>
              <a:gd name="connsiteX2746" fmla="*/ 991280 w 1317625"/>
              <a:gd name="connsiteY2746" fmla="*/ 66528 h 1344613"/>
              <a:gd name="connsiteX2747" fmla="*/ 989114 w 1317625"/>
              <a:gd name="connsiteY2747" fmla="*/ 64399 h 1344613"/>
              <a:gd name="connsiteX2748" fmla="*/ 987381 w 1317625"/>
              <a:gd name="connsiteY2748" fmla="*/ 61738 h 1344613"/>
              <a:gd name="connsiteX2749" fmla="*/ 986082 w 1317625"/>
              <a:gd name="connsiteY2749" fmla="*/ 58545 h 1344613"/>
              <a:gd name="connsiteX2750" fmla="*/ 984782 w 1317625"/>
              <a:gd name="connsiteY2750" fmla="*/ 55351 h 1344613"/>
              <a:gd name="connsiteX2751" fmla="*/ 984349 w 1317625"/>
              <a:gd name="connsiteY2751" fmla="*/ 52158 h 1344613"/>
              <a:gd name="connsiteX2752" fmla="*/ 983482 w 1317625"/>
              <a:gd name="connsiteY2752" fmla="*/ 49497 h 1344613"/>
              <a:gd name="connsiteX2753" fmla="*/ 980450 w 1317625"/>
              <a:gd name="connsiteY2753" fmla="*/ 48965 h 1344613"/>
              <a:gd name="connsiteX2754" fmla="*/ 977417 w 1317625"/>
              <a:gd name="connsiteY2754" fmla="*/ 47900 h 1344613"/>
              <a:gd name="connsiteX2755" fmla="*/ 976820 w 1317625"/>
              <a:gd name="connsiteY2755" fmla="*/ 47586 h 1344613"/>
              <a:gd name="connsiteX2756" fmla="*/ 976164 w 1317625"/>
              <a:gd name="connsiteY2756" fmla="*/ 48909 h 1344613"/>
              <a:gd name="connsiteX2757" fmla="*/ 974864 w 1317625"/>
              <a:gd name="connsiteY2757" fmla="*/ 51008 h 1344613"/>
              <a:gd name="connsiteX2758" fmla="*/ 973998 w 1317625"/>
              <a:gd name="connsiteY2758" fmla="*/ 53630 h 1344613"/>
              <a:gd name="connsiteX2759" fmla="*/ 973998 w 1317625"/>
              <a:gd name="connsiteY2759" fmla="*/ 56253 h 1344613"/>
              <a:gd name="connsiteX2760" fmla="*/ 968799 w 1317625"/>
              <a:gd name="connsiteY2760" fmla="*/ 55729 h 1344613"/>
              <a:gd name="connsiteX2761" fmla="*/ 963600 w 1317625"/>
              <a:gd name="connsiteY2761" fmla="*/ 54155 h 1344613"/>
              <a:gd name="connsiteX2762" fmla="*/ 958834 w 1317625"/>
              <a:gd name="connsiteY2762" fmla="*/ 52057 h 1344613"/>
              <a:gd name="connsiteX2763" fmla="*/ 956793 w 1317625"/>
              <a:gd name="connsiteY2763" fmla="*/ 50933 h 1344613"/>
              <a:gd name="connsiteX2764" fmla="*/ 959587 w 1317625"/>
              <a:gd name="connsiteY2764" fmla="*/ 53308 h 1344613"/>
              <a:gd name="connsiteX2765" fmla="*/ 963965 w 1317625"/>
              <a:gd name="connsiteY2765" fmla="*/ 55393 h 1344613"/>
              <a:gd name="connsiteX2766" fmla="*/ 967906 w 1317625"/>
              <a:gd name="connsiteY2766" fmla="*/ 56956 h 1344613"/>
              <a:gd name="connsiteX2767" fmla="*/ 972284 w 1317625"/>
              <a:gd name="connsiteY2767" fmla="*/ 57477 h 1344613"/>
              <a:gd name="connsiteX2768" fmla="*/ 963527 w 1317625"/>
              <a:gd name="connsiteY2768" fmla="*/ 76757 h 1344613"/>
              <a:gd name="connsiteX2769" fmla="*/ 965279 w 1317625"/>
              <a:gd name="connsiteY2769" fmla="*/ 79363 h 1344613"/>
              <a:gd name="connsiteX2770" fmla="*/ 967030 w 1317625"/>
              <a:gd name="connsiteY2770" fmla="*/ 81968 h 1344613"/>
              <a:gd name="connsiteX2771" fmla="*/ 969219 w 1317625"/>
              <a:gd name="connsiteY2771" fmla="*/ 84574 h 1344613"/>
              <a:gd name="connsiteX2772" fmla="*/ 971408 w 1317625"/>
              <a:gd name="connsiteY2772" fmla="*/ 87179 h 1344613"/>
              <a:gd name="connsiteX2773" fmla="*/ 976224 w 1317625"/>
              <a:gd name="connsiteY2773" fmla="*/ 90306 h 1344613"/>
              <a:gd name="connsiteX2774" fmla="*/ 981040 w 1317625"/>
              <a:gd name="connsiteY2774" fmla="*/ 93432 h 1344613"/>
              <a:gd name="connsiteX2775" fmla="*/ 990672 w 1317625"/>
              <a:gd name="connsiteY2775" fmla="*/ 98122 h 1344613"/>
              <a:gd name="connsiteX2776" fmla="*/ 998115 w 1317625"/>
              <a:gd name="connsiteY2776" fmla="*/ 102291 h 1344613"/>
              <a:gd name="connsiteX2777" fmla="*/ 997240 w 1317625"/>
              <a:gd name="connsiteY2777" fmla="*/ 106459 h 1344613"/>
              <a:gd name="connsiteX2778" fmla="*/ 995926 w 1317625"/>
              <a:gd name="connsiteY2778" fmla="*/ 110107 h 1344613"/>
              <a:gd name="connsiteX2779" fmla="*/ 994613 w 1317625"/>
              <a:gd name="connsiteY2779" fmla="*/ 112712 h 1344613"/>
              <a:gd name="connsiteX2780" fmla="*/ 992861 w 1317625"/>
              <a:gd name="connsiteY2780" fmla="*/ 114797 h 1344613"/>
              <a:gd name="connsiteX2781" fmla="*/ 991548 w 1317625"/>
              <a:gd name="connsiteY2781" fmla="*/ 117923 h 1344613"/>
              <a:gd name="connsiteX2782" fmla="*/ 990672 w 1317625"/>
              <a:gd name="connsiteY2782" fmla="*/ 120529 h 1344613"/>
              <a:gd name="connsiteX2783" fmla="*/ 990235 w 1317625"/>
              <a:gd name="connsiteY2783" fmla="*/ 124176 h 1344613"/>
              <a:gd name="connsiteX2784" fmla="*/ 989797 w 1317625"/>
              <a:gd name="connsiteY2784" fmla="*/ 128345 h 1344613"/>
              <a:gd name="connsiteX2785" fmla="*/ 990235 w 1317625"/>
              <a:gd name="connsiteY2785" fmla="*/ 131993 h 1344613"/>
              <a:gd name="connsiteX2786" fmla="*/ 991986 w 1317625"/>
              <a:gd name="connsiteY2786" fmla="*/ 136161 h 1344613"/>
              <a:gd name="connsiteX2787" fmla="*/ 994613 w 1317625"/>
              <a:gd name="connsiteY2787" fmla="*/ 140330 h 1344613"/>
              <a:gd name="connsiteX2788" fmla="*/ 997240 w 1317625"/>
              <a:gd name="connsiteY2788" fmla="*/ 145020 h 1344613"/>
              <a:gd name="connsiteX2789" fmla="*/ 1000304 w 1317625"/>
              <a:gd name="connsiteY2789" fmla="*/ 148667 h 1344613"/>
              <a:gd name="connsiteX2790" fmla="*/ 1002931 w 1317625"/>
              <a:gd name="connsiteY2790" fmla="*/ 151273 h 1344613"/>
              <a:gd name="connsiteX2791" fmla="*/ 1005558 w 1317625"/>
              <a:gd name="connsiteY2791" fmla="*/ 153357 h 1344613"/>
              <a:gd name="connsiteX2792" fmla="*/ 1006872 w 1317625"/>
              <a:gd name="connsiteY2792" fmla="*/ 153878 h 1344613"/>
              <a:gd name="connsiteX2793" fmla="*/ 1007310 w 1317625"/>
              <a:gd name="connsiteY2793" fmla="*/ 162216 h 1344613"/>
              <a:gd name="connsiteX2794" fmla="*/ 1008185 w 1317625"/>
              <a:gd name="connsiteY2794" fmla="*/ 170032 h 1344613"/>
              <a:gd name="connsiteX2795" fmla="*/ 1010374 w 1317625"/>
              <a:gd name="connsiteY2795" fmla="*/ 177848 h 1344613"/>
              <a:gd name="connsiteX2796" fmla="*/ 1012563 w 1317625"/>
              <a:gd name="connsiteY2796" fmla="*/ 184102 h 1344613"/>
              <a:gd name="connsiteX2797" fmla="*/ 1015190 w 1317625"/>
              <a:gd name="connsiteY2797" fmla="*/ 189834 h 1344613"/>
              <a:gd name="connsiteX2798" fmla="*/ 1018255 w 1317625"/>
              <a:gd name="connsiteY2798" fmla="*/ 195044 h 1344613"/>
              <a:gd name="connsiteX2799" fmla="*/ 1022195 w 1317625"/>
              <a:gd name="connsiteY2799" fmla="*/ 199734 h 1344613"/>
              <a:gd name="connsiteX2800" fmla="*/ 1026136 w 1317625"/>
              <a:gd name="connsiteY2800" fmla="*/ 204424 h 1344613"/>
              <a:gd name="connsiteX2801" fmla="*/ 1030514 w 1317625"/>
              <a:gd name="connsiteY2801" fmla="*/ 208593 h 1344613"/>
              <a:gd name="connsiteX2802" fmla="*/ 1034892 w 1317625"/>
              <a:gd name="connsiteY2802" fmla="*/ 212240 h 1344613"/>
              <a:gd name="connsiteX2803" fmla="*/ 1039271 w 1317625"/>
              <a:gd name="connsiteY2803" fmla="*/ 215888 h 1344613"/>
              <a:gd name="connsiteX2804" fmla="*/ 1044087 w 1317625"/>
              <a:gd name="connsiteY2804" fmla="*/ 219014 h 1344613"/>
              <a:gd name="connsiteX2805" fmla="*/ 1053719 w 1317625"/>
              <a:gd name="connsiteY2805" fmla="*/ 224746 h 1344613"/>
              <a:gd name="connsiteX2806" fmla="*/ 1062037 w 1317625"/>
              <a:gd name="connsiteY2806" fmla="*/ 230478 h 1344613"/>
              <a:gd name="connsiteX2807" fmla="*/ 1045400 w 1317625"/>
              <a:gd name="connsiteY2807" fmla="*/ 247674 h 1344613"/>
              <a:gd name="connsiteX2808" fmla="*/ 1029638 w 1317625"/>
              <a:gd name="connsiteY2808" fmla="*/ 265391 h 1344613"/>
              <a:gd name="connsiteX2809" fmla="*/ 1022195 w 1317625"/>
              <a:gd name="connsiteY2809" fmla="*/ 273729 h 1344613"/>
              <a:gd name="connsiteX2810" fmla="*/ 1015190 w 1317625"/>
              <a:gd name="connsiteY2810" fmla="*/ 282587 h 1344613"/>
              <a:gd name="connsiteX2811" fmla="*/ 1007747 w 1317625"/>
              <a:gd name="connsiteY2811" fmla="*/ 292488 h 1344613"/>
              <a:gd name="connsiteX2812" fmla="*/ 1001180 w 1317625"/>
              <a:gd name="connsiteY2812" fmla="*/ 301346 h 1344613"/>
              <a:gd name="connsiteX2813" fmla="*/ 996802 w 1317625"/>
              <a:gd name="connsiteY2813" fmla="*/ 301346 h 1344613"/>
              <a:gd name="connsiteX2814" fmla="*/ 992424 w 1317625"/>
              <a:gd name="connsiteY2814" fmla="*/ 301346 h 1344613"/>
              <a:gd name="connsiteX2815" fmla="*/ 957836 w 1317625"/>
              <a:gd name="connsiteY2815" fmla="*/ 301346 h 1344613"/>
              <a:gd name="connsiteX2816" fmla="*/ 956084 w 1317625"/>
              <a:gd name="connsiteY2816" fmla="*/ 304994 h 1344613"/>
              <a:gd name="connsiteX2817" fmla="*/ 953458 w 1317625"/>
              <a:gd name="connsiteY2817" fmla="*/ 307599 h 1344613"/>
              <a:gd name="connsiteX2818" fmla="*/ 950831 w 1317625"/>
              <a:gd name="connsiteY2818" fmla="*/ 310205 h 1344613"/>
              <a:gd name="connsiteX2819" fmla="*/ 947766 w 1317625"/>
              <a:gd name="connsiteY2819" fmla="*/ 311768 h 1344613"/>
              <a:gd name="connsiteX2820" fmla="*/ 944263 w 1317625"/>
              <a:gd name="connsiteY2820" fmla="*/ 313852 h 1344613"/>
              <a:gd name="connsiteX2821" fmla="*/ 941199 w 1317625"/>
              <a:gd name="connsiteY2821" fmla="*/ 314895 h 1344613"/>
              <a:gd name="connsiteX2822" fmla="*/ 937258 w 1317625"/>
              <a:gd name="connsiteY2822" fmla="*/ 315937 h 1344613"/>
              <a:gd name="connsiteX2823" fmla="*/ 933318 w 1317625"/>
              <a:gd name="connsiteY2823" fmla="*/ 316458 h 1344613"/>
              <a:gd name="connsiteX2824" fmla="*/ 924999 w 1317625"/>
              <a:gd name="connsiteY2824" fmla="*/ 317500 h 1344613"/>
              <a:gd name="connsiteX2825" fmla="*/ 917118 w 1317625"/>
              <a:gd name="connsiteY2825" fmla="*/ 317500 h 1344613"/>
              <a:gd name="connsiteX2826" fmla="*/ 909238 w 1317625"/>
              <a:gd name="connsiteY2826" fmla="*/ 317500 h 1344613"/>
              <a:gd name="connsiteX2827" fmla="*/ 902670 w 1317625"/>
              <a:gd name="connsiteY2827" fmla="*/ 317500 h 1344613"/>
              <a:gd name="connsiteX2828" fmla="*/ 894352 w 1317625"/>
              <a:gd name="connsiteY2828" fmla="*/ 316979 h 1344613"/>
              <a:gd name="connsiteX2829" fmla="*/ 887784 w 1317625"/>
              <a:gd name="connsiteY2829" fmla="*/ 316458 h 1344613"/>
              <a:gd name="connsiteX2830" fmla="*/ 885157 w 1317625"/>
              <a:gd name="connsiteY2830" fmla="*/ 315937 h 1344613"/>
              <a:gd name="connsiteX2831" fmla="*/ 883406 w 1317625"/>
              <a:gd name="connsiteY2831" fmla="*/ 314895 h 1344613"/>
              <a:gd name="connsiteX2832" fmla="*/ 882530 w 1317625"/>
              <a:gd name="connsiteY2832" fmla="*/ 313331 h 1344613"/>
              <a:gd name="connsiteX2833" fmla="*/ 882093 w 1317625"/>
              <a:gd name="connsiteY2833" fmla="*/ 311247 h 1344613"/>
              <a:gd name="connsiteX2834" fmla="*/ 877277 w 1317625"/>
              <a:gd name="connsiteY2834" fmla="*/ 310726 h 1344613"/>
              <a:gd name="connsiteX2835" fmla="*/ 872461 w 1317625"/>
              <a:gd name="connsiteY2835" fmla="*/ 309684 h 1344613"/>
              <a:gd name="connsiteX2836" fmla="*/ 867207 w 1317625"/>
              <a:gd name="connsiteY2836" fmla="*/ 307599 h 1344613"/>
              <a:gd name="connsiteX2837" fmla="*/ 861953 w 1317625"/>
              <a:gd name="connsiteY2837" fmla="*/ 305515 h 1344613"/>
              <a:gd name="connsiteX2838" fmla="*/ 857137 w 1317625"/>
              <a:gd name="connsiteY2838" fmla="*/ 302910 h 1344613"/>
              <a:gd name="connsiteX2839" fmla="*/ 853634 w 1317625"/>
              <a:gd name="connsiteY2839" fmla="*/ 300304 h 1344613"/>
              <a:gd name="connsiteX2840" fmla="*/ 852321 w 1317625"/>
              <a:gd name="connsiteY2840" fmla="*/ 299262 h 1344613"/>
              <a:gd name="connsiteX2841" fmla="*/ 851007 w 1317625"/>
              <a:gd name="connsiteY2841" fmla="*/ 297699 h 1344613"/>
              <a:gd name="connsiteX2842" fmla="*/ 850132 w 1317625"/>
              <a:gd name="connsiteY2842" fmla="*/ 296657 h 1344613"/>
              <a:gd name="connsiteX2843" fmla="*/ 850132 w 1317625"/>
              <a:gd name="connsiteY2843" fmla="*/ 295093 h 1344613"/>
              <a:gd name="connsiteX2844" fmla="*/ 850132 w 1317625"/>
              <a:gd name="connsiteY2844" fmla="*/ 293009 h 1344613"/>
              <a:gd name="connsiteX2845" fmla="*/ 851007 w 1317625"/>
              <a:gd name="connsiteY2845" fmla="*/ 290404 h 1344613"/>
              <a:gd name="connsiteX2846" fmla="*/ 852321 w 1317625"/>
              <a:gd name="connsiteY2846" fmla="*/ 287798 h 1344613"/>
              <a:gd name="connsiteX2847" fmla="*/ 853196 w 1317625"/>
              <a:gd name="connsiteY2847" fmla="*/ 285714 h 1344613"/>
              <a:gd name="connsiteX2848" fmla="*/ 854948 w 1317625"/>
              <a:gd name="connsiteY2848" fmla="*/ 282066 h 1344613"/>
              <a:gd name="connsiteX2849" fmla="*/ 855823 w 1317625"/>
              <a:gd name="connsiteY2849" fmla="*/ 278940 h 1344613"/>
              <a:gd name="connsiteX2850" fmla="*/ 855386 w 1317625"/>
              <a:gd name="connsiteY2850" fmla="*/ 276334 h 1344613"/>
              <a:gd name="connsiteX2851" fmla="*/ 854948 w 1317625"/>
              <a:gd name="connsiteY2851" fmla="*/ 273729 h 1344613"/>
              <a:gd name="connsiteX2852" fmla="*/ 854510 w 1317625"/>
              <a:gd name="connsiteY2852" fmla="*/ 271644 h 1344613"/>
              <a:gd name="connsiteX2853" fmla="*/ 853634 w 1317625"/>
              <a:gd name="connsiteY2853" fmla="*/ 269560 h 1344613"/>
              <a:gd name="connsiteX2854" fmla="*/ 851007 w 1317625"/>
              <a:gd name="connsiteY2854" fmla="*/ 266433 h 1344613"/>
              <a:gd name="connsiteX2855" fmla="*/ 848818 w 1317625"/>
              <a:gd name="connsiteY2855" fmla="*/ 263828 h 1344613"/>
              <a:gd name="connsiteX2856" fmla="*/ 845753 w 1317625"/>
              <a:gd name="connsiteY2856" fmla="*/ 261744 h 1344613"/>
              <a:gd name="connsiteX2857" fmla="*/ 843564 w 1317625"/>
              <a:gd name="connsiteY2857" fmla="*/ 259138 h 1344613"/>
              <a:gd name="connsiteX2858" fmla="*/ 842689 w 1317625"/>
              <a:gd name="connsiteY2858" fmla="*/ 257575 h 1344613"/>
              <a:gd name="connsiteX2859" fmla="*/ 841813 w 1317625"/>
              <a:gd name="connsiteY2859" fmla="*/ 256533 h 1344613"/>
              <a:gd name="connsiteX2860" fmla="*/ 841375 w 1317625"/>
              <a:gd name="connsiteY2860" fmla="*/ 254970 h 1344613"/>
              <a:gd name="connsiteX2861" fmla="*/ 841375 w 1317625"/>
              <a:gd name="connsiteY2861" fmla="*/ 253406 h 1344613"/>
              <a:gd name="connsiteX2862" fmla="*/ 841813 w 1317625"/>
              <a:gd name="connsiteY2862" fmla="*/ 248195 h 1344613"/>
              <a:gd name="connsiteX2863" fmla="*/ 843564 w 1317625"/>
              <a:gd name="connsiteY2863" fmla="*/ 242985 h 1344613"/>
              <a:gd name="connsiteX2864" fmla="*/ 845753 w 1317625"/>
              <a:gd name="connsiteY2864" fmla="*/ 237774 h 1344613"/>
              <a:gd name="connsiteX2865" fmla="*/ 848818 w 1317625"/>
              <a:gd name="connsiteY2865" fmla="*/ 232042 h 1344613"/>
              <a:gd name="connsiteX2866" fmla="*/ 852759 w 1317625"/>
              <a:gd name="connsiteY2866" fmla="*/ 226310 h 1344613"/>
              <a:gd name="connsiteX2867" fmla="*/ 857575 w 1317625"/>
              <a:gd name="connsiteY2867" fmla="*/ 220578 h 1344613"/>
              <a:gd name="connsiteX2868" fmla="*/ 862391 w 1317625"/>
              <a:gd name="connsiteY2868" fmla="*/ 215367 h 1344613"/>
              <a:gd name="connsiteX2869" fmla="*/ 867645 w 1317625"/>
              <a:gd name="connsiteY2869" fmla="*/ 210156 h 1344613"/>
              <a:gd name="connsiteX2870" fmla="*/ 873336 w 1317625"/>
              <a:gd name="connsiteY2870" fmla="*/ 205466 h 1344613"/>
              <a:gd name="connsiteX2871" fmla="*/ 879028 w 1317625"/>
              <a:gd name="connsiteY2871" fmla="*/ 200255 h 1344613"/>
              <a:gd name="connsiteX2872" fmla="*/ 884720 w 1317625"/>
              <a:gd name="connsiteY2872" fmla="*/ 196087 h 1344613"/>
              <a:gd name="connsiteX2873" fmla="*/ 890411 w 1317625"/>
              <a:gd name="connsiteY2873" fmla="*/ 192960 h 1344613"/>
              <a:gd name="connsiteX2874" fmla="*/ 895665 w 1317625"/>
              <a:gd name="connsiteY2874" fmla="*/ 189834 h 1344613"/>
              <a:gd name="connsiteX2875" fmla="*/ 901795 w 1317625"/>
              <a:gd name="connsiteY2875" fmla="*/ 187749 h 1344613"/>
              <a:gd name="connsiteX2876" fmla="*/ 906611 w 1317625"/>
              <a:gd name="connsiteY2876" fmla="*/ 186186 h 1344613"/>
              <a:gd name="connsiteX2877" fmla="*/ 911427 w 1317625"/>
              <a:gd name="connsiteY2877" fmla="*/ 186186 h 1344613"/>
              <a:gd name="connsiteX2878" fmla="*/ 914054 w 1317625"/>
              <a:gd name="connsiteY2878" fmla="*/ 183059 h 1344613"/>
              <a:gd name="connsiteX2879" fmla="*/ 911427 w 1317625"/>
              <a:gd name="connsiteY2879" fmla="*/ 182538 h 1344613"/>
              <a:gd name="connsiteX2880" fmla="*/ 909238 w 1317625"/>
              <a:gd name="connsiteY2880" fmla="*/ 182017 h 1344613"/>
              <a:gd name="connsiteX2881" fmla="*/ 907048 w 1317625"/>
              <a:gd name="connsiteY2881" fmla="*/ 181496 h 1344613"/>
              <a:gd name="connsiteX2882" fmla="*/ 904859 w 1317625"/>
              <a:gd name="connsiteY2882" fmla="*/ 180454 h 1344613"/>
              <a:gd name="connsiteX2883" fmla="*/ 903546 w 1317625"/>
              <a:gd name="connsiteY2883" fmla="*/ 179412 h 1344613"/>
              <a:gd name="connsiteX2884" fmla="*/ 902232 w 1317625"/>
              <a:gd name="connsiteY2884" fmla="*/ 178369 h 1344613"/>
              <a:gd name="connsiteX2885" fmla="*/ 900481 w 1317625"/>
              <a:gd name="connsiteY2885" fmla="*/ 176806 h 1344613"/>
              <a:gd name="connsiteX2886" fmla="*/ 899605 w 1317625"/>
              <a:gd name="connsiteY2886" fmla="*/ 175243 h 1344613"/>
              <a:gd name="connsiteX2887" fmla="*/ 898292 w 1317625"/>
              <a:gd name="connsiteY2887" fmla="*/ 171595 h 1344613"/>
              <a:gd name="connsiteX2888" fmla="*/ 897416 w 1317625"/>
              <a:gd name="connsiteY2888" fmla="*/ 167427 h 1344613"/>
              <a:gd name="connsiteX2889" fmla="*/ 896979 w 1317625"/>
              <a:gd name="connsiteY2889" fmla="*/ 163779 h 1344613"/>
              <a:gd name="connsiteX2890" fmla="*/ 896979 w 1317625"/>
              <a:gd name="connsiteY2890" fmla="*/ 160131 h 1344613"/>
              <a:gd name="connsiteX2891" fmla="*/ 896541 w 1317625"/>
              <a:gd name="connsiteY2891" fmla="*/ 152836 h 1344613"/>
              <a:gd name="connsiteX2892" fmla="*/ 895665 w 1317625"/>
              <a:gd name="connsiteY2892" fmla="*/ 146062 h 1344613"/>
              <a:gd name="connsiteX2893" fmla="*/ 894352 w 1317625"/>
              <a:gd name="connsiteY2893" fmla="*/ 139288 h 1344613"/>
              <a:gd name="connsiteX2894" fmla="*/ 893476 w 1317625"/>
              <a:gd name="connsiteY2894" fmla="*/ 133556 h 1344613"/>
              <a:gd name="connsiteX2895" fmla="*/ 891725 w 1317625"/>
              <a:gd name="connsiteY2895" fmla="*/ 128345 h 1344613"/>
              <a:gd name="connsiteX2896" fmla="*/ 889536 w 1317625"/>
              <a:gd name="connsiteY2896" fmla="*/ 123655 h 1344613"/>
              <a:gd name="connsiteX2897" fmla="*/ 887784 w 1317625"/>
              <a:gd name="connsiteY2897" fmla="*/ 118965 h 1344613"/>
              <a:gd name="connsiteX2898" fmla="*/ 885157 w 1317625"/>
              <a:gd name="connsiteY2898" fmla="*/ 114276 h 1344613"/>
              <a:gd name="connsiteX2899" fmla="*/ 880341 w 1317625"/>
              <a:gd name="connsiteY2899" fmla="*/ 106459 h 1344613"/>
              <a:gd name="connsiteX2900" fmla="*/ 875525 w 1317625"/>
              <a:gd name="connsiteY2900" fmla="*/ 98643 h 1344613"/>
              <a:gd name="connsiteX2901" fmla="*/ 871147 w 1317625"/>
              <a:gd name="connsiteY2901" fmla="*/ 91348 h 1344613"/>
              <a:gd name="connsiteX2902" fmla="*/ 867645 w 1317625"/>
              <a:gd name="connsiteY2902" fmla="*/ 83010 h 1344613"/>
              <a:gd name="connsiteX2903" fmla="*/ 873774 w 1317625"/>
              <a:gd name="connsiteY2903" fmla="*/ 78842 h 1344613"/>
              <a:gd name="connsiteX2904" fmla="*/ 879028 w 1317625"/>
              <a:gd name="connsiteY2904" fmla="*/ 75715 h 1344613"/>
              <a:gd name="connsiteX2905" fmla="*/ 882093 w 1317625"/>
              <a:gd name="connsiteY2905" fmla="*/ 74673 h 1344613"/>
              <a:gd name="connsiteX2906" fmla="*/ 884720 w 1317625"/>
              <a:gd name="connsiteY2906" fmla="*/ 74152 h 1344613"/>
              <a:gd name="connsiteX2907" fmla="*/ 885793 w 1317625"/>
              <a:gd name="connsiteY2907" fmla="*/ 73969 h 1344613"/>
              <a:gd name="connsiteX2908" fmla="*/ 884672 w 1317625"/>
              <a:gd name="connsiteY2908" fmla="*/ 72529 h 1344613"/>
              <a:gd name="connsiteX2909" fmla="*/ 881719 w 1317625"/>
              <a:gd name="connsiteY2909" fmla="*/ 73039 h 1344613"/>
              <a:gd name="connsiteX2910" fmla="*/ 879120 w 1317625"/>
              <a:gd name="connsiteY2910" fmla="*/ 73564 h 1344613"/>
              <a:gd name="connsiteX2911" fmla="*/ 875654 w 1317625"/>
              <a:gd name="connsiteY2911" fmla="*/ 74613 h 1344613"/>
              <a:gd name="connsiteX2912" fmla="*/ 869589 w 1317625"/>
              <a:gd name="connsiteY2912" fmla="*/ 77760 h 1344613"/>
              <a:gd name="connsiteX2913" fmla="*/ 861790 w 1317625"/>
              <a:gd name="connsiteY2913" fmla="*/ 81957 h 1344613"/>
              <a:gd name="connsiteX2914" fmla="*/ 858325 w 1317625"/>
              <a:gd name="connsiteY2914" fmla="*/ 81957 h 1344613"/>
              <a:gd name="connsiteX2915" fmla="*/ 856158 w 1317625"/>
              <a:gd name="connsiteY2915" fmla="*/ 81432 h 1344613"/>
              <a:gd name="connsiteX2916" fmla="*/ 853126 w 1317625"/>
              <a:gd name="connsiteY2916" fmla="*/ 80383 h 1344613"/>
              <a:gd name="connsiteX2917" fmla="*/ 851393 w 1317625"/>
              <a:gd name="connsiteY2917" fmla="*/ 79334 h 1344613"/>
              <a:gd name="connsiteX2918" fmla="*/ 847060 w 1317625"/>
              <a:gd name="connsiteY2918" fmla="*/ 76711 h 1344613"/>
              <a:gd name="connsiteX2919" fmla="*/ 843595 w 1317625"/>
              <a:gd name="connsiteY2919" fmla="*/ 73039 h 1344613"/>
              <a:gd name="connsiteX2920" fmla="*/ 840562 w 1317625"/>
              <a:gd name="connsiteY2920" fmla="*/ 69367 h 1344613"/>
              <a:gd name="connsiteX2921" fmla="*/ 837529 w 1317625"/>
              <a:gd name="connsiteY2921" fmla="*/ 65695 h 1344613"/>
              <a:gd name="connsiteX2922" fmla="*/ 834064 w 1317625"/>
              <a:gd name="connsiteY2922" fmla="*/ 62548 h 1344613"/>
              <a:gd name="connsiteX2923" fmla="*/ 830164 w 1317625"/>
              <a:gd name="connsiteY2923" fmla="*/ 59925 h 1344613"/>
              <a:gd name="connsiteX2924" fmla="*/ 826699 w 1317625"/>
              <a:gd name="connsiteY2924" fmla="*/ 62548 h 1344613"/>
              <a:gd name="connsiteX2925" fmla="*/ 823233 w 1317625"/>
              <a:gd name="connsiteY2925" fmla="*/ 64646 h 1344613"/>
              <a:gd name="connsiteX2926" fmla="*/ 819767 w 1317625"/>
              <a:gd name="connsiteY2926" fmla="*/ 66744 h 1344613"/>
              <a:gd name="connsiteX2927" fmla="*/ 816734 w 1317625"/>
              <a:gd name="connsiteY2927" fmla="*/ 68318 h 1344613"/>
              <a:gd name="connsiteX2928" fmla="*/ 809369 w 1317625"/>
              <a:gd name="connsiteY2928" fmla="*/ 71466 h 1344613"/>
              <a:gd name="connsiteX2929" fmla="*/ 802004 w 1317625"/>
              <a:gd name="connsiteY2929" fmla="*/ 73039 h 1344613"/>
              <a:gd name="connsiteX2930" fmla="*/ 794206 w 1317625"/>
              <a:gd name="connsiteY2930" fmla="*/ 75138 h 1344613"/>
              <a:gd name="connsiteX2931" fmla="*/ 786408 w 1317625"/>
              <a:gd name="connsiteY2931" fmla="*/ 76711 h 1344613"/>
              <a:gd name="connsiteX2932" fmla="*/ 778177 w 1317625"/>
              <a:gd name="connsiteY2932" fmla="*/ 78809 h 1344613"/>
              <a:gd name="connsiteX2933" fmla="*/ 769512 w 1317625"/>
              <a:gd name="connsiteY2933" fmla="*/ 81957 h 1344613"/>
              <a:gd name="connsiteX2934" fmla="*/ 768212 w 1317625"/>
              <a:gd name="connsiteY2934" fmla="*/ 82481 h 1344613"/>
              <a:gd name="connsiteX2935" fmla="*/ 766046 w 1317625"/>
              <a:gd name="connsiteY2935" fmla="*/ 83006 h 1344613"/>
              <a:gd name="connsiteX2936" fmla="*/ 764746 w 1317625"/>
              <a:gd name="connsiteY2936" fmla="*/ 84580 h 1344613"/>
              <a:gd name="connsiteX2937" fmla="*/ 763013 w 1317625"/>
              <a:gd name="connsiteY2937" fmla="*/ 86678 h 1344613"/>
              <a:gd name="connsiteX2938" fmla="*/ 759114 w 1317625"/>
              <a:gd name="connsiteY2938" fmla="*/ 91399 h 1344613"/>
              <a:gd name="connsiteX2939" fmla="*/ 755648 w 1317625"/>
              <a:gd name="connsiteY2939" fmla="*/ 97169 h 1344613"/>
              <a:gd name="connsiteX2940" fmla="*/ 755503 w 1317625"/>
              <a:gd name="connsiteY2940" fmla="*/ 97470 h 1344613"/>
              <a:gd name="connsiteX2941" fmla="*/ 758108 w 1317625"/>
              <a:gd name="connsiteY2941" fmla="*/ 93243 h 1344613"/>
              <a:gd name="connsiteX2942" fmla="*/ 762090 w 1317625"/>
              <a:gd name="connsiteY2942" fmla="*/ 88544 h 1344613"/>
              <a:gd name="connsiteX2943" fmla="*/ 763860 w 1317625"/>
              <a:gd name="connsiteY2943" fmla="*/ 86455 h 1344613"/>
              <a:gd name="connsiteX2944" fmla="*/ 765187 w 1317625"/>
              <a:gd name="connsiteY2944" fmla="*/ 84889 h 1344613"/>
              <a:gd name="connsiteX2945" fmla="*/ 767400 w 1317625"/>
              <a:gd name="connsiteY2945" fmla="*/ 84366 h 1344613"/>
              <a:gd name="connsiteX2946" fmla="*/ 768727 w 1317625"/>
              <a:gd name="connsiteY2946" fmla="*/ 83844 h 1344613"/>
              <a:gd name="connsiteX2947" fmla="*/ 777576 w 1317625"/>
              <a:gd name="connsiteY2947" fmla="*/ 80711 h 1344613"/>
              <a:gd name="connsiteX2948" fmla="*/ 785983 w 1317625"/>
              <a:gd name="connsiteY2948" fmla="*/ 78623 h 1344613"/>
              <a:gd name="connsiteX2949" fmla="*/ 793948 w 1317625"/>
              <a:gd name="connsiteY2949" fmla="*/ 77056 h 1344613"/>
              <a:gd name="connsiteX2950" fmla="*/ 801912 w 1317625"/>
              <a:gd name="connsiteY2950" fmla="*/ 74967 h 1344613"/>
              <a:gd name="connsiteX2951" fmla="*/ 809434 w 1317625"/>
              <a:gd name="connsiteY2951" fmla="*/ 73401 h 1344613"/>
              <a:gd name="connsiteX2952" fmla="*/ 816956 w 1317625"/>
              <a:gd name="connsiteY2952" fmla="*/ 70268 h 1344613"/>
              <a:gd name="connsiteX2953" fmla="*/ 820053 w 1317625"/>
              <a:gd name="connsiteY2953" fmla="*/ 68701 h 1344613"/>
              <a:gd name="connsiteX2954" fmla="*/ 823593 w 1317625"/>
              <a:gd name="connsiteY2954" fmla="*/ 66613 h 1344613"/>
              <a:gd name="connsiteX2955" fmla="*/ 827133 w 1317625"/>
              <a:gd name="connsiteY2955" fmla="*/ 64524 h 1344613"/>
              <a:gd name="connsiteX2956" fmla="*/ 830672 w 1317625"/>
              <a:gd name="connsiteY2956" fmla="*/ 61913 h 1344613"/>
              <a:gd name="connsiteX2957" fmla="*/ 834655 w 1317625"/>
              <a:gd name="connsiteY2957" fmla="*/ 64524 h 1344613"/>
              <a:gd name="connsiteX2958" fmla="*/ 838194 w 1317625"/>
              <a:gd name="connsiteY2958" fmla="*/ 67657 h 1344613"/>
              <a:gd name="connsiteX2959" fmla="*/ 841292 w 1317625"/>
              <a:gd name="connsiteY2959" fmla="*/ 71312 h 1344613"/>
              <a:gd name="connsiteX2960" fmla="*/ 844389 w 1317625"/>
              <a:gd name="connsiteY2960" fmla="*/ 74967 h 1344613"/>
              <a:gd name="connsiteX2961" fmla="*/ 847929 w 1317625"/>
              <a:gd name="connsiteY2961" fmla="*/ 78623 h 1344613"/>
              <a:gd name="connsiteX2962" fmla="*/ 852353 w 1317625"/>
              <a:gd name="connsiteY2962" fmla="*/ 81233 h 1344613"/>
              <a:gd name="connsiteX2963" fmla="*/ 854123 w 1317625"/>
              <a:gd name="connsiteY2963" fmla="*/ 82278 h 1344613"/>
              <a:gd name="connsiteX2964" fmla="*/ 857220 w 1317625"/>
              <a:gd name="connsiteY2964" fmla="*/ 83322 h 1344613"/>
              <a:gd name="connsiteX2965" fmla="*/ 859433 w 1317625"/>
              <a:gd name="connsiteY2965" fmla="*/ 83844 h 1344613"/>
              <a:gd name="connsiteX2966" fmla="*/ 862972 w 1317625"/>
              <a:gd name="connsiteY2966" fmla="*/ 83844 h 1344613"/>
              <a:gd name="connsiteX2967" fmla="*/ 872707 w 1317625"/>
              <a:gd name="connsiteY2967" fmla="*/ 99510 h 1344613"/>
              <a:gd name="connsiteX2968" fmla="*/ 881999 w 1317625"/>
              <a:gd name="connsiteY2968" fmla="*/ 115175 h 1344613"/>
              <a:gd name="connsiteX2969" fmla="*/ 884211 w 1317625"/>
              <a:gd name="connsiteY2969" fmla="*/ 119874 h 1344613"/>
              <a:gd name="connsiteX2970" fmla="*/ 886423 w 1317625"/>
              <a:gd name="connsiteY2970" fmla="*/ 124574 h 1344613"/>
              <a:gd name="connsiteX2971" fmla="*/ 887751 w 1317625"/>
              <a:gd name="connsiteY2971" fmla="*/ 129274 h 1344613"/>
              <a:gd name="connsiteX2972" fmla="*/ 889078 w 1317625"/>
              <a:gd name="connsiteY2972" fmla="*/ 134495 h 1344613"/>
              <a:gd name="connsiteX2973" fmla="*/ 890848 w 1317625"/>
              <a:gd name="connsiteY2973" fmla="*/ 140239 h 1344613"/>
              <a:gd name="connsiteX2974" fmla="*/ 891733 w 1317625"/>
              <a:gd name="connsiteY2974" fmla="*/ 147028 h 1344613"/>
              <a:gd name="connsiteX2975" fmla="*/ 892175 w 1317625"/>
              <a:gd name="connsiteY2975" fmla="*/ 153816 h 1344613"/>
              <a:gd name="connsiteX2976" fmla="*/ 892175 w 1317625"/>
              <a:gd name="connsiteY2976" fmla="*/ 161126 h 1344613"/>
              <a:gd name="connsiteX2977" fmla="*/ 848371 w 1317625"/>
              <a:gd name="connsiteY2977" fmla="*/ 161126 h 1344613"/>
              <a:gd name="connsiteX2978" fmla="*/ 846601 w 1317625"/>
              <a:gd name="connsiteY2978" fmla="*/ 163215 h 1344613"/>
              <a:gd name="connsiteX2979" fmla="*/ 842619 w 1317625"/>
              <a:gd name="connsiteY2979" fmla="*/ 167915 h 1344613"/>
              <a:gd name="connsiteX2980" fmla="*/ 839964 w 1317625"/>
              <a:gd name="connsiteY2980" fmla="*/ 170525 h 1344613"/>
              <a:gd name="connsiteX2981" fmla="*/ 838194 w 1317625"/>
              <a:gd name="connsiteY2981" fmla="*/ 173136 h 1344613"/>
              <a:gd name="connsiteX2982" fmla="*/ 837309 w 1317625"/>
              <a:gd name="connsiteY2982" fmla="*/ 175747 h 1344613"/>
              <a:gd name="connsiteX2983" fmla="*/ 836867 w 1317625"/>
              <a:gd name="connsiteY2983" fmla="*/ 177314 h 1344613"/>
              <a:gd name="connsiteX2984" fmla="*/ 835982 w 1317625"/>
              <a:gd name="connsiteY2984" fmla="*/ 179925 h 1344613"/>
              <a:gd name="connsiteX2985" fmla="*/ 835539 w 1317625"/>
              <a:gd name="connsiteY2985" fmla="*/ 182013 h 1344613"/>
              <a:gd name="connsiteX2986" fmla="*/ 835539 w 1317625"/>
              <a:gd name="connsiteY2986" fmla="*/ 183580 h 1344613"/>
              <a:gd name="connsiteX2987" fmla="*/ 835982 w 1317625"/>
              <a:gd name="connsiteY2987" fmla="*/ 185669 h 1344613"/>
              <a:gd name="connsiteX2988" fmla="*/ 837309 w 1317625"/>
              <a:gd name="connsiteY2988" fmla="*/ 189324 h 1344613"/>
              <a:gd name="connsiteX2989" fmla="*/ 839522 w 1317625"/>
              <a:gd name="connsiteY2989" fmla="*/ 193501 h 1344613"/>
              <a:gd name="connsiteX2990" fmla="*/ 832885 w 1317625"/>
              <a:gd name="connsiteY2990" fmla="*/ 199767 h 1344613"/>
              <a:gd name="connsiteX2991" fmla="*/ 826248 w 1317625"/>
              <a:gd name="connsiteY2991" fmla="*/ 205511 h 1344613"/>
              <a:gd name="connsiteX2992" fmla="*/ 819611 w 1317625"/>
              <a:gd name="connsiteY2992" fmla="*/ 210211 h 1344613"/>
              <a:gd name="connsiteX2993" fmla="*/ 813416 w 1317625"/>
              <a:gd name="connsiteY2993" fmla="*/ 213866 h 1344613"/>
              <a:gd name="connsiteX2994" fmla="*/ 807222 w 1317625"/>
              <a:gd name="connsiteY2994" fmla="*/ 218044 h 1344613"/>
              <a:gd name="connsiteX2995" fmla="*/ 801027 w 1317625"/>
              <a:gd name="connsiteY2995" fmla="*/ 221699 h 1344613"/>
              <a:gd name="connsiteX2996" fmla="*/ 794832 w 1317625"/>
              <a:gd name="connsiteY2996" fmla="*/ 226398 h 1344613"/>
              <a:gd name="connsiteX2997" fmla="*/ 789523 w 1317625"/>
              <a:gd name="connsiteY2997" fmla="*/ 231620 h 1344613"/>
              <a:gd name="connsiteX2998" fmla="*/ 779789 w 1317625"/>
              <a:gd name="connsiteY2998" fmla="*/ 238408 h 1344613"/>
              <a:gd name="connsiteX2999" fmla="*/ 768727 w 1317625"/>
              <a:gd name="connsiteY2999" fmla="*/ 246763 h 1344613"/>
              <a:gd name="connsiteX3000" fmla="*/ 766957 w 1317625"/>
              <a:gd name="connsiteY3000" fmla="*/ 248852 h 1344613"/>
              <a:gd name="connsiteX3001" fmla="*/ 764302 w 1317625"/>
              <a:gd name="connsiteY3001" fmla="*/ 250418 h 1344613"/>
              <a:gd name="connsiteX3002" fmla="*/ 762975 w 1317625"/>
              <a:gd name="connsiteY3002" fmla="*/ 252507 h 1344613"/>
              <a:gd name="connsiteX3003" fmla="*/ 762090 w 1317625"/>
              <a:gd name="connsiteY3003" fmla="*/ 254596 h 1344613"/>
              <a:gd name="connsiteX3004" fmla="*/ 762090 w 1317625"/>
              <a:gd name="connsiteY3004" fmla="*/ 256162 h 1344613"/>
              <a:gd name="connsiteX3005" fmla="*/ 762532 w 1317625"/>
              <a:gd name="connsiteY3005" fmla="*/ 257729 h 1344613"/>
              <a:gd name="connsiteX3006" fmla="*/ 763860 w 1317625"/>
              <a:gd name="connsiteY3006" fmla="*/ 259295 h 1344613"/>
              <a:gd name="connsiteX3007" fmla="*/ 765630 w 1317625"/>
              <a:gd name="connsiteY3007" fmla="*/ 260862 h 1344613"/>
              <a:gd name="connsiteX3008" fmla="*/ 765630 w 1317625"/>
              <a:gd name="connsiteY3008" fmla="*/ 266084 h 1344613"/>
              <a:gd name="connsiteX3009" fmla="*/ 765630 w 1317625"/>
              <a:gd name="connsiteY3009" fmla="*/ 270783 h 1344613"/>
              <a:gd name="connsiteX3010" fmla="*/ 764745 w 1317625"/>
              <a:gd name="connsiteY3010" fmla="*/ 277572 h 1344613"/>
              <a:gd name="connsiteX3011" fmla="*/ 763417 w 1317625"/>
              <a:gd name="connsiteY3011" fmla="*/ 283316 h 1344613"/>
              <a:gd name="connsiteX3012" fmla="*/ 762532 w 1317625"/>
              <a:gd name="connsiteY3012" fmla="*/ 286449 h 1344613"/>
              <a:gd name="connsiteX3013" fmla="*/ 762532 w 1317625"/>
              <a:gd name="connsiteY3013" fmla="*/ 289582 h 1344613"/>
              <a:gd name="connsiteX3014" fmla="*/ 762532 w 1317625"/>
              <a:gd name="connsiteY3014" fmla="*/ 293237 h 1344613"/>
              <a:gd name="connsiteX3015" fmla="*/ 762975 w 1317625"/>
              <a:gd name="connsiteY3015" fmla="*/ 296370 h 1344613"/>
              <a:gd name="connsiteX3016" fmla="*/ 764745 w 1317625"/>
              <a:gd name="connsiteY3016" fmla="*/ 300025 h 1344613"/>
              <a:gd name="connsiteX3017" fmla="*/ 767400 w 1317625"/>
              <a:gd name="connsiteY3017" fmla="*/ 302636 h 1344613"/>
              <a:gd name="connsiteX3018" fmla="*/ 770054 w 1317625"/>
              <a:gd name="connsiteY3018" fmla="*/ 304725 h 1344613"/>
              <a:gd name="connsiteX3019" fmla="*/ 773152 w 1317625"/>
              <a:gd name="connsiteY3019" fmla="*/ 306291 h 1344613"/>
              <a:gd name="connsiteX3020" fmla="*/ 779789 w 1317625"/>
              <a:gd name="connsiteY3020" fmla="*/ 308902 h 1344613"/>
              <a:gd name="connsiteX3021" fmla="*/ 786868 w 1317625"/>
              <a:gd name="connsiteY3021" fmla="*/ 310991 h 1344613"/>
              <a:gd name="connsiteX3022" fmla="*/ 793505 w 1317625"/>
              <a:gd name="connsiteY3022" fmla="*/ 312557 h 1344613"/>
              <a:gd name="connsiteX3023" fmla="*/ 798815 w 1317625"/>
              <a:gd name="connsiteY3023" fmla="*/ 315168 h 1344613"/>
              <a:gd name="connsiteX3024" fmla="*/ 801469 w 1317625"/>
              <a:gd name="connsiteY3024" fmla="*/ 316735 h 1344613"/>
              <a:gd name="connsiteX3025" fmla="*/ 802797 w 1317625"/>
              <a:gd name="connsiteY3025" fmla="*/ 318824 h 1344613"/>
              <a:gd name="connsiteX3026" fmla="*/ 803682 w 1317625"/>
              <a:gd name="connsiteY3026" fmla="*/ 322479 h 1344613"/>
              <a:gd name="connsiteX3027" fmla="*/ 804124 w 1317625"/>
              <a:gd name="connsiteY3027" fmla="*/ 325612 h 1344613"/>
              <a:gd name="connsiteX3028" fmla="*/ 804124 w 1317625"/>
              <a:gd name="connsiteY3028" fmla="*/ 331878 h 1344613"/>
              <a:gd name="connsiteX3029" fmla="*/ 804124 w 1317625"/>
              <a:gd name="connsiteY3029" fmla="*/ 338144 h 1344613"/>
              <a:gd name="connsiteX3030" fmla="*/ 799257 w 1317625"/>
              <a:gd name="connsiteY3030" fmla="*/ 338666 h 1344613"/>
              <a:gd name="connsiteX3031" fmla="*/ 794390 w 1317625"/>
              <a:gd name="connsiteY3031" fmla="*/ 339188 h 1344613"/>
              <a:gd name="connsiteX3032" fmla="*/ 789523 w 1317625"/>
              <a:gd name="connsiteY3032" fmla="*/ 340755 h 1344613"/>
              <a:gd name="connsiteX3033" fmla="*/ 785098 w 1317625"/>
              <a:gd name="connsiteY3033" fmla="*/ 342321 h 1344613"/>
              <a:gd name="connsiteX3034" fmla="*/ 781116 w 1317625"/>
              <a:gd name="connsiteY3034" fmla="*/ 344932 h 1344613"/>
              <a:gd name="connsiteX3035" fmla="*/ 777576 w 1317625"/>
              <a:gd name="connsiteY3035" fmla="*/ 347543 h 1344613"/>
              <a:gd name="connsiteX3036" fmla="*/ 776691 w 1317625"/>
              <a:gd name="connsiteY3036" fmla="*/ 349632 h 1344613"/>
              <a:gd name="connsiteX3037" fmla="*/ 775364 w 1317625"/>
              <a:gd name="connsiteY3037" fmla="*/ 351198 h 1344613"/>
              <a:gd name="connsiteX3038" fmla="*/ 774921 w 1317625"/>
              <a:gd name="connsiteY3038" fmla="*/ 352765 h 1344613"/>
              <a:gd name="connsiteX3039" fmla="*/ 774479 w 1317625"/>
              <a:gd name="connsiteY3039" fmla="*/ 354331 h 1344613"/>
              <a:gd name="connsiteX3040" fmla="*/ 774037 w 1317625"/>
              <a:gd name="connsiteY3040" fmla="*/ 362686 h 1344613"/>
              <a:gd name="connsiteX3041" fmla="*/ 773152 w 1317625"/>
              <a:gd name="connsiteY3041" fmla="*/ 371563 h 1344613"/>
              <a:gd name="connsiteX3042" fmla="*/ 771382 w 1317625"/>
              <a:gd name="connsiteY3042" fmla="*/ 381485 h 1344613"/>
              <a:gd name="connsiteX3043" fmla="*/ 768727 w 1317625"/>
              <a:gd name="connsiteY3043" fmla="*/ 391406 h 1344613"/>
              <a:gd name="connsiteX3044" fmla="*/ 766957 w 1317625"/>
              <a:gd name="connsiteY3044" fmla="*/ 401849 h 1344613"/>
              <a:gd name="connsiteX3045" fmla="*/ 764745 w 1317625"/>
              <a:gd name="connsiteY3045" fmla="*/ 413337 h 1344613"/>
              <a:gd name="connsiteX3046" fmla="*/ 763417 w 1317625"/>
              <a:gd name="connsiteY3046" fmla="*/ 424825 h 1344613"/>
              <a:gd name="connsiteX3047" fmla="*/ 762975 w 1317625"/>
              <a:gd name="connsiteY3047" fmla="*/ 438402 h 1344613"/>
              <a:gd name="connsiteX3048" fmla="*/ 756338 w 1317625"/>
              <a:gd name="connsiteY3048" fmla="*/ 438402 h 1344613"/>
              <a:gd name="connsiteX3049" fmla="*/ 748373 w 1317625"/>
              <a:gd name="connsiteY3049" fmla="*/ 438924 h 1344613"/>
              <a:gd name="connsiteX3050" fmla="*/ 740852 w 1317625"/>
              <a:gd name="connsiteY3050" fmla="*/ 439968 h 1344613"/>
              <a:gd name="connsiteX3051" fmla="*/ 733772 w 1317625"/>
              <a:gd name="connsiteY3051" fmla="*/ 441535 h 1344613"/>
              <a:gd name="connsiteX3052" fmla="*/ 730675 w 1317625"/>
              <a:gd name="connsiteY3052" fmla="*/ 443101 h 1344613"/>
              <a:gd name="connsiteX3053" fmla="*/ 728462 w 1317625"/>
              <a:gd name="connsiteY3053" fmla="*/ 444146 h 1344613"/>
              <a:gd name="connsiteX3054" fmla="*/ 725808 w 1317625"/>
              <a:gd name="connsiteY3054" fmla="*/ 445712 h 1344613"/>
              <a:gd name="connsiteX3055" fmla="*/ 724480 w 1317625"/>
              <a:gd name="connsiteY3055" fmla="*/ 447279 h 1344613"/>
              <a:gd name="connsiteX3056" fmla="*/ 723595 w 1317625"/>
              <a:gd name="connsiteY3056" fmla="*/ 449367 h 1344613"/>
              <a:gd name="connsiteX3057" fmla="*/ 723153 w 1317625"/>
              <a:gd name="connsiteY3057" fmla="*/ 451978 h 1344613"/>
              <a:gd name="connsiteX3058" fmla="*/ 723595 w 1317625"/>
              <a:gd name="connsiteY3058" fmla="*/ 454067 h 1344613"/>
              <a:gd name="connsiteX3059" fmla="*/ 724923 w 1317625"/>
              <a:gd name="connsiteY3059" fmla="*/ 457200 h 1344613"/>
              <a:gd name="connsiteX3060" fmla="*/ 720056 w 1317625"/>
              <a:gd name="connsiteY3060" fmla="*/ 457200 h 1344613"/>
              <a:gd name="connsiteX3061" fmla="*/ 713419 w 1317625"/>
              <a:gd name="connsiteY3061" fmla="*/ 457200 h 1344613"/>
              <a:gd name="connsiteX3062" fmla="*/ 707224 w 1317625"/>
              <a:gd name="connsiteY3062" fmla="*/ 457200 h 1344613"/>
              <a:gd name="connsiteX3063" fmla="*/ 704127 w 1317625"/>
              <a:gd name="connsiteY3063" fmla="*/ 457200 h 1344613"/>
              <a:gd name="connsiteX3064" fmla="*/ 703242 w 1317625"/>
              <a:gd name="connsiteY3064" fmla="*/ 457200 h 1344613"/>
              <a:gd name="connsiteX3065" fmla="*/ 701914 w 1317625"/>
              <a:gd name="connsiteY3065" fmla="*/ 456678 h 1344613"/>
              <a:gd name="connsiteX3066" fmla="*/ 700587 w 1317625"/>
              <a:gd name="connsiteY3066" fmla="*/ 455634 h 1344613"/>
              <a:gd name="connsiteX3067" fmla="*/ 699260 w 1317625"/>
              <a:gd name="connsiteY3067" fmla="*/ 454589 h 1344613"/>
              <a:gd name="connsiteX3068" fmla="*/ 697047 w 1317625"/>
              <a:gd name="connsiteY3068" fmla="*/ 451456 h 1344613"/>
              <a:gd name="connsiteX3069" fmla="*/ 694392 w 1317625"/>
              <a:gd name="connsiteY3069" fmla="*/ 447279 h 1344613"/>
              <a:gd name="connsiteX3070" fmla="*/ 691295 w 1317625"/>
              <a:gd name="connsiteY3070" fmla="*/ 442579 h 1344613"/>
              <a:gd name="connsiteX3071" fmla="*/ 688640 w 1317625"/>
              <a:gd name="connsiteY3071" fmla="*/ 436835 h 1344613"/>
              <a:gd name="connsiteX3072" fmla="*/ 685986 w 1317625"/>
              <a:gd name="connsiteY3072" fmla="*/ 430569 h 1344613"/>
              <a:gd name="connsiteX3073" fmla="*/ 683773 w 1317625"/>
              <a:gd name="connsiteY3073" fmla="*/ 423781 h 1344613"/>
              <a:gd name="connsiteX3074" fmla="*/ 678906 w 1317625"/>
              <a:gd name="connsiteY3074" fmla="*/ 410204 h 1344613"/>
              <a:gd name="connsiteX3075" fmla="*/ 675366 w 1317625"/>
              <a:gd name="connsiteY3075" fmla="*/ 396106 h 1344613"/>
              <a:gd name="connsiteX3076" fmla="*/ 674039 w 1317625"/>
              <a:gd name="connsiteY3076" fmla="*/ 389839 h 1344613"/>
              <a:gd name="connsiteX3077" fmla="*/ 672712 w 1317625"/>
              <a:gd name="connsiteY3077" fmla="*/ 383573 h 1344613"/>
              <a:gd name="connsiteX3078" fmla="*/ 672269 w 1317625"/>
              <a:gd name="connsiteY3078" fmla="*/ 378352 h 1344613"/>
              <a:gd name="connsiteX3079" fmla="*/ 672269 w 1317625"/>
              <a:gd name="connsiteY3079" fmla="*/ 373652 h 1344613"/>
              <a:gd name="connsiteX3080" fmla="*/ 669172 w 1317625"/>
              <a:gd name="connsiteY3080" fmla="*/ 373130 h 1344613"/>
              <a:gd name="connsiteX3081" fmla="*/ 666960 w 1317625"/>
              <a:gd name="connsiteY3081" fmla="*/ 372085 h 1344613"/>
              <a:gd name="connsiteX3082" fmla="*/ 664747 w 1317625"/>
              <a:gd name="connsiteY3082" fmla="*/ 369997 h 1344613"/>
              <a:gd name="connsiteX3083" fmla="*/ 663420 w 1317625"/>
              <a:gd name="connsiteY3083" fmla="*/ 367908 h 1344613"/>
              <a:gd name="connsiteX3084" fmla="*/ 660765 w 1317625"/>
              <a:gd name="connsiteY3084" fmla="*/ 362686 h 1344613"/>
              <a:gd name="connsiteX3085" fmla="*/ 657225 w 1317625"/>
              <a:gd name="connsiteY3085" fmla="*/ 357465 h 1344613"/>
              <a:gd name="connsiteX3086" fmla="*/ 661207 w 1317625"/>
              <a:gd name="connsiteY3086" fmla="*/ 355898 h 1344613"/>
              <a:gd name="connsiteX3087" fmla="*/ 665632 w 1317625"/>
              <a:gd name="connsiteY3087" fmla="*/ 354854 h 1344613"/>
              <a:gd name="connsiteX3088" fmla="*/ 669172 w 1317625"/>
              <a:gd name="connsiteY3088" fmla="*/ 354331 h 1344613"/>
              <a:gd name="connsiteX3089" fmla="*/ 672269 w 1317625"/>
              <a:gd name="connsiteY3089" fmla="*/ 354331 h 1344613"/>
              <a:gd name="connsiteX3090" fmla="*/ 672269 w 1317625"/>
              <a:gd name="connsiteY3090" fmla="*/ 353305 h 1344613"/>
              <a:gd name="connsiteX3091" fmla="*/ 671168 w 1317625"/>
              <a:gd name="connsiteY3091" fmla="*/ 353157 h 1344613"/>
              <a:gd name="connsiteX3092" fmla="*/ 665969 w 1317625"/>
              <a:gd name="connsiteY3092" fmla="*/ 352633 h 1344613"/>
              <a:gd name="connsiteX3093" fmla="*/ 663370 w 1317625"/>
              <a:gd name="connsiteY3093" fmla="*/ 352633 h 1344613"/>
              <a:gd name="connsiteX3094" fmla="*/ 661204 w 1317625"/>
              <a:gd name="connsiteY3094" fmla="*/ 352633 h 1344613"/>
              <a:gd name="connsiteX3095" fmla="*/ 658604 w 1317625"/>
              <a:gd name="connsiteY3095" fmla="*/ 353157 h 1344613"/>
              <a:gd name="connsiteX3096" fmla="*/ 657305 w 1317625"/>
              <a:gd name="connsiteY3096" fmla="*/ 353682 h 1344613"/>
              <a:gd name="connsiteX3097" fmla="*/ 651673 w 1317625"/>
              <a:gd name="connsiteY3097" fmla="*/ 345289 h 1344613"/>
              <a:gd name="connsiteX3098" fmla="*/ 646907 w 1317625"/>
              <a:gd name="connsiteY3098" fmla="*/ 340043 h 1344613"/>
              <a:gd name="connsiteX3099" fmla="*/ 643008 w 1317625"/>
              <a:gd name="connsiteY3099" fmla="*/ 335322 h 1344613"/>
              <a:gd name="connsiteX3100" fmla="*/ 639975 w 1317625"/>
              <a:gd name="connsiteY3100" fmla="*/ 331125 h 1344613"/>
              <a:gd name="connsiteX3101" fmla="*/ 638676 w 1317625"/>
              <a:gd name="connsiteY3101" fmla="*/ 335847 h 1344613"/>
              <a:gd name="connsiteX3102" fmla="*/ 637376 w 1317625"/>
              <a:gd name="connsiteY3102" fmla="*/ 340568 h 1344613"/>
              <a:gd name="connsiteX3103" fmla="*/ 636943 w 1317625"/>
              <a:gd name="connsiteY3103" fmla="*/ 343190 h 1344613"/>
              <a:gd name="connsiteX3104" fmla="*/ 635210 w 1317625"/>
              <a:gd name="connsiteY3104" fmla="*/ 345813 h 1344613"/>
              <a:gd name="connsiteX3105" fmla="*/ 633477 w 1317625"/>
              <a:gd name="connsiteY3105" fmla="*/ 348961 h 1344613"/>
              <a:gd name="connsiteX3106" fmla="*/ 630444 w 1317625"/>
              <a:gd name="connsiteY3106" fmla="*/ 352108 h 1344613"/>
              <a:gd name="connsiteX3107" fmla="*/ 623512 w 1317625"/>
              <a:gd name="connsiteY3107" fmla="*/ 357878 h 1344613"/>
              <a:gd name="connsiteX3108" fmla="*/ 615714 w 1317625"/>
              <a:gd name="connsiteY3108" fmla="*/ 363124 h 1344613"/>
              <a:gd name="connsiteX3109" fmla="*/ 600551 w 1317625"/>
              <a:gd name="connsiteY3109" fmla="*/ 372566 h 1344613"/>
              <a:gd name="connsiteX3110" fmla="*/ 594053 w 1317625"/>
              <a:gd name="connsiteY3110" fmla="*/ 376238 h 1344613"/>
              <a:gd name="connsiteX3111" fmla="*/ 579756 w 1317625"/>
              <a:gd name="connsiteY3111" fmla="*/ 376238 h 1344613"/>
              <a:gd name="connsiteX3112" fmla="*/ 570658 w 1317625"/>
              <a:gd name="connsiteY3112" fmla="*/ 372566 h 1344613"/>
              <a:gd name="connsiteX3113" fmla="*/ 559394 w 1317625"/>
              <a:gd name="connsiteY3113" fmla="*/ 366796 h 1344613"/>
              <a:gd name="connsiteX3114" fmla="*/ 554195 w 1317625"/>
              <a:gd name="connsiteY3114" fmla="*/ 363649 h 1344613"/>
              <a:gd name="connsiteX3115" fmla="*/ 549430 w 1317625"/>
              <a:gd name="connsiteY3115" fmla="*/ 359452 h 1344613"/>
              <a:gd name="connsiteX3116" fmla="*/ 547264 w 1317625"/>
              <a:gd name="connsiteY3116" fmla="*/ 357354 h 1344613"/>
              <a:gd name="connsiteX3117" fmla="*/ 546397 w 1317625"/>
              <a:gd name="connsiteY3117" fmla="*/ 355255 h 1344613"/>
              <a:gd name="connsiteX3118" fmla="*/ 545531 w 1317625"/>
              <a:gd name="connsiteY3118" fmla="*/ 353157 h 1344613"/>
              <a:gd name="connsiteX3119" fmla="*/ 545097 w 1317625"/>
              <a:gd name="connsiteY3119" fmla="*/ 350534 h 1344613"/>
              <a:gd name="connsiteX3120" fmla="*/ 550729 w 1317625"/>
              <a:gd name="connsiteY3120" fmla="*/ 350534 h 1344613"/>
              <a:gd name="connsiteX3121" fmla="*/ 555062 w 1317625"/>
              <a:gd name="connsiteY3121" fmla="*/ 350010 h 1344613"/>
              <a:gd name="connsiteX3122" fmla="*/ 558528 w 1317625"/>
              <a:gd name="connsiteY3122" fmla="*/ 349485 h 1344613"/>
              <a:gd name="connsiteX3123" fmla="*/ 562427 w 1317625"/>
              <a:gd name="connsiteY3123" fmla="*/ 346862 h 1344613"/>
              <a:gd name="connsiteX3124" fmla="*/ 558961 w 1317625"/>
              <a:gd name="connsiteY3124" fmla="*/ 343190 h 1344613"/>
              <a:gd name="connsiteX3125" fmla="*/ 554629 w 1317625"/>
              <a:gd name="connsiteY3125" fmla="*/ 339519 h 1344613"/>
              <a:gd name="connsiteX3126" fmla="*/ 549863 w 1317625"/>
              <a:gd name="connsiteY3126" fmla="*/ 335847 h 1344613"/>
              <a:gd name="connsiteX3127" fmla="*/ 545097 w 1317625"/>
              <a:gd name="connsiteY3127" fmla="*/ 332175 h 1344613"/>
              <a:gd name="connsiteX3128" fmla="*/ 536866 w 1317625"/>
              <a:gd name="connsiteY3128" fmla="*/ 326929 h 1344613"/>
              <a:gd name="connsiteX3129" fmla="*/ 533400 w 1317625"/>
              <a:gd name="connsiteY3129" fmla="*/ 324831 h 1344613"/>
              <a:gd name="connsiteX3130" fmla="*/ 541198 w 1317625"/>
              <a:gd name="connsiteY3130" fmla="*/ 326929 h 1344613"/>
              <a:gd name="connsiteX3131" fmla="*/ 547264 w 1317625"/>
              <a:gd name="connsiteY3131" fmla="*/ 328503 h 1344613"/>
              <a:gd name="connsiteX3132" fmla="*/ 549863 w 1317625"/>
              <a:gd name="connsiteY3132" fmla="*/ 329027 h 1344613"/>
              <a:gd name="connsiteX3133" fmla="*/ 552029 w 1317625"/>
              <a:gd name="connsiteY3133" fmla="*/ 329027 h 1344613"/>
              <a:gd name="connsiteX3134" fmla="*/ 554629 w 1317625"/>
              <a:gd name="connsiteY3134" fmla="*/ 329027 h 1344613"/>
              <a:gd name="connsiteX3135" fmla="*/ 556795 w 1317625"/>
              <a:gd name="connsiteY3135" fmla="*/ 327978 h 1344613"/>
              <a:gd name="connsiteX3136" fmla="*/ 554629 w 1317625"/>
              <a:gd name="connsiteY3136" fmla="*/ 327454 h 1344613"/>
              <a:gd name="connsiteX3137" fmla="*/ 552462 w 1317625"/>
              <a:gd name="connsiteY3137" fmla="*/ 326404 h 1344613"/>
              <a:gd name="connsiteX3138" fmla="*/ 550729 w 1317625"/>
              <a:gd name="connsiteY3138" fmla="*/ 324306 h 1344613"/>
              <a:gd name="connsiteX3139" fmla="*/ 548996 w 1317625"/>
              <a:gd name="connsiteY3139" fmla="*/ 322208 h 1344613"/>
              <a:gd name="connsiteX3140" fmla="*/ 547264 w 1317625"/>
              <a:gd name="connsiteY3140" fmla="*/ 320110 h 1344613"/>
              <a:gd name="connsiteX3141" fmla="*/ 545964 w 1317625"/>
              <a:gd name="connsiteY3141" fmla="*/ 316438 h 1344613"/>
              <a:gd name="connsiteX3142" fmla="*/ 545531 w 1317625"/>
              <a:gd name="connsiteY3142" fmla="*/ 313815 h 1344613"/>
              <a:gd name="connsiteX3143" fmla="*/ 545097 w 1317625"/>
              <a:gd name="connsiteY3143" fmla="*/ 311717 h 1344613"/>
              <a:gd name="connsiteX3144" fmla="*/ 562427 w 1317625"/>
              <a:gd name="connsiteY3144" fmla="*/ 311717 h 1344613"/>
              <a:gd name="connsiteX3145" fmla="*/ 557661 w 1317625"/>
              <a:gd name="connsiteY3145" fmla="*/ 311192 h 1344613"/>
              <a:gd name="connsiteX3146" fmla="*/ 552896 w 1317625"/>
              <a:gd name="connsiteY3146" fmla="*/ 310143 h 1344613"/>
              <a:gd name="connsiteX3147" fmla="*/ 548563 w 1317625"/>
              <a:gd name="connsiteY3147" fmla="*/ 309094 h 1344613"/>
              <a:gd name="connsiteX3148" fmla="*/ 544231 w 1317625"/>
              <a:gd name="connsiteY3148" fmla="*/ 306995 h 1344613"/>
              <a:gd name="connsiteX3149" fmla="*/ 540332 w 1317625"/>
              <a:gd name="connsiteY3149" fmla="*/ 304897 h 1344613"/>
              <a:gd name="connsiteX3150" fmla="*/ 537732 w 1317625"/>
              <a:gd name="connsiteY3150" fmla="*/ 302274 h 1344613"/>
              <a:gd name="connsiteX3151" fmla="*/ 536866 w 1317625"/>
              <a:gd name="connsiteY3151" fmla="*/ 300701 h 1344613"/>
              <a:gd name="connsiteX3152" fmla="*/ 536433 w 1317625"/>
              <a:gd name="connsiteY3152" fmla="*/ 299127 h 1344613"/>
              <a:gd name="connsiteX3153" fmla="*/ 536433 w 1317625"/>
              <a:gd name="connsiteY3153" fmla="*/ 297553 h 1344613"/>
              <a:gd name="connsiteX3154" fmla="*/ 536433 w 1317625"/>
              <a:gd name="connsiteY3154" fmla="*/ 295455 h 1344613"/>
              <a:gd name="connsiteX3155" fmla="*/ 533400 w 1317625"/>
              <a:gd name="connsiteY3155" fmla="*/ 288636 h 1344613"/>
              <a:gd name="connsiteX3156" fmla="*/ 545964 w 1317625"/>
              <a:gd name="connsiteY3156" fmla="*/ 288636 h 1344613"/>
              <a:gd name="connsiteX3157" fmla="*/ 556795 w 1317625"/>
              <a:gd name="connsiteY3157" fmla="*/ 288636 h 1344613"/>
              <a:gd name="connsiteX3158" fmla="*/ 565459 w 1317625"/>
              <a:gd name="connsiteY3158" fmla="*/ 288636 h 1344613"/>
              <a:gd name="connsiteX3159" fmla="*/ 571091 w 1317625"/>
              <a:gd name="connsiteY3159" fmla="*/ 288636 h 1344613"/>
              <a:gd name="connsiteX3160" fmla="*/ 564593 w 1317625"/>
              <a:gd name="connsiteY3160" fmla="*/ 286537 h 1344613"/>
              <a:gd name="connsiteX3161" fmla="*/ 550296 w 1317625"/>
              <a:gd name="connsiteY3161" fmla="*/ 282341 h 1344613"/>
              <a:gd name="connsiteX3162" fmla="*/ 542931 w 1317625"/>
              <a:gd name="connsiteY3162" fmla="*/ 280243 h 1344613"/>
              <a:gd name="connsiteX3163" fmla="*/ 536866 w 1317625"/>
              <a:gd name="connsiteY3163" fmla="*/ 278144 h 1344613"/>
              <a:gd name="connsiteX3164" fmla="*/ 533400 w 1317625"/>
              <a:gd name="connsiteY3164" fmla="*/ 276571 h 1344613"/>
              <a:gd name="connsiteX3165" fmla="*/ 533400 w 1317625"/>
              <a:gd name="connsiteY3165" fmla="*/ 276046 h 1344613"/>
              <a:gd name="connsiteX3166" fmla="*/ 534267 w 1317625"/>
              <a:gd name="connsiteY3166" fmla="*/ 268702 h 1344613"/>
              <a:gd name="connsiteX3167" fmla="*/ 534700 w 1317625"/>
              <a:gd name="connsiteY3167" fmla="*/ 263981 h 1344613"/>
              <a:gd name="connsiteX3168" fmla="*/ 535133 w 1317625"/>
              <a:gd name="connsiteY3168" fmla="*/ 261883 h 1344613"/>
              <a:gd name="connsiteX3169" fmla="*/ 535133 w 1317625"/>
              <a:gd name="connsiteY3169" fmla="*/ 259260 h 1344613"/>
              <a:gd name="connsiteX3170" fmla="*/ 534700 w 1317625"/>
              <a:gd name="connsiteY3170" fmla="*/ 256637 h 1344613"/>
              <a:gd name="connsiteX3171" fmla="*/ 533400 w 1317625"/>
              <a:gd name="connsiteY3171" fmla="*/ 253490 h 1344613"/>
              <a:gd name="connsiteX3172" fmla="*/ 542065 w 1317625"/>
              <a:gd name="connsiteY3172" fmla="*/ 253490 h 1344613"/>
              <a:gd name="connsiteX3173" fmla="*/ 542498 w 1317625"/>
              <a:gd name="connsiteY3173" fmla="*/ 255588 h 1344613"/>
              <a:gd name="connsiteX3174" fmla="*/ 543798 w 1317625"/>
              <a:gd name="connsiteY3174" fmla="*/ 257162 h 1344613"/>
              <a:gd name="connsiteX3175" fmla="*/ 544231 w 1317625"/>
              <a:gd name="connsiteY3175" fmla="*/ 257686 h 1344613"/>
              <a:gd name="connsiteX3176" fmla="*/ 544664 w 1317625"/>
              <a:gd name="connsiteY3176" fmla="*/ 257686 h 1344613"/>
              <a:gd name="connsiteX3177" fmla="*/ 545097 w 1317625"/>
              <a:gd name="connsiteY3177" fmla="*/ 257162 h 1344613"/>
              <a:gd name="connsiteX3178" fmla="*/ 545097 w 1317625"/>
              <a:gd name="connsiteY3178" fmla="*/ 256637 h 1344613"/>
              <a:gd name="connsiteX3179" fmla="*/ 549430 w 1317625"/>
              <a:gd name="connsiteY3179" fmla="*/ 256113 h 1344613"/>
              <a:gd name="connsiteX3180" fmla="*/ 555495 w 1317625"/>
              <a:gd name="connsiteY3180" fmla="*/ 255064 h 1344613"/>
              <a:gd name="connsiteX3181" fmla="*/ 562427 w 1317625"/>
              <a:gd name="connsiteY3181" fmla="*/ 254014 h 1344613"/>
              <a:gd name="connsiteX3182" fmla="*/ 568492 w 1317625"/>
              <a:gd name="connsiteY3182" fmla="*/ 253490 h 1344613"/>
              <a:gd name="connsiteX3183" fmla="*/ 567192 w 1317625"/>
              <a:gd name="connsiteY3183" fmla="*/ 252965 h 1344613"/>
              <a:gd name="connsiteX3184" fmla="*/ 566759 w 1317625"/>
              <a:gd name="connsiteY3184" fmla="*/ 252441 h 1344613"/>
              <a:gd name="connsiteX3185" fmla="*/ 566759 w 1317625"/>
              <a:gd name="connsiteY3185" fmla="*/ 251392 h 1344613"/>
              <a:gd name="connsiteX3186" fmla="*/ 566759 w 1317625"/>
              <a:gd name="connsiteY3186" fmla="*/ 249818 h 1344613"/>
              <a:gd name="connsiteX3187" fmla="*/ 568059 w 1317625"/>
              <a:gd name="connsiteY3187" fmla="*/ 246670 h 1344613"/>
              <a:gd name="connsiteX3188" fmla="*/ 568492 w 1317625"/>
              <a:gd name="connsiteY3188" fmla="*/ 243523 h 1344613"/>
              <a:gd name="connsiteX3189" fmla="*/ 572824 w 1317625"/>
              <a:gd name="connsiteY3189" fmla="*/ 243523 h 1344613"/>
              <a:gd name="connsiteX3190" fmla="*/ 576723 w 1317625"/>
              <a:gd name="connsiteY3190" fmla="*/ 243523 h 1344613"/>
              <a:gd name="connsiteX3191" fmla="*/ 576290 w 1317625"/>
              <a:gd name="connsiteY3191" fmla="*/ 241425 h 1344613"/>
              <a:gd name="connsiteX3192" fmla="*/ 574990 w 1317625"/>
              <a:gd name="connsiteY3192" fmla="*/ 238802 h 1344613"/>
              <a:gd name="connsiteX3193" fmla="*/ 573258 w 1317625"/>
              <a:gd name="connsiteY3193" fmla="*/ 236704 h 1344613"/>
              <a:gd name="connsiteX3194" fmla="*/ 571091 w 1317625"/>
              <a:gd name="connsiteY3194" fmla="*/ 234081 h 1344613"/>
              <a:gd name="connsiteX3195" fmla="*/ 575424 w 1317625"/>
              <a:gd name="connsiteY3195" fmla="*/ 232507 h 1344613"/>
              <a:gd name="connsiteX3196" fmla="*/ 579756 w 1317625"/>
              <a:gd name="connsiteY3196" fmla="*/ 230934 h 1344613"/>
              <a:gd name="connsiteX3197" fmla="*/ 584088 w 1317625"/>
              <a:gd name="connsiteY3197" fmla="*/ 230409 h 1344613"/>
              <a:gd name="connsiteX3198" fmla="*/ 588421 w 1317625"/>
              <a:gd name="connsiteY3198" fmla="*/ 230409 h 1344613"/>
              <a:gd name="connsiteX3199" fmla="*/ 589287 w 1317625"/>
              <a:gd name="connsiteY3199" fmla="*/ 230409 h 1344613"/>
              <a:gd name="connsiteX3200" fmla="*/ 589720 w 1317625"/>
              <a:gd name="connsiteY3200" fmla="*/ 228835 h 1344613"/>
              <a:gd name="connsiteX3201" fmla="*/ 589720 w 1317625"/>
              <a:gd name="connsiteY3201" fmla="*/ 227262 h 1344613"/>
              <a:gd name="connsiteX3202" fmla="*/ 589287 w 1317625"/>
              <a:gd name="connsiteY3202" fmla="*/ 225163 h 1344613"/>
              <a:gd name="connsiteX3203" fmla="*/ 588854 w 1317625"/>
              <a:gd name="connsiteY3203" fmla="*/ 220967 h 1344613"/>
              <a:gd name="connsiteX3204" fmla="*/ 588421 w 1317625"/>
              <a:gd name="connsiteY3204" fmla="*/ 217819 h 1344613"/>
              <a:gd name="connsiteX3205" fmla="*/ 597085 w 1317625"/>
              <a:gd name="connsiteY3205" fmla="*/ 217819 h 1344613"/>
              <a:gd name="connsiteX3206" fmla="*/ 591020 w 1317625"/>
              <a:gd name="connsiteY3206" fmla="*/ 214672 h 1344613"/>
              <a:gd name="connsiteX3207" fmla="*/ 628711 w 1317625"/>
              <a:gd name="connsiteY3207" fmla="*/ 214672 h 1344613"/>
              <a:gd name="connsiteX3208" fmla="*/ 623079 w 1317625"/>
              <a:gd name="connsiteY3208" fmla="*/ 211525 h 1344613"/>
              <a:gd name="connsiteX3209" fmla="*/ 625679 w 1317625"/>
              <a:gd name="connsiteY3209" fmla="*/ 209951 h 1344613"/>
              <a:gd name="connsiteX3210" fmla="*/ 627845 w 1317625"/>
              <a:gd name="connsiteY3210" fmla="*/ 208377 h 1344613"/>
              <a:gd name="connsiteX3211" fmla="*/ 629145 w 1317625"/>
              <a:gd name="connsiteY3211" fmla="*/ 206804 h 1344613"/>
              <a:gd name="connsiteX3212" fmla="*/ 630444 w 1317625"/>
              <a:gd name="connsiteY3212" fmla="*/ 204181 h 1344613"/>
              <a:gd name="connsiteX3213" fmla="*/ 631744 w 1317625"/>
              <a:gd name="connsiteY3213" fmla="*/ 198410 h 1344613"/>
              <a:gd name="connsiteX3214" fmla="*/ 631744 w 1317625"/>
              <a:gd name="connsiteY3214" fmla="*/ 192116 h 1344613"/>
              <a:gd name="connsiteX3215" fmla="*/ 638676 w 1317625"/>
              <a:gd name="connsiteY3215" fmla="*/ 192116 h 1344613"/>
              <a:gd name="connsiteX3216" fmla="*/ 643875 w 1317625"/>
              <a:gd name="connsiteY3216" fmla="*/ 192116 h 1344613"/>
              <a:gd name="connsiteX3217" fmla="*/ 648640 w 1317625"/>
              <a:gd name="connsiteY3217" fmla="*/ 192116 h 1344613"/>
              <a:gd name="connsiteX3218" fmla="*/ 654272 w 1317625"/>
              <a:gd name="connsiteY3218" fmla="*/ 192116 h 1344613"/>
              <a:gd name="connsiteX3219" fmla="*/ 654272 w 1317625"/>
              <a:gd name="connsiteY3219" fmla="*/ 188968 h 1344613"/>
              <a:gd name="connsiteX3220" fmla="*/ 655572 w 1317625"/>
              <a:gd name="connsiteY3220" fmla="*/ 185821 h 1344613"/>
              <a:gd name="connsiteX3221" fmla="*/ 656005 w 1317625"/>
              <a:gd name="connsiteY3221" fmla="*/ 184772 h 1344613"/>
              <a:gd name="connsiteX3222" fmla="*/ 656871 w 1317625"/>
              <a:gd name="connsiteY3222" fmla="*/ 183723 h 1344613"/>
              <a:gd name="connsiteX3223" fmla="*/ 658171 w 1317625"/>
              <a:gd name="connsiteY3223" fmla="*/ 182674 h 1344613"/>
              <a:gd name="connsiteX3224" fmla="*/ 660337 w 1317625"/>
              <a:gd name="connsiteY3224" fmla="*/ 182674 h 1344613"/>
              <a:gd name="connsiteX3225" fmla="*/ 657305 w 1317625"/>
              <a:gd name="connsiteY3225" fmla="*/ 181100 h 1344613"/>
              <a:gd name="connsiteX3226" fmla="*/ 654272 w 1317625"/>
              <a:gd name="connsiteY3226" fmla="*/ 179001 h 1344613"/>
              <a:gd name="connsiteX3227" fmla="*/ 654705 w 1317625"/>
              <a:gd name="connsiteY3227" fmla="*/ 177952 h 1344613"/>
              <a:gd name="connsiteX3228" fmla="*/ 655572 w 1317625"/>
              <a:gd name="connsiteY3228" fmla="*/ 176903 h 1344613"/>
              <a:gd name="connsiteX3229" fmla="*/ 656438 w 1317625"/>
              <a:gd name="connsiteY3229" fmla="*/ 175854 h 1344613"/>
              <a:gd name="connsiteX3230" fmla="*/ 657738 w 1317625"/>
              <a:gd name="connsiteY3230" fmla="*/ 174280 h 1344613"/>
              <a:gd name="connsiteX3231" fmla="*/ 660771 w 1317625"/>
              <a:gd name="connsiteY3231" fmla="*/ 171657 h 1344613"/>
              <a:gd name="connsiteX3232" fmla="*/ 662937 w 1317625"/>
              <a:gd name="connsiteY3232" fmla="*/ 169035 h 1344613"/>
              <a:gd name="connsiteX3233" fmla="*/ 662504 w 1317625"/>
              <a:gd name="connsiteY3233" fmla="*/ 167461 h 1344613"/>
              <a:gd name="connsiteX3234" fmla="*/ 662070 w 1317625"/>
              <a:gd name="connsiteY3234" fmla="*/ 165363 h 1344613"/>
              <a:gd name="connsiteX3235" fmla="*/ 662504 w 1317625"/>
              <a:gd name="connsiteY3235" fmla="*/ 163789 h 1344613"/>
              <a:gd name="connsiteX3236" fmla="*/ 662937 w 1317625"/>
              <a:gd name="connsiteY3236" fmla="*/ 161691 h 1344613"/>
              <a:gd name="connsiteX3237" fmla="*/ 665536 w 1317625"/>
              <a:gd name="connsiteY3237" fmla="*/ 158019 h 1344613"/>
              <a:gd name="connsiteX3238" fmla="*/ 668136 w 1317625"/>
              <a:gd name="connsiteY3238" fmla="*/ 154347 h 1344613"/>
              <a:gd name="connsiteX3239" fmla="*/ 674201 w 1317625"/>
              <a:gd name="connsiteY3239" fmla="*/ 147527 h 1344613"/>
              <a:gd name="connsiteX3240" fmla="*/ 677667 w 1317625"/>
              <a:gd name="connsiteY3240" fmla="*/ 143331 h 1344613"/>
              <a:gd name="connsiteX3241" fmla="*/ 677667 w 1317625"/>
              <a:gd name="connsiteY3241" fmla="*/ 142282 h 1344613"/>
              <a:gd name="connsiteX3242" fmla="*/ 678533 w 1317625"/>
              <a:gd name="connsiteY3242" fmla="*/ 141757 h 1344613"/>
              <a:gd name="connsiteX3243" fmla="*/ 679833 w 1317625"/>
              <a:gd name="connsiteY3243" fmla="*/ 141757 h 1344613"/>
              <a:gd name="connsiteX3244" fmla="*/ 680699 w 1317625"/>
              <a:gd name="connsiteY3244" fmla="*/ 142282 h 1344613"/>
              <a:gd name="connsiteX3245" fmla="*/ 682432 w 1317625"/>
              <a:gd name="connsiteY3245" fmla="*/ 142806 h 1344613"/>
              <a:gd name="connsiteX3246" fmla="*/ 683299 w 1317625"/>
              <a:gd name="connsiteY3246" fmla="*/ 143331 h 1344613"/>
              <a:gd name="connsiteX3247" fmla="*/ 682432 w 1317625"/>
              <a:gd name="connsiteY3247" fmla="*/ 139659 h 1344613"/>
              <a:gd name="connsiteX3248" fmla="*/ 681999 w 1317625"/>
              <a:gd name="connsiteY3248" fmla="*/ 136512 h 1344613"/>
              <a:gd name="connsiteX3249" fmla="*/ 681999 w 1317625"/>
              <a:gd name="connsiteY3249" fmla="*/ 132840 h 1344613"/>
              <a:gd name="connsiteX3250" fmla="*/ 682432 w 1317625"/>
              <a:gd name="connsiteY3250" fmla="*/ 129692 h 1344613"/>
              <a:gd name="connsiteX3251" fmla="*/ 682865 w 1317625"/>
              <a:gd name="connsiteY3251" fmla="*/ 124447 h 1344613"/>
              <a:gd name="connsiteX3252" fmla="*/ 683299 w 1317625"/>
              <a:gd name="connsiteY3252" fmla="*/ 121299 h 1344613"/>
              <a:gd name="connsiteX3253" fmla="*/ 693696 w 1317625"/>
              <a:gd name="connsiteY3253" fmla="*/ 121299 h 1344613"/>
              <a:gd name="connsiteX3254" fmla="*/ 700195 w 1317625"/>
              <a:gd name="connsiteY3254" fmla="*/ 120775 h 1344613"/>
              <a:gd name="connsiteX3255" fmla="*/ 701494 w 1317625"/>
              <a:gd name="connsiteY3255" fmla="*/ 120250 h 1344613"/>
              <a:gd name="connsiteX3256" fmla="*/ 702361 w 1317625"/>
              <a:gd name="connsiteY3256" fmla="*/ 119201 h 1344613"/>
              <a:gd name="connsiteX3257" fmla="*/ 703227 w 1317625"/>
              <a:gd name="connsiteY3257" fmla="*/ 118152 h 1344613"/>
              <a:gd name="connsiteX3258" fmla="*/ 704094 w 1317625"/>
              <a:gd name="connsiteY3258" fmla="*/ 117103 h 1344613"/>
              <a:gd name="connsiteX3259" fmla="*/ 705394 w 1317625"/>
              <a:gd name="connsiteY3259" fmla="*/ 112906 h 1344613"/>
              <a:gd name="connsiteX3260" fmla="*/ 706260 w 1317625"/>
              <a:gd name="connsiteY3260" fmla="*/ 107661 h 1344613"/>
              <a:gd name="connsiteX3261" fmla="*/ 704527 w 1317625"/>
              <a:gd name="connsiteY3261" fmla="*/ 105038 h 1344613"/>
              <a:gd name="connsiteX3262" fmla="*/ 702361 w 1317625"/>
              <a:gd name="connsiteY3262" fmla="*/ 101366 h 1344613"/>
              <a:gd name="connsiteX3263" fmla="*/ 701061 w 1317625"/>
              <a:gd name="connsiteY3263" fmla="*/ 96645 h 1344613"/>
              <a:gd name="connsiteX3264" fmla="*/ 700628 w 1317625"/>
              <a:gd name="connsiteY3264" fmla="*/ 91924 h 1344613"/>
              <a:gd name="connsiteX3265" fmla="*/ 699761 w 1317625"/>
              <a:gd name="connsiteY3265" fmla="*/ 91924 h 1344613"/>
              <a:gd name="connsiteX3266" fmla="*/ 697595 w 1317625"/>
              <a:gd name="connsiteY3266" fmla="*/ 91399 h 1344613"/>
              <a:gd name="connsiteX3267" fmla="*/ 696729 w 1317625"/>
              <a:gd name="connsiteY3267" fmla="*/ 91399 h 1344613"/>
              <a:gd name="connsiteX3268" fmla="*/ 695862 w 1317625"/>
              <a:gd name="connsiteY3268" fmla="*/ 90874 h 1344613"/>
              <a:gd name="connsiteX3269" fmla="*/ 694996 w 1317625"/>
              <a:gd name="connsiteY3269" fmla="*/ 89825 h 1344613"/>
              <a:gd name="connsiteX3270" fmla="*/ 694996 w 1317625"/>
              <a:gd name="connsiteY3270" fmla="*/ 88776 h 1344613"/>
              <a:gd name="connsiteX3271" fmla="*/ 690664 w 1317625"/>
              <a:gd name="connsiteY3271" fmla="*/ 92973 h 1344613"/>
              <a:gd name="connsiteX3272" fmla="*/ 686331 w 1317625"/>
              <a:gd name="connsiteY3272" fmla="*/ 96120 h 1344613"/>
              <a:gd name="connsiteX3273" fmla="*/ 683732 w 1317625"/>
              <a:gd name="connsiteY3273" fmla="*/ 97169 h 1344613"/>
              <a:gd name="connsiteX3274" fmla="*/ 681999 w 1317625"/>
              <a:gd name="connsiteY3274" fmla="*/ 97694 h 1344613"/>
              <a:gd name="connsiteX3275" fmla="*/ 679833 w 1317625"/>
              <a:gd name="connsiteY3275" fmla="*/ 98218 h 1344613"/>
              <a:gd name="connsiteX3276" fmla="*/ 677667 w 1317625"/>
              <a:gd name="connsiteY3276" fmla="*/ 98218 h 1344613"/>
              <a:gd name="connsiteX3277" fmla="*/ 678100 w 1317625"/>
              <a:gd name="connsiteY3277" fmla="*/ 95071 h 1344613"/>
              <a:gd name="connsiteX3278" fmla="*/ 679833 w 1317625"/>
              <a:gd name="connsiteY3278" fmla="*/ 91924 h 1344613"/>
              <a:gd name="connsiteX3279" fmla="*/ 681132 w 1317625"/>
              <a:gd name="connsiteY3279" fmla="*/ 89301 h 1344613"/>
              <a:gd name="connsiteX3280" fmla="*/ 682865 w 1317625"/>
              <a:gd name="connsiteY3280" fmla="*/ 86678 h 1344613"/>
              <a:gd name="connsiteX3281" fmla="*/ 687198 w 1317625"/>
              <a:gd name="connsiteY3281" fmla="*/ 81432 h 1344613"/>
              <a:gd name="connsiteX3282" fmla="*/ 692397 w 1317625"/>
              <a:gd name="connsiteY3282" fmla="*/ 77236 h 1344613"/>
              <a:gd name="connsiteX3283" fmla="*/ 697162 w 1317625"/>
              <a:gd name="connsiteY3283" fmla="*/ 73039 h 1344613"/>
              <a:gd name="connsiteX3284" fmla="*/ 702361 w 1317625"/>
              <a:gd name="connsiteY3284" fmla="*/ 68318 h 1344613"/>
              <a:gd name="connsiteX3285" fmla="*/ 704527 w 1317625"/>
              <a:gd name="connsiteY3285" fmla="*/ 65695 h 1344613"/>
              <a:gd name="connsiteX3286" fmla="*/ 706260 w 1317625"/>
              <a:gd name="connsiteY3286" fmla="*/ 63073 h 1344613"/>
              <a:gd name="connsiteX3287" fmla="*/ 707993 w 1317625"/>
              <a:gd name="connsiteY3287" fmla="*/ 59925 h 1344613"/>
              <a:gd name="connsiteX3288" fmla="*/ 709293 w 1317625"/>
              <a:gd name="connsiteY3288" fmla="*/ 56253 h 1344613"/>
              <a:gd name="connsiteX3289" fmla="*/ 709726 w 1317625"/>
              <a:gd name="connsiteY3289" fmla="*/ 57827 h 1344613"/>
              <a:gd name="connsiteX3290" fmla="*/ 710592 w 1317625"/>
              <a:gd name="connsiteY3290" fmla="*/ 60450 h 1344613"/>
              <a:gd name="connsiteX3291" fmla="*/ 711459 w 1317625"/>
              <a:gd name="connsiteY3291" fmla="*/ 64646 h 1344613"/>
              <a:gd name="connsiteX3292" fmla="*/ 711892 w 1317625"/>
              <a:gd name="connsiteY3292" fmla="*/ 69367 h 1344613"/>
              <a:gd name="connsiteX3293" fmla="*/ 712758 w 1317625"/>
              <a:gd name="connsiteY3293" fmla="*/ 70416 h 1344613"/>
              <a:gd name="connsiteX3294" fmla="*/ 715358 w 1317625"/>
              <a:gd name="connsiteY3294" fmla="*/ 72515 h 1344613"/>
              <a:gd name="connsiteX3295" fmla="*/ 717957 w 1317625"/>
              <a:gd name="connsiteY3295" fmla="*/ 74613 h 1344613"/>
              <a:gd name="connsiteX3296" fmla="*/ 720557 w 1317625"/>
              <a:gd name="connsiteY3296" fmla="*/ 75662 h 1344613"/>
              <a:gd name="connsiteX3297" fmla="*/ 728355 w 1317625"/>
              <a:gd name="connsiteY3297" fmla="*/ 75138 h 1344613"/>
              <a:gd name="connsiteX3298" fmla="*/ 733987 w 1317625"/>
              <a:gd name="connsiteY3298" fmla="*/ 74088 h 1344613"/>
              <a:gd name="connsiteX3299" fmla="*/ 738319 w 1317625"/>
              <a:gd name="connsiteY3299" fmla="*/ 73039 h 1344613"/>
              <a:gd name="connsiteX3300" fmla="*/ 740919 w 1317625"/>
              <a:gd name="connsiteY3300" fmla="*/ 72515 h 1344613"/>
              <a:gd name="connsiteX3301" fmla="*/ 738752 w 1317625"/>
              <a:gd name="connsiteY3301" fmla="*/ 69892 h 1344613"/>
              <a:gd name="connsiteX3302" fmla="*/ 736586 w 1317625"/>
              <a:gd name="connsiteY3302" fmla="*/ 67269 h 1344613"/>
              <a:gd name="connsiteX3303" fmla="*/ 736153 w 1317625"/>
              <a:gd name="connsiteY3303" fmla="*/ 65695 h 1344613"/>
              <a:gd name="connsiteX3304" fmla="*/ 735720 w 1317625"/>
              <a:gd name="connsiteY3304" fmla="*/ 64122 h 1344613"/>
              <a:gd name="connsiteX3305" fmla="*/ 735287 w 1317625"/>
              <a:gd name="connsiteY3305" fmla="*/ 62023 h 1344613"/>
              <a:gd name="connsiteX3306" fmla="*/ 735287 w 1317625"/>
              <a:gd name="connsiteY3306" fmla="*/ 59925 h 1344613"/>
              <a:gd name="connsiteX3307" fmla="*/ 743518 w 1317625"/>
              <a:gd name="connsiteY3307" fmla="*/ 57827 h 1344613"/>
              <a:gd name="connsiteX3308" fmla="*/ 754349 w 1317625"/>
              <a:gd name="connsiteY3308" fmla="*/ 55204 h 1344613"/>
              <a:gd name="connsiteX3309" fmla="*/ 759981 w 1317625"/>
              <a:gd name="connsiteY3309" fmla="*/ 53630 h 1344613"/>
              <a:gd name="connsiteX3310" fmla="*/ 765613 w 1317625"/>
              <a:gd name="connsiteY3310" fmla="*/ 52057 h 1344613"/>
              <a:gd name="connsiteX3311" fmla="*/ 770812 w 1317625"/>
              <a:gd name="connsiteY3311" fmla="*/ 49434 h 1344613"/>
              <a:gd name="connsiteX3312" fmla="*/ 775144 w 1317625"/>
              <a:gd name="connsiteY3312" fmla="*/ 46286 h 1344613"/>
              <a:gd name="connsiteX3313" fmla="*/ 778177 w 1317625"/>
              <a:gd name="connsiteY3313" fmla="*/ 44188 h 1344613"/>
              <a:gd name="connsiteX3314" fmla="*/ 781642 w 1317625"/>
              <a:gd name="connsiteY3314" fmla="*/ 42090 h 1344613"/>
              <a:gd name="connsiteX3315" fmla="*/ 784242 w 1317625"/>
              <a:gd name="connsiteY3315" fmla="*/ 40516 h 1344613"/>
              <a:gd name="connsiteX3316" fmla="*/ 787274 w 1317625"/>
              <a:gd name="connsiteY3316" fmla="*/ 39992 h 1344613"/>
              <a:gd name="connsiteX3317" fmla="*/ 787708 w 1317625"/>
              <a:gd name="connsiteY3317" fmla="*/ 43139 h 1344613"/>
              <a:gd name="connsiteX3318" fmla="*/ 788574 w 1317625"/>
              <a:gd name="connsiteY3318" fmla="*/ 46286 h 1344613"/>
              <a:gd name="connsiteX3319" fmla="*/ 789441 w 1317625"/>
              <a:gd name="connsiteY3319" fmla="*/ 47336 h 1344613"/>
              <a:gd name="connsiteX3320" fmla="*/ 790307 w 1317625"/>
              <a:gd name="connsiteY3320" fmla="*/ 48385 h 1344613"/>
              <a:gd name="connsiteX3321" fmla="*/ 791607 w 1317625"/>
              <a:gd name="connsiteY3321" fmla="*/ 49434 h 1344613"/>
              <a:gd name="connsiteX3322" fmla="*/ 792906 w 1317625"/>
              <a:gd name="connsiteY3322" fmla="*/ 49434 h 1344613"/>
              <a:gd name="connsiteX3323" fmla="*/ 797239 w 1317625"/>
              <a:gd name="connsiteY3323" fmla="*/ 48909 h 1344613"/>
              <a:gd name="connsiteX3324" fmla="*/ 803737 w 1317625"/>
              <a:gd name="connsiteY3324" fmla="*/ 46286 h 1344613"/>
              <a:gd name="connsiteX3325" fmla="*/ 809803 w 1317625"/>
              <a:gd name="connsiteY3325" fmla="*/ 44188 h 1344613"/>
              <a:gd name="connsiteX3326" fmla="*/ 812835 w 1317625"/>
              <a:gd name="connsiteY3326" fmla="*/ 43139 h 1344613"/>
              <a:gd name="connsiteX3327" fmla="*/ 811969 w 1317625"/>
              <a:gd name="connsiteY3327" fmla="*/ 42090 h 1344613"/>
              <a:gd name="connsiteX3328" fmla="*/ 811102 w 1317625"/>
              <a:gd name="connsiteY3328" fmla="*/ 41041 h 1344613"/>
              <a:gd name="connsiteX3329" fmla="*/ 809803 w 1317625"/>
              <a:gd name="connsiteY3329" fmla="*/ 39467 h 1344613"/>
              <a:gd name="connsiteX3330" fmla="*/ 809803 w 1317625"/>
              <a:gd name="connsiteY3330" fmla="*/ 38418 h 1344613"/>
              <a:gd name="connsiteX3331" fmla="*/ 809803 w 1317625"/>
              <a:gd name="connsiteY3331" fmla="*/ 36320 h 1344613"/>
              <a:gd name="connsiteX3332" fmla="*/ 811102 w 1317625"/>
              <a:gd name="connsiteY3332" fmla="*/ 33697 h 1344613"/>
              <a:gd name="connsiteX3333" fmla="*/ 812835 w 1317625"/>
              <a:gd name="connsiteY3333" fmla="*/ 31599 h 1344613"/>
              <a:gd name="connsiteX3334" fmla="*/ 815001 w 1317625"/>
              <a:gd name="connsiteY3334" fmla="*/ 28976 h 1344613"/>
              <a:gd name="connsiteX3335" fmla="*/ 818034 w 1317625"/>
              <a:gd name="connsiteY3335" fmla="*/ 26878 h 1344613"/>
              <a:gd name="connsiteX3336" fmla="*/ 821500 w 1317625"/>
              <a:gd name="connsiteY3336" fmla="*/ 24779 h 1344613"/>
              <a:gd name="connsiteX3337" fmla="*/ 823830 w 1317625"/>
              <a:gd name="connsiteY3337" fmla="*/ 23839 h 1344613"/>
              <a:gd name="connsiteX3338" fmla="*/ 824925 w 1317625"/>
              <a:gd name="connsiteY3338" fmla="*/ 21821 h 1344613"/>
              <a:gd name="connsiteX3339" fmla="*/ 827091 w 1317625"/>
              <a:gd name="connsiteY3339" fmla="*/ 18096 h 1344613"/>
              <a:gd name="connsiteX3340" fmla="*/ 829257 w 1317625"/>
              <a:gd name="connsiteY3340" fmla="*/ 14902 h 1344613"/>
              <a:gd name="connsiteX3341" fmla="*/ 831423 w 1317625"/>
              <a:gd name="connsiteY3341" fmla="*/ 11709 h 1344613"/>
              <a:gd name="connsiteX3342" fmla="*/ 834455 w 1317625"/>
              <a:gd name="connsiteY3342" fmla="*/ 10112 h 1344613"/>
              <a:gd name="connsiteX3343" fmla="*/ 836621 w 1317625"/>
              <a:gd name="connsiteY3343" fmla="*/ 7983 h 1344613"/>
              <a:gd name="connsiteX3344" fmla="*/ 839654 w 1317625"/>
              <a:gd name="connsiteY3344" fmla="*/ 6919 h 1344613"/>
              <a:gd name="connsiteX3345" fmla="*/ 842686 w 1317625"/>
              <a:gd name="connsiteY3345" fmla="*/ 6387 h 1344613"/>
              <a:gd name="connsiteX3346" fmla="*/ 848752 w 1317625"/>
              <a:gd name="connsiteY3346" fmla="*/ 7983 h 1344613"/>
              <a:gd name="connsiteX3347" fmla="*/ 854383 w 1317625"/>
              <a:gd name="connsiteY3347" fmla="*/ 10112 h 1344613"/>
              <a:gd name="connsiteX3348" fmla="*/ 848752 w 1317625"/>
              <a:gd name="connsiteY3348" fmla="*/ 20225 h 1344613"/>
              <a:gd name="connsiteX3349" fmla="*/ 860015 w 1317625"/>
              <a:gd name="connsiteY3349" fmla="*/ 20225 h 1344613"/>
              <a:gd name="connsiteX3350" fmla="*/ 861790 w 1317625"/>
              <a:gd name="connsiteY3350" fmla="*/ 18978 h 1344613"/>
              <a:gd name="connsiteX3351" fmla="*/ 861790 w 1317625"/>
              <a:gd name="connsiteY3351" fmla="*/ 14288 h 1344613"/>
              <a:gd name="connsiteX3352" fmla="*/ 870013 w 1317625"/>
              <a:gd name="connsiteY3352" fmla="*/ 14288 h 1344613"/>
              <a:gd name="connsiteX3353" fmla="*/ 870846 w 1317625"/>
              <a:gd name="connsiteY3353" fmla="*/ 12241 h 1344613"/>
              <a:gd name="connsiteX3354" fmla="*/ 871279 w 1317625"/>
              <a:gd name="connsiteY3354" fmla="*/ 10112 h 1344613"/>
              <a:gd name="connsiteX3355" fmla="*/ 879510 w 1317625"/>
              <a:gd name="connsiteY3355" fmla="*/ 14370 h 1344613"/>
              <a:gd name="connsiteX3356" fmla="*/ 880350 w 1317625"/>
              <a:gd name="connsiteY3356" fmla="*/ 14886 h 1344613"/>
              <a:gd name="connsiteX3357" fmla="*/ 882586 w 1317625"/>
              <a:gd name="connsiteY3357" fmla="*/ 15337 h 1344613"/>
              <a:gd name="connsiteX3358" fmla="*/ 885618 w 1317625"/>
              <a:gd name="connsiteY3358" fmla="*/ 16386 h 1344613"/>
              <a:gd name="connsiteX3359" fmla="*/ 887351 w 1317625"/>
              <a:gd name="connsiteY3359" fmla="*/ 17435 h 1344613"/>
              <a:gd name="connsiteX3360" fmla="*/ 886392 w 1317625"/>
              <a:gd name="connsiteY3360" fmla="*/ 18597 h 1344613"/>
              <a:gd name="connsiteX3361" fmla="*/ 887308 w 1317625"/>
              <a:gd name="connsiteY3361" fmla="*/ 19160 h 1344613"/>
              <a:gd name="connsiteX3362" fmla="*/ 891275 w 1317625"/>
              <a:gd name="connsiteY3362" fmla="*/ 22705 h 1344613"/>
              <a:gd name="connsiteX3363" fmla="*/ 892073 w 1317625"/>
              <a:gd name="connsiteY3363" fmla="*/ 22185 h 1344613"/>
              <a:gd name="connsiteX3364" fmla="*/ 892073 w 1317625"/>
              <a:gd name="connsiteY3364" fmla="*/ 10112 h 1344613"/>
              <a:gd name="connsiteX3365" fmla="*/ 903770 w 1317625"/>
              <a:gd name="connsiteY3365" fmla="*/ 10112 h 1344613"/>
              <a:gd name="connsiteX3366" fmla="*/ 912868 w 1317625"/>
              <a:gd name="connsiteY3366" fmla="*/ 10112 h 1344613"/>
              <a:gd name="connsiteX3367" fmla="*/ 919366 w 1317625"/>
              <a:gd name="connsiteY3367" fmla="*/ 10112 h 1344613"/>
              <a:gd name="connsiteX3368" fmla="*/ 923265 w 1317625"/>
              <a:gd name="connsiteY3368" fmla="*/ 10112 h 1344613"/>
              <a:gd name="connsiteX3369" fmla="*/ 927597 w 1317625"/>
              <a:gd name="connsiteY3369" fmla="*/ 10112 h 1344613"/>
              <a:gd name="connsiteX3370" fmla="*/ 931929 w 1317625"/>
              <a:gd name="connsiteY3370" fmla="*/ 10112 h 1344613"/>
              <a:gd name="connsiteX3371" fmla="*/ 933229 w 1317625"/>
              <a:gd name="connsiteY3371" fmla="*/ 9048 h 1344613"/>
              <a:gd name="connsiteX3372" fmla="*/ 934962 w 1317625"/>
              <a:gd name="connsiteY3372" fmla="*/ 8516 h 1344613"/>
              <a:gd name="connsiteX3373" fmla="*/ 936695 w 1317625"/>
              <a:gd name="connsiteY3373" fmla="*/ 7451 h 1344613"/>
              <a:gd name="connsiteX3374" fmla="*/ 937561 w 1317625"/>
              <a:gd name="connsiteY3374" fmla="*/ 6387 h 1344613"/>
              <a:gd name="connsiteX3375" fmla="*/ 938861 w 1317625"/>
              <a:gd name="connsiteY3375" fmla="*/ 7451 h 1344613"/>
              <a:gd name="connsiteX3376" fmla="*/ 940594 w 1317625"/>
              <a:gd name="connsiteY3376" fmla="*/ 7451 h 1344613"/>
              <a:gd name="connsiteX3377" fmla="*/ 941893 w 1317625"/>
              <a:gd name="connsiteY3377" fmla="*/ 6919 h 1344613"/>
              <a:gd name="connsiteX3378" fmla="*/ 943193 w 1317625"/>
              <a:gd name="connsiteY3378" fmla="*/ 5854 h 1344613"/>
              <a:gd name="connsiteX3379" fmla="*/ 944059 w 1317625"/>
              <a:gd name="connsiteY3379" fmla="*/ 4258 h 1344613"/>
              <a:gd name="connsiteX3380" fmla="*/ 945792 w 1317625"/>
              <a:gd name="connsiteY3380" fmla="*/ 3193 h 1344613"/>
              <a:gd name="connsiteX3381" fmla="*/ 946226 w 1317625"/>
              <a:gd name="connsiteY3381" fmla="*/ 1597 h 1344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Lst>
            <a:rect l="l" t="t" r="r" b="b"/>
            <a:pathLst>
              <a:path w="1317625" h="1344613">
                <a:moveTo>
                  <a:pt x="0" y="1287463"/>
                </a:moveTo>
                <a:lnTo>
                  <a:pt x="6350" y="1287463"/>
                </a:lnTo>
                <a:lnTo>
                  <a:pt x="6106" y="1306513"/>
                </a:lnTo>
                <a:lnTo>
                  <a:pt x="5861" y="1323976"/>
                </a:lnTo>
                <a:lnTo>
                  <a:pt x="5617" y="1330326"/>
                </a:lnTo>
                <a:lnTo>
                  <a:pt x="5617" y="1336676"/>
                </a:lnTo>
                <a:lnTo>
                  <a:pt x="5861" y="1341438"/>
                </a:lnTo>
                <a:lnTo>
                  <a:pt x="6350" y="1344613"/>
                </a:lnTo>
                <a:lnTo>
                  <a:pt x="1465" y="1344613"/>
                </a:lnTo>
                <a:lnTo>
                  <a:pt x="1221" y="1335088"/>
                </a:lnTo>
                <a:lnTo>
                  <a:pt x="733" y="1319213"/>
                </a:lnTo>
                <a:lnTo>
                  <a:pt x="244" y="1303338"/>
                </a:lnTo>
                <a:close/>
                <a:moveTo>
                  <a:pt x="110807" y="1277938"/>
                </a:moveTo>
                <a:lnTo>
                  <a:pt x="112712" y="1277938"/>
                </a:lnTo>
                <a:lnTo>
                  <a:pt x="110807" y="1281027"/>
                </a:lnTo>
                <a:lnTo>
                  <a:pt x="108426" y="1285661"/>
                </a:lnTo>
                <a:lnTo>
                  <a:pt x="106997" y="1289523"/>
                </a:lnTo>
                <a:lnTo>
                  <a:pt x="106045" y="1294156"/>
                </a:lnTo>
                <a:lnTo>
                  <a:pt x="103663" y="1301879"/>
                </a:lnTo>
                <a:lnTo>
                  <a:pt x="101758" y="1310375"/>
                </a:lnTo>
                <a:lnTo>
                  <a:pt x="100806" y="1314236"/>
                </a:lnTo>
                <a:lnTo>
                  <a:pt x="99377" y="1317325"/>
                </a:lnTo>
                <a:lnTo>
                  <a:pt x="97948" y="1321187"/>
                </a:lnTo>
                <a:lnTo>
                  <a:pt x="96043" y="1324276"/>
                </a:lnTo>
                <a:lnTo>
                  <a:pt x="93662" y="1328137"/>
                </a:lnTo>
                <a:lnTo>
                  <a:pt x="91281" y="1331227"/>
                </a:lnTo>
                <a:lnTo>
                  <a:pt x="87947" y="1333544"/>
                </a:lnTo>
                <a:lnTo>
                  <a:pt x="84137" y="1335088"/>
                </a:lnTo>
                <a:lnTo>
                  <a:pt x="86518" y="1324276"/>
                </a:lnTo>
                <a:lnTo>
                  <a:pt x="89852" y="1314236"/>
                </a:lnTo>
                <a:lnTo>
                  <a:pt x="93186" y="1304196"/>
                </a:lnTo>
                <a:lnTo>
                  <a:pt x="96996" y="1295701"/>
                </a:lnTo>
                <a:lnTo>
                  <a:pt x="101282" y="1288750"/>
                </a:lnTo>
                <a:lnTo>
                  <a:pt x="104616" y="1282572"/>
                </a:lnTo>
                <a:lnTo>
                  <a:pt x="106997" y="1280255"/>
                </a:lnTo>
                <a:lnTo>
                  <a:pt x="108902" y="1278710"/>
                </a:lnTo>
                <a:close/>
                <a:moveTo>
                  <a:pt x="773112" y="1069975"/>
                </a:moveTo>
                <a:lnTo>
                  <a:pt x="773112" y="1106070"/>
                </a:lnTo>
                <a:lnTo>
                  <a:pt x="773112" y="1127125"/>
                </a:lnTo>
                <a:lnTo>
                  <a:pt x="763588" y="1127125"/>
                </a:lnTo>
                <a:lnTo>
                  <a:pt x="758825" y="1127125"/>
                </a:lnTo>
                <a:lnTo>
                  <a:pt x="763588" y="1106070"/>
                </a:lnTo>
                <a:close/>
                <a:moveTo>
                  <a:pt x="1015206" y="1040131"/>
                </a:moveTo>
                <a:lnTo>
                  <a:pt x="1029815" y="1041997"/>
                </a:lnTo>
                <a:lnTo>
                  <a:pt x="1042764" y="1045729"/>
                </a:lnTo>
                <a:lnTo>
                  <a:pt x="1049405" y="1047595"/>
                </a:lnTo>
                <a:lnTo>
                  <a:pt x="1055381" y="1046662"/>
                </a:lnTo>
                <a:lnTo>
                  <a:pt x="1058370" y="1045729"/>
                </a:lnTo>
                <a:lnTo>
                  <a:pt x="1060694" y="1044796"/>
                </a:lnTo>
                <a:lnTo>
                  <a:pt x="1063350" y="1042930"/>
                </a:lnTo>
                <a:lnTo>
                  <a:pt x="1066006" y="1040131"/>
                </a:lnTo>
                <a:lnTo>
                  <a:pt x="1066006" y="1048528"/>
                </a:lnTo>
                <a:lnTo>
                  <a:pt x="1066006" y="1063457"/>
                </a:lnTo>
                <a:lnTo>
                  <a:pt x="1062686" y="1069055"/>
                </a:lnTo>
                <a:lnTo>
                  <a:pt x="1059366" y="1073721"/>
                </a:lnTo>
                <a:lnTo>
                  <a:pt x="1056377" y="1077453"/>
                </a:lnTo>
                <a:lnTo>
                  <a:pt x="1053057" y="1081185"/>
                </a:lnTo>
                <a:lnTo>
                  <a:pt x="1050401" y="1083051"/>
                </a:lnTo>
                <a:lnTo>
                  <a:pt x="1048077" y="1084917"/>
                </a:lnTo>
                <a:lnTo>
                  <a:pt x="1045753" y="1085850"/>
                </a:lnTo>
                <a:lnTo>
                  <a:pt x="1044093" y="1085850"/>
                </a:lnTo>
                <a:lnTo>
                  <a:pt x="1039112" y="1084917"/>
                </a:lnTo>
                <a:lnTo>
                  <a:pt x="1035128" y="1083051"/>
                </a:lnTo>
                <a:lnTo>
                  <a:pt x="1031808" y="1080252"/>
                </a:lnTo>
                <a:lnTo>
                  <a:pt x="1028819" y="1075587"/>
                </a:lnTo>
                <a:lnTo>
                  <a:pt x="1022511" y="1067189"/>
                </a:lnTo>
                <a:lnTo>
                  <a:pt x="1015206" y="1057859"/>
                </a:lnTo>
                <a:close/>
                <a:moveTo>
                  <a:pt x="719137" y="990600"/>
                </a:moveTo>
                <a:lnTo>
                  <a:pt x="759919" y="990600"/>
                </a:lnTo>
                <a:lnTo>
                  <a:pt x="765559" y="1000125"/>
                </a:lnTo>
                <a:lnTo>
                  <a:pt x="767729" y="996950"/>
                </a:lnTo>
                <a:lnTo>
                  <a:pt x="769898" y="994834"/>
                </a:lnTo>
                <a:lnTo>
                  <a:pt x="772067" y="993246"/>
                </a:lnTo>
                <a:lnTo>
                  <a:pt x="774236" y="992188"/>
                </a:lnTo>
                <a:lnTo>
                  <a:pt x="778575" y="991129"/>
                </a:lnTo>
                <a:lnTo>
                  <a:pt x="783347" y="990600"/>
                </a:lnTo>
                <a:lnTo>
                  <a:pt x="784649" y="990600"/>
                </a:lnTo>
                <a:lnTo>
                  <a:pt x="788987" y="990600"/>
                </a:lnTo>
                <a:lnTo>
                  <a:pt x="788987" y="1039284"/>
                </a:lnTo>
                <a:lnTo>
                  <a:pt x="786384" y="1039813"/>
                </a:lnTo>
                <a:lnTo>
                  <a:pt x="784215" y="1039813"/>
                </a:lnTo>
                <a:lnTo>
                  <a:pt x="782046" y="1039284"/>
                </a:lnTo>
                <a:lnTo>
                  <a:pt x="779876" y="1038755"/>
                </a:lnTo>
                <a:lnTo>
                  <a:pt x="775104" y="1037167"/>
                </a:lnTo>
                <a:lnTo>
                  <a:pt x="771199" y="1033992"/>
                </a:lnTo>
                <a:lnTo>
                  <a:pt x="767295" y="1030288"/>
                </a:lnTo>
                <a:lnTo>
                  <a:pt x="764258" y="1026055"/>
                </a:lnTo>
                <a:lnTo>
                  <a:pt x="761221" y="1021821"/>
                </a:lnTo>
                <a:lnTo>
                  <a:pt x="759919" y="1016530"/>
                </a:lnTo>
                <a:lnTo>
                  <a:pt x="759052" y="1017059"/>
                </a:lnTo>
                <a:lnTo>
                  <a:pt x="757750" y="1017588"/>
                </a:lnTo>
                <a:lnTo>
                  <a:pt x="756448" y="1017588"/>
                </a:lnTo>
                <a:lnTo>
                  <a:pt x="755581" y="1017588"/>
                </a:lnTo>
                <a:lnTo>
                  <a:pt x="752978" y="1017059"/>
                </a:lnTo>
                <a:lnTo>
                  <a:pt x="751242" y="1016530"/>
                </a:lnTo>
                <a:lnTo>
                  <a:pt x="747338" y="1016000"/>
                </a:lnTo>
                <a:lnTo>
                  <a:pt x="742999" y="1014413"/>
                </a:lnTo>
                <a:lnTo>
                  <a:pt x="738227" y="1011767"/>
                </a:lnTo>
                <a:lnTo>
                  <a:pt x="733020" y="1008592"/>
                </a:lnTo>
                <a:lnTo>
                  <a:pt x="728248" y="1004359"/>
                </a:lnTo>
                <a:lnTo>
                  <a:pt x="724343" y="1000125"/>
                </a:lnTo>
                <a:lnTo>
                  <a:pt x="722608" y="998009"/>
                </a:lnTo>
                <a:lnTo>
                  <a:pt x="721307" y="995363"/>
                </a:lnTo>
                <a:lnTo>
                  <a:pt x="720439" y="993246"/>
                </a:lnTo>
                <a:close/>
                <a:moveTo>
                  <a:pt x="1317625" y="959644"/>
                </a:moveTo>
                <a:lnTo>
                  <a:pt x="1316948" y="961607"/>
                </a:lnTo>
                <a:lnTo>
                  <a:pt x="1316271" y="962916"/>
                </a:lnTo>
                <a:lnTo>
                  <a:pt x="1314239" y="964224"/>
                </a:lnTo>
                <a:lnTo>
                  <a:pt x="1312885" y="965533"/>
                </a:lnTo>
                <a:lnTo>
                  <a:pt x="1308145" y="967496"/>
                </a:lnTo>
                <a:lnTo>
                  <a:pt x="1304759" y="968150"/>
                </a:lnTo>
                <a:lnTo>
                  <a:pt x="1304081" y="972076"/>
                </a:lnTo>
                <a:lnTo>
                  <a:pt x="1302727" y="976656"/>
                </a:lnTo>
                <a:lnTo>
                  <a:pt x="1302050" y="980582"/>
                </a:lnTo>
                <a:lnTo>
                  <a:pt x="1300695" y="983853"/>
                </a:lnTo>
                <a:lnTo>
                  <a:pt x="1299341" y="986470"/>
                </a:lnTo>
                <a:lnTo>
                  <a:pt x="1297309" y="989088"/>
                </a:lnTo>
                <a:lnTo>
                  <a:pt x="1293923" y="991705"/>
                </a:lnTo>
                <a:lnTo>
                  <a:pt x="1291215" y="994322"/>
                </a:lnTo>
                <a:lnTo>
                  <a:pt x="1284443" y="998248"/>
                </a:lnTo>
                <a:lnTo>
                  <a:pt x="1275639" y="1002173"/>
                </a:lnTo>
                <a:lnTo>
                  <a:pt x="1266158" y="1004791"/>
                </a:lnTo>
                <a:lnTo>
                  <a:pt x="1254646" y="1008062"/>
                </a:lnTo>
                <a:lnTo>
                  <a:pt x="1241102" y="988433"/>
                </a:lnTo>
                <a:lnTo>
                  <a:pt x="1254646" y="981236"/>
                </a:lnTo>
                <a:lnTo>
                  <a:pt x="1274285" y="972076"/>
                </a:lnTo>
                <a:lnTo>
                  <a:pt x="1285120" y="968150"/>
                </a:lnTo>
                <a:lnTo>
                  <a:pt x="1296632" y="964879"/>
                </a:lnTo>
                <a:lnTo>
                  <a:pt x="1307467" y="962261"/>
                </a:lnTo>
                <a:close/>
                <a:moveTo>
                  <a:pt x="492125" y="931863"/>
                </a:moveTo>
                <a:lnTo>
                  <a:pt x="495860" y="931863"/>
                </a:lnTo>
                <a:lnTo>
                  <a:pt x="501930" y="931863"/>
                </a:lnTo>
                <a:lnTo>
                  <a:pt x="503798" y="941194"/>
                </a:lnTo>
                <a:lnTo>
                  <a:pt x="506132" y="945859"/>
                </a:lnTo>
                <a:lnTo>
                  <a:pt x="506599" y="949358"/>
                </a:lnTo>
                <a:lnTo>
                  <a:pt x="507533" y="951691"/>
                </a:lnTo>
                <a:lnTo>
                  <a:pt x="507533" y="956356"/>
                </a:lnTo>
                <a:lnTo>
                  <a:pt x="508000" y="961021"/>
                </a:lnTo>
                <a:lnTo>
                  <a:pt x="508000" y="971518"/>
                </a:lnTo>
                <a:lnTo>
                  <a:pt x="508000" y="989013"/>
                </a:lnTo>
                <a:lnTo>
                  <a:pt x="505666" y="985514"/>
                </a:lnTo>
                <a:lnTo>
                  <a:pt x="503331" y="982015"/>
                </a:lnTo>
                <a:lnTo>
                  <a:pt x="500996" y="977350"/>
                </a:lnTo>
                <a:lnTo>
                  <a:pt x="498662" y="971518"/>
                </a:lnTo>
                <a:lnTo>
                  <a:pt x="496794" y="963354"/>
                </a:lnTo>
                <a:lnTo>
                  <a:pt x="495394" y="955190"/>
                </a:lnTo>
                <a:lnTo>
                  <a:pt x="493526" y="944693"/>
                </a:lnTo>
                <a:close/>
                <a:moveTo>
                  <a:pt x="1037139" y="887842"/>
                </a:moveTo>
                <a:lnTo>
                  <a:pt x="1034397" y="890987"/>
                </a:lnTo>
                <a:lnTo>
                  <a:pt x="1031824" y="893151"/>
                </a:lnTo>
                <a:lnTo>
                  <a:pt x="1028823" y="895315"/>
                </a:lnTo>
                <a:lnTo>
                  <a:pt x="1028721" y="895358"/>
                </a:lnTo>
                <a:lnTo>
                  <a:pt x="1028767" y="895350"/>
                </a:lnTo>
                <a:lnTo>
                  <a:pt x="1030997" y="894292"/>
                </a:lnTo>
                <a:lnTo>
                  <a:pt x="1033673" y="892175"/>
                </a:lnTo>
                <a:lnTo>
                  <a:pt x="1035457" y="890058"/>
                </a:lnTo>
                <a:close/>
                <a:moveTo>
                  <a:pt x="297880" y="880096"/>
                </a:moveTo>
                <a:lnTo>
                  <a:pt x="300037" y="880334"/>
                </a:lnTo>
                <a:lnTo>
                  <a:pt x="300037" y="883468"/>
                </a:lnTo>
                <a:lnTo>
                  <a:pt x="300037" y="886601"/>
                </a:lnTo>
                <a:lnTo>
                  <a:pt x="298317" y="889735"/>
                </a:lnTo>
                <a:lnTo>
                  <a:pt x="296168" y="897047"/>
                </a:lnTo>
                <a:lnTo>
                  <a:pt x="292728" y="908014"/>
                </a:lnTo>
                <a:lnTo>
                  <a:pt x="289288" y="919504"/>
                </a:lnTo>
                <a:lnTo>
                  <a:pt x="285419" y="931516"/>
                </a:lnTo>
                <a:lnTo>
                  <a:pt x="282839" y="942484"/>
                </a:lnTo>
                <a:lnTo>
                  <a:pt x="280689" y="951363"/>
                </a:lnTo>
                <a:lnTo>
                  <a:pt x="280680" y="951487"/>
                </a:lnTo>
                <a:lnTo>
                  <a:pt x="282752" y="942942"/>
                </a:lnTo>
                <a:lnTo>
                  <a:pt x="285357" y="931877"/>
                </a:lnTo>
                <a:lnTo>
                  <a:pt x="289266" y="919758"/>
                </a:lnTo>
                <a:lnTo>
                  <a:pt x="292740" y="908165"/>
                </a:lnTo>
                <a:lnTo>
                  <a:pt x="296215" y="897100"/>
                </a:lnTo>
                <a:lnTo>
                  <a:pt x="298386" y="889723"/>
                </a:lnTo>
                <a:lnTo>
                  <a:pt x="300123" y="886562"/>
                </a:lnTo>
                <a:lnTo>
                  <a:pt x="300123" y="883400"/>
                </a:lnTo>
                <a:lnTo>
                  <a:pt x="300123" y="880239"/>
                </a:lnTo>
                <a:close/>
                <a:moveTo>
                  <a:pt x="276985" y="876326"/>
                </a:moveTo>
                <a:lnTo>
                  <a:pt x="278110" y="876678"/>
                </a:lnTo>
                <a:lnTo>
                  <a:pt x="284129" y="878245"/>
                </a:lnTo>
                <a:lnTo>
                  <a:pt x="287561" y="878840"/>
                </a:lnTo>
                <a:lnTo>
                  <a:pt x="284055" y="878131"/>
                </a:lnTo>
                <a:close/>
                <a:moveTo>
                  <a:pt x="243161" y="867038"/>
                </a:moveTo>
                <a:lnTo>
                  <a:pt x="252743" y="869366"/>
                </a:lnTo>
                <a:lnTo>
                  <a:pt x="264781" y="872500"/>
                </a:lnTo>
                <a:lnTo>
                  <a:pt x="274220" y="875459"/>
                </a:lnTo>
                <a:lnTo>
                  <a:pt x="268420" y="873389"/>
                </a:lnTo>
                <a:lnTo>
                  <a:pt x="260168" y="870755"/>
                </a:lnTo>
                <a:lnTo>
                  <a:pt x="252351" y="868647"/>
                </a:lnTo>
                <a:lnTo>
                  <a:pt x="243665" y="867066"/>
                </a:lnTo>
                <a:close/>
                <a:moveTo>
                  <a:pt x="966221" y="866642"/>
                </a:moveTo>
                <a:lnTo>
                  <a:pt x="965798" y="866909"/>
                </a:lnTo>
                <a:lnTo>
                  <a:pt x="966732" y="869543"/>
                </a:lnTo>
                <a:close/>
                <a:moveTo>
                  <a:pt x="467671" y="853571"/>
                </a:moveTo>
                <a:lnTo>
                  <a:pt x="459254" y="854046"/>
                </a:lnTo>
                <a:lnTo>
                  <a:pt x="463417" y="857582"/>
                </a:lnTo>
                <a:lnTo>
                  <a:pt x="465648" y="859872"/>
                </a:lnTo>
                <a:close/>
                <a:moveTo>
                  <a:pt x="435162" y="844060"/>
                </a:moveTo>
                <a:lnTo>
                  <a:pt x="433383" y="844587"/>
                </a:lnTo>
                <a:lnTo>
                  <a:pt x="431605" y="845641"/>
                </a:lnTo>
                <a:lnTo>
                  <a:pt x="430773" y="846381"/>
                </a:lnTo>
                <a:lnTo>
                  <a:pt x="433885" y="848097"/>
                </a:lnTo>
                <a:lnTo>
                  <a:pt x="440516" y="850396"/>
                </a:lnTo>
                <a:lnTo>
                  <a:pt x="439609" y="849858"/>
                </a:lnTo>
                <a:lnTo>
                  <a:pt x="437830" y="848277"/>
                </a:lnTo>
                <a:lnTo>
                  <a:pt x="436496" y="846168"/>
                </a:lnTo>
                <a:close/>
                <a:moveTo>
                  <a:pt x="646112" y="833438"/>
                </a:moveTo>
                <a:lnTo>
                  <a:pt x="644803" y="849416"/>
                </a:lnTo>
                <a:lnTo>
                  <a:pt x="643929" y="866007"/>
                </a:lnTo>
                <a:lnTo>
                  <a:pt x="643493" y="873382"/>
                </a:lnTo>
                <a:lnTo>
                  <a:pt x="643493" y="880756"/>
                </a:lnTo>
                <a:lnTo>
                  <a:pt x="643929" y="883828"/>
                </a:lnTo>
                <a:lnTo>
                  <a:pt x="644366" y="886287"/>
                </a:lnTo>
                <a:lnTo>
                  <a:pt x="644803" y="888745"/>
                </a:lnTo>
                <a:lnTo>
                  <a:pt x="645389" y="889570"/>
                </a:lnTo>
                <a:lnTo>
                  <a:pt x="646876" y="891025"/>
                </a:lnTo>
                <a:lnTo>
                  <a:pt x="647720" y="892573"/>
                </a:lnTo>
                <a:lnTo>
                  <a:pt x="648564" y="894636"/>
                </a:lnTo>
                <a:lnTo>
                  <a:pt x="649830" y="898764"/>
                </a:lnTo>
                <a:lnTo>
                  <a:pt x="651096" y="903923"/>
                </a:lnTo>
                <a:lnTo>
                  <a:pt x="651518" y="908051"/>
                </a:lnTo>
                <a:lnTo>
                  <a:pt x="651940" y="912694"/>
                </a:lnTo>
                <a:lnTo>
                  <a:pt x="652784" y="917338"/>
                </a:lnTo>
                <a:lnTo>
                  <a:pt x="654050" y="921981"/>
                </a:lnTo>
                <a:lnTo>
                  <a:pt x="654050" y="937975"/>
                </a:lnTo>
                <a:lnTo>
                  <a:pt x="649408" y="946746"/>
                </a:lnTo>
                <a:lnTo>
                  <a:pt x="645610" y="953969"/>
                </a:lnTo>
                <a:lnTo>
                  <a:pt x="643078" y="957581"/>
                </a:lnTo>
                <a:lnTo>
                  <a:pt x="641812" y="961708"/>
                </a:lnTo>
                <a:lnTo>
                  <a:pt x="640968" y="965320"/>
                </a:lnTo>
                <a:lnTo>
                  <a:pt x="640124" y="969963"/>
                </a:lnTo>
                <a:lnTo>
                  <a:pt x="637592" y="967383"/>
                </a:lnTo>
                <a:lnTo>
                  <a:pt x="634638" y="964804"/>
                </a:lnTo>
                <a:lnTo>
                  <a:pt x="632528" y="961708"/>
                </a:lnTo>
                <a:lnTo>
                  <a:pt x="629996" y="958097"/>
                </a:lnTo>
                <a:lnTo>
                  <a:pt x="628308" y="954485"/>
                </a:lnTo>
                <a:lnTo>
                  <a:pt x="627042" y="950873"/>
                </a:lnTo>
                <a:lnTo>
                  <a:pt x="625354" y="946746"/>
                </a:lnTo>
                <a:lnTo>
                  <a:pt x="624088" y="943134"/>
                </a:lnTo>
                <a:lnTo>
                  <a:pt x="622400" y="934363"/>
                </a:lnTo>
                <a:lnTo>
                  <a:pt x="621134" y="925077"/>
                </a:lnTo>
                <a:lnTo>
                  <a:pt x="620712" y="915790"/>
                </a:lnTo>
                <a:lnTo>
                  <a:pt x="620712" y="906503"/>
                </a:lnTo>
                <a:lnTo>
                  <a:pt x="623244" y="906503"/>
                </a:lnTo>
                <a:lnTo>
                  <a:pt x="625354" y="905987"/>
                </a:lnTo>
                <a:lnTo>
                  <a:pt x="627464" y="905471"/>
                </a:lnTo>
                <a:lnTo>
                  <a:pt x="628730" y="904439"/>
                </a:lnTo>
                <a:lnTo>
                  <a:pt x="631684" y="901859"/>
                </a:lnTo>
                <a:lnTo>
                  <a:pt x="633794" y="898764"/>
                </a:lnTo>
                <a:lnTo>
                  <a:pt x="636326" y="895668"/>
                </a:lnTo>
                <a:lnTo>
                  <a:pt x="638014" y="892573"/>
                </a:lnTo>
                <a:lnTo>
                  <a:pt x="639637" y="890588"/>
                </a:lnTo>
                <a:lnTo>
                  <a:pt x="634325" y="890588"/>
                </a:lnTo>
                <a:lnTo>
                  <a:pt x="633452" y="889974"/>
                </a:lnTo>
                <a:lnTo>
                  <a:pt x="632143" y="889359"/>
                </a:lnTo>
                <a:lnTo>
                  <a:pt x="631270" y="887516"/>
                </a:lnTo>
                <a:lnTo>
                  <a:pt x="630396" y="886287"/>
                </a:lnTo>
                <a:lnTo>
                  <a:pt x="629087" y="882599"/>
                </a:lnTo>
                <a:lnTo>
                  <a:pt x="628650" y="878298"/>
                </a:lnTo>
                <a:lnTo>
                  <a:pt x="629087" y="872767"/>
                </a:lnTo>
                <a:lnTo>
                  <a:pt x="629960" y="864164"/>
                </a:lnTo>
                <a:lnTo>
                  <a:pt x="631270" y="856175"/>
                </a:lnTo>
                <a:lnTo>
                  <a:pt x="631706" y="852488"/>
                </a:lnTo>
                <a:lnTo>
                  <a:pt x="633016" y="851874"/>
                </a:lnTo>
                <a:lnTo>
                  <a:pt x="634762" y="849416"/>
                </a:lnTo>
                <a:lnTo>
                  <a:pt x="637381" y="845728"/>
                </a:lnTo>
                <a:lnTo>
                  <a:pt x="639564" y="842656"/>
                </a:lnTo>
                <a:lnTo>
                  <a:pt x="643929" y="835896"/>
                </a:lnTo>
                <a:close/>
                <a:moveTo>
                  <a:pt x="963430" y="831987"/>
                </a:moveTo>
                <a:lnTo>
                  <a:pt x="963173" y="833829"/>
                </a:lnTo>
                <a:lnTo>
                  <a:pt x="961418" y="836456"/>
                </a:lnTo>
                <a:lnTo>
                  <a:pt x="959663" y="839083"/>
                </a:lnTo>
                <a:lnTo>
                  <a:pt x="957908" y="840660"/>
                </a:lnTo>
                <a:lnTo>
                  <a:pt x="955275" y="842761"/>
                </a:lnTo>
                <a:lnTo>
                  <a:pt x="953519" y="843812"/>
                </a:lnTo>
                <a:lnTo>
                  <a:pt x="952642" y="845389"/>
                </a:lnTo>
                <a:lnTo>
                  <a:pt x="952203" y="846965"/>
                </a:lnTo>
                <a:lnTo>
                  <a:pt x="944743" y="849592"/>
                </a:lnTo>
                <a:lnTo>
                  <a:pt x="938599" y="852745"/>
                </a:lnTo>
                <a:lnTo>
                  <a:pt x="932895" y="856423"/>
                </a:lnTo>
                <a:lnTo>
                  <a:pt x="929087" y="859462"/>
                </a:lnTo>
                <a:lnTo>
                  <a:pt x="936565" y="854944"/>
                </a:lnTo>
                <a:lnTo>
                  <a:pt x="944672" y="850819"/>
                </a:lnTo>
                <a:lnTo>
                  <a:pt x="951925" y="847725"/>
                </a:lnTo>
                <a:lnTo>
                  <a:pt x="951925" y="852366"/>
                </a:lnTo>
                <a:lnTo>
                  <a:pt x="951925" y="857006"/>
                </a:lnTo>
                <a:lnTo>
                  <a:pt x="952351" y="860615"/>
                </a:lnTo>
                <a:lnTo>
                  <a:pt x="953205" y="864224"/>
                </a:lnTo>
                <a:lnTo>
                  <a:pt x="953590" y="864689"/>
                </a:lnTo>
                <a:lnTo>
                  <a:pt x="952929" y="861773"/>
                </a:lnTo>
                <a:lnTo>
                  <a:pt x="952500" y="856905"/>
                </a:lnTo>
                <a:lnTo>
                  <a:pt x="952500" y="852036"/>
                </a:lnTo>
                <a:lnTo>
                  <a:pt x="952500" y="847167"/>
                </a:lnTo>
                <a:lnTo>
                  <a:pt x="952929" y="845544"/>
                </a:lnTo>
                <a:lnTo>
                  <a:pt x="953787" y="844462"/>
                </a:lnTo>
                <a:lnTo>
                  <a:pt x="955502" y="843380"/>
                </a:lnTo>
                <a:lnTo>
                  <a:pt x="958074" y="842298"/>
                </a:lnTo>
                <a:lnTo>
                  <a:pt x="959789" y="841216"/>
                </a:lnTo>
                <a:lnTo>
                  <a:pt x="961505" y="839052"/>
                </a:lnTo>
                <a:lnTo>
                  <a:pt x="962362" y="837970"/>
                </a:lnTo>
                <a:lnTo>
                  <a:pt x="963220" y="836888"/>
                </a:lnTo>
                <a:lnTo>
                  <a:pt x="963220" y="835265"/>
                </a:lnTo>
                <a:lnTo>
                  <a:pt x="963648" y="833642"/>
                </a:lnTo>
                <a:close/>
                <a:moveTo>
                  <a:pt x="875829" y="813822"/>
                </a:moveTo>
                <a:lnTo>
                  <a:pt x="870435" y="822771"/>
                </a:lnTo>
                <a:lnTo>
                  <a:pt x="872337" y="820167"/>
                </a:lnTo>
                <a:lnTo>
                  <a:pt x="875848" y="813862"/>
                </a:lnTo>
                <a:close/>
                <a:moveTo>
                  <a:pt x="933873" y="780327"/>
                </a:moveTo>
                <a:lnTo>
                  <a:pt x="939477" y="785488"/>
                </a:lnTo>
                <a:lnTo>
                  <a:pt x="942549" y="789167"/>
                </a:lnTo>
                <a:lnTo>
                  <a:pt x="944743" y="792845"/>
                </a:lnTo>
                <a:lnTo>
                  <a:pt x="947376" y="797048"/>
                </a:lnTo>
                <a:lnTo>
                  <a:pt x="948692" y="801252"/>
                </a:lnTo>
                <a:lnTo>
                  <a:pt x="952203" y="801252"/>
                </a:lnTo>
                <a:lnTo>
                  <a:pt x="954836" y="801252"/>
                </a:lnTo>
                <a:lnTo>
                  <a:pt x="953524" y="803346"/>
                </a:lnTo>
                <a:lnTo>
                  <a:pt x="953787" y="803346"/>
                </a:lnTo>
                <a:lnTo>
                  <a:pt x="955073" y="803346"/>
                </a:lnTo>
                <a:lnTo>
                  <a:pt x="954473" y="804355"/>
                </a:lnTo>
                <a:lnTo>
                  <a:pt x="953297" y="803753"/>
                </a:lnTo>
                <a:lnTo>
                  <a:pt x="952642" y="804930"/>
                </a:lnTo>
                <a:lnTo>
                  <a:pt x="952203" y="805981"/>
                </a:lnTo>
                <a:lnTo>
                  <a:pt x="952642" y="807557"/>
                </a:lnTo>
                <a:lnTo>
                  <a:pt x="952732" y="807880"/>
                </a:lnTo>
                <a:lnTo>
                  <a:pt x="952929" y="807133"/>
                </a:lnTo>
                <a:lnTo>
                  <a:pt x="953787" y="805510"/>
                </a:lnTo>
                <a:lnTo>
                  <a:pt x="954473" y="804355"/>
                </a:lnTo>
                <a:lnTo>
                  <a:pt x="986374" y="820658"/>
                </a:lnTo>
                <a:lnTo>
                  <a:pt x="994092" y="817953"/>
                </a:lnTo>
                <a:lnTo>
                  <a:pt x="995701" y="817163"/>
                </a:lnTo>
                <a:lnTo>
                  <a:pt x="989954" y="819150"/>
                </a:lnTo>
                <a:lnTo>
                  <a:pt x="956609" y="802341"/>
                </a:lnTo>
                <a:lnTo>
                  <a:pt x="953232" y="798664"/>
                </a:lnTo>
                <a:lnTo>
                  <a:pt x="950278" y="794987"/>
                </a:lnTo>
                <a:lnTo>
                  <a:pt x="947323" y="791836"/>
                </a:lnTo>
                <a:lnTo>
                  <a:pt x="943946" y="788684"/>
                </a:lnTo>
                <a:lnTo>
                  <a:pt x="936349" y="782381"/>
                </a:lnTo>
                <a:close/>
                <a:moveTo>
                  <a:pt x="742915" y="763881"/>
                </a:moveTo>
                <a:lnTo>
                  <a:pt x="744285" y="764212"/>
                </a:lnTo>
                <a:lnTo>
                  <a:pt x="745153" y="765260"/>
                </a:lnTo>
                <a:lnTo>
                  <a:pt x="746021" y="766309"/>
                </a:lnTo>
                <a:lnTo>
                  <a:pt x="746889" y="768405"/>
                </a:lnTo>
                <a:lnTo>
                  <a:pt x="747323" y="771026"/>
                </a:lnTo>
                <a:lnTo>
                  <a:pt x="745587" y="768405"/>
                </a:lnTo>
                <a:lnTo>
                  <a:pt x="744285" y="766309"/>
                </a:lnTo>
                <a:lnTo>
                  <a:pt x="742983" y="764212"/>
                </a:lnTo>
                <a:close/>
                <a:moveTo>
                  <a:pt x="1072988" y="753394"/>
                </a:moveTo>
                <a:lnTo>
                  <a:pt x="1073105" y="753491"/>
                </a:lnTo>
                <a:lnTo>
                  <a:pt x="1075637" y="755592"/>
                </a:lnTo>
                <a:lnTo>
                  <a:pt x="1078592" y="758218"/>
                </a:lnTo>
                <a:lnTo>
                  <a:pt x="1081426" y="759100"/>
                </a:lnTo>
                <a:lnTo>
                  <a:pt x="1079120" y="757854"/>
                </a:lnTo>
                <a:lnTo>
                  <a:pt x="1076079" y="755742"/>
                </a:lnTo>
                <a:close/>
                <a:moveTo>
                  <a:pt x="1067759" y="747713"/>
                </a:moveTo>
                <a:lnTo>
                  <a:pt x="1068462" y="748763"/>
                </a:lnTo>
                <a:lnTo>
                  <a:pt x="1070572" y="751390"/>
                </a:lnTo>
                <a:lnTo>
                  <a:pt x="1072534" y="753017"/>
                </a:lnTo>
                <a:lnTo>
                  <a:pt x="1069563" y="749406"/>
                </a:lnTo>
                <a:lnTo>
                  <a:pt x="1070723" y="747713"/>
                </a:lnTo>
                <a:close/>
                <a:moveTo>
                  <a:pt x="623094" y="739678"/>
                </a:moveTo>
                <a:lnTo>
                  <a:pt x="620903" y="741759"/>
                </a:lnTo>
                <a:lnTo>
                  <a:pt x="622778" y="740627"/>
                </a:lnTo>
                <a:lnTo>
                  <a:pt x="623139" y="740191"/>
                </a:lnTo>
                <a:close/>
                <a:moveTo>
                  <a:pt x="805058" y="716926"/>
                </a:moveTo>
                <a:lnTo>
                  <a:pt x="800977" y="720363"/>
                </a:lnTo>
                <a:lnTo>
                  <a:pt x="802971" y="721960"/>
                </a:lnTo>
                <a:lnTo>
                  <a:pt x="805319" y="725488"/>
                </a:lnTo>
                <a:lnTo>
                  <a:pt x="807668" y="729016"/>
                </a:lnTo>
                <a:lnTo>
                  <a:pt x="808972" y="730897"/>
                </a:lnTo>
                <a:lnTo>
                  <a:pt x="809190" y="730713"/>
                </a:lnTo>
                <a:lnTo>
                  <a:pt x="812235" y="728663"/>
                </a:lnTo>
                <a:lnTo>
                  <a:pt x="816584" y="732764"/>
                </a:lnTo>
                <a:lnTo>
                  <a:pt x="820933" y="735839"/>
                </a:lnTo>
                <a:lnTo>
                  <a:pt x="825718" y="739427"/>
                </a:lnTo>
                <a:lnTo>
                  <a:pt x="830502" y="741990"/>
                </a:lnTo>
                <a:lnTo>
                  <a:pt x="835286" y="744552"/>
                </a:lnTo>
                <a:lnTo>
                  <a:pt x="840940" y="746090"/>
                </a:lnTo>
                <a:lnTo>
                  <a:pt x="846594" y="747628"/>
                </a:lnTo>
                <a:lnTo>
                  <a:pt x="853118" y="747628"/>
                </a:lnTo>
                <a:lnTo>
                  <a:pt x="857033" y="747115"/>
                </a:lnTo>
                <a:lnTo>
                  <a:pt x="860077" y="746090"/>
                </a:lnTo>
                <a:lnTo>
                  <a:pt x="863557" y="745065"/>
                </a:lnTo>
                <a:lnTo>
                  <a:pt x="865029" y="744872"/>
                </a:lnTo>
                <a:lnTo>
                  <a:pt x="864928" y="744538"/>
                </a:lnTo>
                <a:lnTo>
                  <a:pt x="841873" y="744538"/>
                </a:lnTo>
                <a:lnTo>
                  <a:pt x="835823" y="741498"/>
                </a:lnTo>
                <a:lnTo>
                  <a:pt x="830206" y="738458"/>
                </a:lnTo>
                <a:lnTo>
                  <a:pt x="825453" y="734912"/>
                </a:lnTo>
                <a:lnTo>
                  <a:pt x="820700" y="731872"/>
                </a:lnTo>
                <a:lnTo>
                  <a:pt x="815947" y="727819"/>
                </a:lnTo>
                <a:lnTo>
                  <a:pt x="811626" y="723765"/>
                </a:lnTo>
                <a:lnTo>
                  <a:pt x="806872" y="718699"/>
                </a:lnTo>
                <a:close/>
                <a:moveTo>
                  <a:pt x="880446" y="673940"/>
                </a:moveTo>
                <a:lnTo>
                  <a:pt x="880100" y="673966"/>
                </a:lnTo>
                <a:lnTo>
                  <a:pt x="878077" y="675175"/>
                </a:lnTo>
                <a:close/>
                <a:moveTo>
                  <a:pt x="1046103" y="668088"/>
                </a:moveTo>
                <a:lnTo>
                  <a:pt x="1043927" y="669180"/>
                </a:lnTo>
                <a:lnTo>
                  <a:pt x="1060252" y="678131"/>
                </a:lnTo>
                <a:lnTo>
                  <a:pt x="1072307" y="684316"/>
                </a:lnTo>
                <a:lnTo>
                  <a:pt x="1084362" y="700810"/>
                </a:lnTo>
                <a:lnTo>
                  <a:pt x="1093292" y="716272"/>
                </a:lnTo>
                <a:lnTo>
                  <a:pt x="1104900" y="729158"/>
                </a:lnTo>
                <a:lnTo>
                  <a:pt x="1087041" y="732250"/>
                </a:lnTo>
                <a:lnTo>
                  <a:pt x="1075432" y="735343"/>
                </a:lnTo>
                <a:lnTo>
                  <a:pt x="1075432" y="740844"/>
                </a:lnTo>
                <a:lnTo>
                  <a:pt x="1078251" y="736733"/>
                </a:lnTo>
                <a:lnTo>
                  <a:pt x="1089547" y="733564"/>
                </a:lnTo>
                <a:lnTo>
                  <a:pt x="1106924" y="730396"/>
                </a:lnTo>
                <a:lnTo>
                  <a:pt x="1095629" y="717195"/>
                </a:lnTo>
                <a:lnTo>
                  <a:pt x="1086940" y="701354"/>
                </a:lnTo>
                <a:lnTo>
                  <a:pt x="1075210" y="684457"/>
                </a:lnTo>
                <a:lnTo>
                  <a:pt x="1063480" y="678120"/>
                </a:lnTo>
                <a:close/>
                <a:moveTo>
                  <a:pt x="818540" y="648759"/>
                </a:moveTo>
                <a:lnTo>
                  <a:pt x="819112" y="649143"/>
                </a:lnTo>
                <a:lnTo>
                  <a:pt x="820830" y="650298"/>
                </a:lnTo>
                <a:lnTo>
                  <a:pt x="822977" y="652607"/>
                </a:lnTo>
                <a:lnTo>
                  <a:pt x="825125" y="654339"/>
                </a:lnTo>
                <a:lnTo>
                  <a:pt x="827272" y="655493"/>
                </a:lnTo>
                <a:lnTo>
                  <a:pt x="829420" y="656648"/>
                </a:lnTo>
                <a:lnTo>
                  <a:pt x="831567" y="657225"/>
                </a:lnTo>
                <a:lnTo>
                  <a:pt x="833715" y="657802"/>
                </a:lnTo>
                <a:lnTo>
                  <a:pt x="835433" y="657802"/>
                </a:lnTo>
                <a:lnTo>
                  <a:pt x="837580" y="657225"/>
                </a:lnTo>
                <a:lnTo>
                  <a:pt x="839298" y="656648"/>
                </a:lnTo>
                <a:lnTo>
                  <a:pt x="839585" y="656519"/>
                </a:lnTo>
                <a:lnTo>
                  <a:pt x="838991" y="656696"/>
                </a:lnTo>
                <a:lnTo>
                  <a:pt x="836771" y="657226"/>
                </a:lnTo>
                <a:lnTo>
                  <a:pt x="834995" y="657226"/>
                </a:lnTo>
                <a:lnTo>
                  <a:pt x="832775" y="656696"/>
                </a:lnTo>
                <a:lnTo>
                  <a:pt x="830555" y="656167"/>
                </a:lnTo>
                <a:lnTo>
                  <a:pt x="828335" y="655109"/>
                </a:lnTo>
                <a:lnTo>
                  <a:pt x="826115" y="654051"/>
                </a:lnTo>
                <a:lnTo>
                  <a:pt x="823895" y="652463"/>
                </a:lnTo>
                <a:lnTo>
                  <a:pt x="821676" y="650346"/>
                </a:lnTo>
                <a:lnTo>
                  <a:pt x="819900" y="649288"/>
                </a:lnTo>
                <a:lnTo>
                  <a:pt x="819012" y="648759"/>
                </a:lnTo>
                <a:close/>
                <a:moveTo>
                  <a:pt x="861741" y="638002"/>
                </a:moveTo>
                <a:lnTo>
                  <a:pt x="859415" y="639234"/>
                </a:lnTo>
                <a:lnTo>
                  <a:pt x="859240" y="639339"/>
                </a:lnTo>
                <a:lnTo>
                  <a:pt x="861202" y="638752"/>
                </a:lnTo>
                <a:lnTo>
                  <a:pt x="862920" y="638175"/>
                </a:lnTo>
                <a:lnTo>
                  <a:pt x="863832" y="638175"/>
                </a:lnTo>
                <a:close/>
                <a:moveTo>
                  <a:pt x="707626" y="617607"/>
                </a:moveTo>
                <a:lnTo>
                  <a:pt x="709562" y="623001"/>
                </a:lnTo>
                <a:lnTo>
                  <a:pt x="712062" y="629337"/>
                </a:lnTo>
                <a:lnTo>
                  <a:pt x="713313" y="632505"/>
                </a:lnTo>
                <a:lnTo>
                  <a:pt x="715397" y="635673"/>
                </a:lnTo>
                <a:lnTo>
                  <a:pt x="717898" y="639369"/>
                </a:lnTo>
                <a:lnTo>
                  <a:pt x="720815" y="643593"/>
                </a:lnTo>
                <a:lnTo>
                  <a:pt x="724984" y="647289"/>
                </a:lnTo>
                <a:lnTo>
                  <a:pt x="729985" y="651513"/>
                </a:lnTo>
                <a:lnTo>
                  <a:pt x="736237" y="655737"/>
                </a:lnTo>
                <a:lnTo>
                  <a:pt x="743740" y="660489"/>
                </a:lnTo>
                <a:lnTo>
                  <a:pt x="738321" y="662073"/>
                </a:lnTo>
                <a:lnTo>
                  <a:pt x="732903" y="663657"/>
                </a:lnTo>
                <a:lnTo>
                  <a:pt x="732903" y="667353"/>
                </a:lnTo>
                <a:lnTo>
                  <a:pt x="732069" y="672104"/>
                </a:lnTo>
                <a:lnTo>
                  <a:pt x="731652" y="674744"/>
                </a:lnTo>
                <a:lnTo>
                  <a:pt x="730819" y="676856"/>
                </a:lnTo>
                <a:lnTo>
                  <a:pt x="729152" y="678968"/>
                </a:lnTo>
                <a:lnTo>
                  <a:pt x="727484" y="680024"/>
                </a:lnTo>
                <a:lnTo>
                  <a:pt x="728318" y="683192"/>
                </a:lnTo>
                <a:lnTo>
                  <a:pt x="729985" y="686360"/>
                </a:lnTo>
                <a:lnTo>
                  <a:pt x="732903" y="690056"/>
                </a:lnTo>
                <a:lnTo>
                  <a:pt x="735821" y="693224"/>
                </a:lnTo>
                <a:lnTo>
                  <a:pt x="728735" y="694280"/>
                </a:lnTo>
                <a:lnTo>
                  <a:pt x="720815" y="695336"/>
                </a:lnTo>
                <a:lnTo>
                  <a:pt x="712062" y="696392"/>
                </a:lnTo>
                <a:lnTo>
                  <a:pt x="702893" y="696920"/>
                </a:lnTo>
                <a:lnTo>
                  <a:pt x="692889" y="697448"/>
                </a:lnTo>
                <a:lnTo>
                  <a:pt x="682886" y="697448"/>
                </a:lnTo>
                <a:lnTo>
                  <a:pt x="672883" y="696920"/>
                </a:lnTo>
                <a:lnTo>
                  <a:pt x="663296" y="696392"/>
                </a:lnTo>
                <a:lnTo>
                  <a:pt x="661491" y="696512"/>
                </a:lnTo>
                <a:lnTo>
                  <a:pt x="650859" y="713906"/>
                </a:lnTo>
                <a:lnTo>
                  <a:pt x="650859" y="715704"/>
                </a:lnTo>
                <a:lnTo>
                  <a:pt x="650018" y="717502"/>
                </a:lnTo>
                <a:lnTo>
                  <a:pt x="649176" y="718700"/>
                </a:lnTo>
                <a:lnTo>
                  <a:pt x="648756" y="719899"/>
                </a:lnTo>
                <a:lnTo>
                  <a:pt x="647073" y="722297"/>
                </a:lnTo>
                <a:lnTo>
                  <a:pt x="646652" y="723495"/>
                </a:lnTo>
                <a:lnTo>
                  <a:pt x="646652" y="724694"/>
                </a:lnTo>
                <a:lnTo>
                  <a:pt x="647073" y="725293"/>
                </a:lnTo>
                <a:lnTo>
                  <a:pt x="647914" y="725293"/>
                </a:lnTo>
                <a:lnTo>
                  <a:pt x="649597" y="725893"/>
                </a:lnTo>
                <a:lnTo>
                  <a:pt x="655486" y="727092"/>
                </a:lnTo>
                <a:lnTo>
                  <a:pt x="665162" y="728290"/>
                </a:lnTo>
                <a:lnTo>
                  <a:pt x="663059" y="728890"/>
                </a:lnTo>
                <a:lnTo>
                  <a:pt x="659273" y="731287"/>
                </a:lnTo>
                <a:lnTo>
                  <a:pt x="655486" y="734284"/>
                </a:lnTo>
                <a:lnTo>
                  <a:pt x="650859" y="739079"/>
                </a:lnTo>
                <a:lnTo>
                  <a:pt x="646231" y="743275"/>
                </a:lnTo>
                <a:lnTo>
                  <a:pt x="644682" y="744820"/>
                </a:lnTo>
                <a:lnTo>
                  <a:pt x="646646" y="744820"/>
                </a:lnTo>
                <a:lnTo>
                  <a:pt x="648381" y="742199"/>
                </a:lnTo>
                <a:lnTo>
                  <a:pt x="652287" y="739055"/>
                </a:lnTo>
                <a:lnTo>
                  <a:pt x="657060" y="735386"/>
                </a:lnTo>
                <a:lnTo>
                  <a:pt x="662268" y="731717"/>
                </a:lnTo>
                <a:lnTo>
                  <a:pt x="667909" y="727524"/>
                </a:lnTo>
                <a:lnTo>
                  <a:pt x="672683" y="724903"/>
                </a:lnTo>
                <a:lnTo>
                  <a:pt x="676154" y="722807"/>
                </a:lnTo>
                <a:lnTo>
                  <a:pt x="678324" y="722283"/>
                </a:lnTo>
                <a:lnTo>
                  <a:pt x="706965" y="719138"/>
                </a:lnTo>
                <a:lnTo>
                  <a:pt x="708701" y="721235"/>
                </a:lnTo>
                <a:lnTo>
                  <a:pt x="710871" y="723331"/>
                </a:lnTo>
                <a:lnTo>
                  <a:pt x="712606" y="724903"/>
                </a:lnTo>
                <a:lnTo>
                  <a:pt x="714776" y="725952"/>
                </a:lnTo>
                <a:lnTo>
                  <a:pt x="718682" y="727524"/>
                </a:lnTo>
                <a:lnTo>
                  <a:pt x="724323" y="729096"/>
                </a:lnTo>
                <a:lnTo>
                  <a:pt x="726189" y="729186"/>
                </a:lnTo>
                <a:lnTo>
                  <a:pt x="723036" y="728191"/>
                </a:lnTo>
                <a:lnTo>
                  <a:pt x="718144" y="726646"/>
                </a:lnTo>
                <a:lnTo>
                  <a:pt x="714142" y="724587"/>
                </a:lnTo>
                <a:lnTo>
                  <a:pt x="711919" y="723042"/>
                </a:lnTo>
                <a:lnTo>
                  <a:pt x="710140" y="721497"/>
                </a:lnTo>
                <a:lnTo>
                  <a:pt x="707917" y="719438"/>
                </a:lnTo>
                <a:lnTo>
                  <a:pt x="706138" y="717379"/>
                </a:lnTo>
                <a:lnTo>
                  <a:pt x="679903" y="720468"/>
                </a:lnTo>
                <a:lnTo>
                  <a:pt x="669676" y="721497"/>
                </a:lnTo>
                <a:lnTo>
                  <a:pt x="662561" y="721497"/>
                </a:lnTo>
                <a:lnTo>
                  <a:pt x="660338" y="721497"/>
                </a:lnTo>
                <a:lnTo>
                  <a:pt x="659004" y="721497"/>
                </a:lnTo>
                <a:lnTo>
                  <a:pt x="657670" y="720983"/>
                </a:lnTo>
                <a:lnTo>
                  <a:pt x="657225" y="720468"/>
                </a:lnTo>
                <a:lnTo>
                  <a:pt x="657670" y="716864"/>
                </a:lnTo>
                <a:lnTo>
                  <a:pt x="659004" y="711200"/>
                </a:lnTo>
                <a:lnTo>
                  <a:pt x="674123" y="701933"/>
                </a:lnTo>
                <a:lnTo>
                  <a:pt x="680348" y="702962"/>
                </a:lnTo>
                <a:lnTo>
                  <a:pt x="686128" y="703477"/>
                </a:lnTo>
                <a:lnTo>
                  <a:pt x="691464" y="703992"/>
                </a:lnTo>
                <a:lnTo>
                  <a:pt x="696356" y="703992"/>
                </a:lnTo>
                <a:lnTo>
                  <a:pt x="705249" y="703477"/>
                </a:lnTo>
                <a:lnTo>
                  <a:pt x="712808" y="701933"/>
                </a:lnTo>
                <a:lnTo>
                  <a:pt x="726148" y="698329"/>
                </a:lnTo>
                <a:lnTo>
                  <a:pt x="739044" y="695239"/>
                </a:lnTo>
                <a:lnTo>
                  <a:pt x="735931" y="692150"/>
                </a:lnTo>
                <a:lnTo>
                  <a:pt x="732818" y="688546"/>
                </a:lnTo>
                <a:lnTo>
                  <a:pt x="731040" y="685457"/>
                </a:lnTo>
                <a:lnTo>
                  <a:pt x="730150" y="682368"/>
                </a:lnTo>
                <a:lnTo>
                  <a:pt x="731929" y="681338"/>
                </a:lnTo>
                <a:lnTo>
                  <a:pt x="733708" y="679279"/>
                </a:lnTo>
                <a:lnTo>
                  <a:pt x="734597" y="677219"/>
                </a:lnTo>
                <a:lnTo>
                  <a:pt x="735042" y="674645"/>
                </a:lnTo>
                <a:lnTo>
                  <a:pt x="735931" y="670011"/>
                </a:lnTo>
                <a:lnTo>
                  <a:pt x="735931" y="666407"/>
                </a:lnTo>
                <a:lnTo>
                  <a:pt x="741712" y="664862"/>
                </a:lnTo>
                <a:lnTo>
                  <a:pt x="747492" y="663318"/>
                </a:lnTo>
                <a:lnTo>
                  <a:pt x="791959" y="654050"/>
                </a:lnTo>
                <a:lnTo>
                  <a:pt x="799073" y="658169"/>
                </a:lnTo>
                <a:lnTo>
                  <a:pt x="803965" y="661258"/>
                </a:lnTo>
                <a:lnTo>
                  <a:pt x="805743" y="662803"/>
                </a:lnTo>
                <a:lnTo>
                  <a:pt x="808856" y="664347"/>
                </a:lnTo>
                <a:lnTo>
                  <a:pt x="811524" y="665377"/>
                </a:lnTo>
                <a:lnTo>
                  <a:pt x="814387" y="666114"/>
                </a:lnTo>
                <a:lnTo>
                  <a:pt x="814387" y="664997"/>
                </a:lnTo>
                <a:lnTo>
                  <a:pt x="811020" y="664105"/>
                </a:lnTo>
                <a:lnTo>
                  <a:pt x="808356" y="663046"/>
                </a:lnTo>
                <a:lnTo>
                  <a:pt x="805248" y="661459"/>
                </a:lnTo>
                <a:lnTo>
                  <a:pt x="803472" y="659871"/>
                </a:lnTo>
                <a:lnTo>
                  <a:pt x="798588" y="656696"/>
                </a:lnTo>
                <a:lnTo>
                  <a:pt x="791484" y="652463"/>
                </a:lnTo>
                <a:lnTo>
                  <a:pt x="747084" y="661988"/>
                </a:lnTo>
                <a:lnTo>
                  <a:pt x="739092" y="657226"/>
                </a:lnTo>
                <a:lnTo>
                  <a:pt x="732432" y="652992"/>
                </a:lnTo>
                <a:lnTo>
                  <a:pt x="727104" y="648759"/>
                </a:lnTo>
                <a:lnTo>
                  <a:pt x="722664" y="645055"/>
                </a:lnTo>
                <a:lnTo>
                  <a:pt x="719556" y="640821"/>
                </a:lnTo>
                <a:lnTo>
                  <a:pt x="716892" y="637117"/>
                </a:lnTo>
                <a:lnTo>
                  <a:pt x="714672" y="633942"/>
                </a:lnTo>
                <a:lnTo>
                  <a:pt x="713340" y="630767"/>
                </a:lnTo>
                <a:lnTo>
                  <a:pt x="710676" y="624417"/>
                </a:lnTo>
                <a:lnTo>
                  <a:pt x="708456" y="618596"/>
                </a:lnTo>
                <a:close/>
                <a:moveTo>
                  <a:pt x="468069" y="581025"/>
                </a:moveTo>
                <a:lnTo>
                  <a:pt x="468069" y="593676"/>
                </a:lnTo>
                <a:lnTo>
                  <a:pt x="476518" y="597893"/>
                </a:lnTo>
                <a:lnTo>
                  <a:pt x="484523" y="602110"/>
                </a:lnTo>
                <a:lnTo>
                  <a:pt x="492527" y="607381"/>
                </a:lnTo>
                <a:lnTo>
                  <a:pt x="500087" y="613180"/>
                </a:lnTo>
                <a:lnTo>
                  <a:pt x="508091" y="618978"/>
                </a:lnTo>
                <a:lnTo>
                  <a:pt x="516096" y="623722"/>
                </a:lnTo>
                <a:lnTo>
                  <a:pt x="524100" y="628466"/>
                </a:lnTo>
                <a:lnTo>
                  <a:pt x="532994" y="632683"/>
                </a:lnTo>
                <a:lnTo>
                  <a:pt x="536107" y="634265"/>
                </a:lnTo>
                <a:lnTo>
                  <a:pt x="542333" y="637427"/>
                </a:lnTo>
                <a:lnTo>
                  <a:pt x="546335" y="639536"/>
                </a:lnTo>
                <a:lnTo>
                  <a:pt x="549892" y="641117"/>
                </a:lnTo>
                <a:lnTo>
                  <a:pt x="553895" y="642171"/>
                </a:lnTo>
                <a:lnTo>
                  <a:pt x="556563" y="642699"/>
                </a:lnTo>
                <a:lnTo>
                  <a:pt x="565457" y="643226"/>
                </a:lnTo>
                <a:lnTo>
                  <a:pt x="569957" y="644068"/>
                </a:lnTo>
                <a:lnTo>
                  <a:pt x="570740" y="636080"/>
                </a:lnTo>
                <a:lnTo>
                  <a:pt x="570326" y="631254"/>
                </a:lnTo>
                <a:lnTo>
                  <a:pt x="570740" y="630048"/>
                </a:lnTo>
                <a:lnTo>
                  <a:pt x="571155" y="630048"/>
                </a:lnTo>
                <a:lnTo>
                  <a:pt x="572397" y="628841"/>
                </a:lnTo>
                <a:lnTo>
                  <a:pt x="575296" y="628841"/>
                </a:lnTo>
                <a:lnTo>
                  <a:pt x="588962" y="614363"/>
                </a:lnTo>
                <a:lnTo>
                  <a:pt x="588962" y="648083"/>
                </a:lnTo>
                <a:lnTo>
                  <a:pt x="592138" y="649024"/>
                </a:lnTo>
                <a:lnTo>
                  <a:pt x="589470" y="652714"/>
                </a:lnTo>
                <a:lnTo>
                  <a:pt x="588962" y="654068"/>
                </a:lnTo>
                <a:lnTo>
                  <a:pt x="588962" y="674688"/>
                </a:lnTo>
                <a:lnTo>
                  <a:pt x="586477" y="673482"/>
                </a:lnTo>
                <a:lnTo>
                  <a:pt x="583633" y="668746"/>
                </a:lnTo>
                <a:lnTo>
                  <a:pt x="580576" y="680651"/>
                </a:lnTo>
                <a:lnTo>
                  <a:pt x="576574" y="692775"/>
                </a:lnTo>
                <a:lnTo>
                  <a:pt x="572572" y="705426"/>
                </a:lnTo>
                <a:lnTo>
                  <a:pt x="567680" y="715969"/>
                </a:lnTo>
                <a:lnTo>
                  <a:pt x="565457" y="720713"/>
                </a:lnTo>
                <a:lnTo>
                  <a:pt x="562789" y="724403"/>
                </a:lnTo>
                <a:lnTo>
                  <a:pt x="559676" y="728093"/>
                </a:lnTo>
                <a:lnTo>
                  <a:pt x="556563" y="730201"/>
                </a:lnTo>
                <a:lnTo>
                  <a:pt x="557008" y="731782"/>
                </a:lnTo>
                <a:lnTo>
                  <a:pt x="558342" y="733891"/>
                </a:lnTo>
                <a:lnTo>
                  <a:pt x="560565" y="735999"/>
                </a:lnTo>
                <a:lnTo>
                  <a:pt x="563233" y="738108"/>
                </a:lnTo>
                <a:lnTo>
                  <a:pt x="566346" y="739689"/>
                </a:lnTo>
                <a:lnTo>
                  <a:pt x="569014" y="741271"/>
                </a:lnTo>
                <a:lnTo>
                  <a:pt x="571682" y="742852"/>
                </a:lnTo>
                <a:lnTo>
                  <a:pt x="573906" y="742852"/>
                </a:lnTo>
                <a:lnTo>
                  <a:pt x="573906" y="752867"/>
                </a:lnTo>
                <a:lnTo>
                  <a:pt x="573906" y="757084"/>
                </a:lnTo>
                <a:lnTo>
                  <a:pt x="573461" y="760247"/>
                </a:lnTo>
                <a:lnTo>
                  <a:pt x="573461" y="762356"/>
                </a:lnTo>
                <a:lnTo>
                  <a:pt x="572572" y="763937"/>
                </a:lnTo>
                <a:lnTo>
                  <a:pt x="571682" y="767100"/>
                </a:lnTo>
                <a:lnTo>
                  <a:pt x="571238" y="772371"/>
                </a:lnTo>
                <a:lnTo>
                  <a:pt x="571682" y="777115"/>
                </a:lnTo>
                <a:lnTo>
                  <a:pt x="571682" y="781859"/>
                </a:lnTo>
                <a:lnTo>
                  <a:pt x="572572" y="787130"/>
                </a:lnTo>
                <a:lnTo>
                  <a:pt x="573461" y="791347"/>
                </a:lnTo>
                <a:lnTo>
                  <a:pt x="574350" y="796092"/>
                </a:lnTo>
                <a:lnTo>
                  <a:pt x="576574" y="800309"/>
                </a:lnTo>
                <a:lnTo>
                  <a:pt x="577908" y="803998"/>
                </a:lnTo>
                <a:lnTo>
                  <a:pt x="580576" y="807688"/>
                </a:lnTo>
                <a:lnTo>
                  <a:pt x="573461" y="815068"/>
                </a:lnTo>
                <a:lnTo>
                  <a:pt x="567235" y="821921"/>
                </a:lnTo>
                <a:lnTo>
                  <a:pt x="560565" y="828246"/>
                </a:lnTo>
                <a:lnTo>
                  <a:pt x="553450" y="834044"/>
                </a:lnTo>
                <a:lnTo>
                  <a:pt x="549892" y="836153"/>
                </a:lnTo>
                <a:lnTo>
                  <a:pt x="546335" y="837734"/>
                </a:lnTo>
                <a:lnTo>
                  <a:pt x="541888" y="838789"/>
                </a:lnTo>
                <a:lnTo>
                  <a:pt x="537886" y="838789"/>
                </a:lnTo>
                <a:lnTo>
                  <a:pt x="533439" y="838261"/>
                </a:lnTo>
                <a:lnTo>
                  <a:pt x="528547" y="836680"/>
                </a:lnTo>
                <a:lnTo>
                  <a:pt x="523211" y="834572"/>
                </a:lnTo>
                <a:lnTo>
                  <a:pt x="517875" y="830882"/>
                </a:lnTo>
                <a:lnTo>
                  <a:pt x="513428" y="826665"/>
                </a:lnTo>
                <a:lnTo>
                  <a:pt x="508981" y="823502"/>
                </a:lnTo>
                <a:lnTo>
                  <a:pt x="507202" y="822448"/>
                </a:lnTo>
                <a:lnTo>
                  <a:pt x="504534" y="821921"/>
                </a:lnTo>
                <a:lnTo>
                  <a:pt x="502755" y="821393"/>
                </a:lnTo>
                <a:lnTo>
                  <a:pt x="500087" y="821393"/>
                </a:lnTo>
                <a:lnTo>
                  <a:pt x="496974" y="821393"/>
                </a:lnTo>
                <a:lnTo>
                  <a:pt x="493861" y="821921"/>
                </a:lnTo>
                <a:lnTo>
                  <a:pt x="490749" y="822975"/>
                </a:lnTo>
                <a:lnTo>
                  <a:pt x="487636" y="824556"/>
                </a:lnTo>
                <a:lnTo>
                  <a:pt x="484968" y="826138"/>
                </a:lnTo>
                <a:lnTo>
                  <a:pt x="482299" y="827719"/>
                </a:lnTo>
                <a:lnTo>
                  <a:pt x="479631" y="829827"/>
                </a:lnTo>
                <a:lnTo>
                  <a:pt x="477408" y="832463"/>
                </a:lnTo>
                <a:lnTo>
                  <a:pt x="473406" y="837207"/>
                </a:lnTo>
                <a:lnTo>
                  <a:pt x="470293" y="842478"/>
                </a:lnTo>
                <a:lnTo>
                  <a:pt x="469403" y="846168"/>
                </a:lnTo>
                <a:lnTo>
                  <a:pt x="468514" y="848804"/>
                </a:lnTo>
                <a:lnTo>
                  <a:pt x="468069" y="850912"/>
                </a:lnTo>
                <a:lnTo>
                  <a:pt x="468069" y="852330"/>
                </a:lnTo>
                <a:lnTo>
                  <a:pt x="469547" y="847725"/>
                </a:lnTo>
                <a:lnTo>
                  <a:pt x="473026" y="860084"/>
                </a:lnTo>
                <a:lnTo>
                  <a:pt x="473840" y="858109"/>
                </a:lnTo>
                <a:lnTo>
                  <a:pt x="475143" y="856001"/>
                </a:lnTo>
                <a:lnTo>
                  <a:pt x="476446" y="853893"/>
                </a:lnTo>
                <a:lnTo>
                  <a:pt x="477315" y="852839"/>
                </a:lnTo>
                <a:lnTo>
                  <a:pt x="478617" y="852312"/>
                </a:lnTo>
                <a:lnTo>
                  <a:pt x="481657" y="853366"/>
                </a:lnTo>
                <a:lnTo>
                  <a:pt x="484263" y="853366"/>
                </a:lnTo>
                <a:lnTo>
                  <a:pt x="487303" y="853366"/>
                </a:lnTo>
                <a:lnTo>
                  <a:pt x="489909" y="853366"/>
                </a:lnTo>
                <a:lnTo>
                  <a:pt x="493383" y="852839"/>
                </a:lnTo>
                <a:lnTo>
                  <a:pt x="496423" y="852839"/>
                </a:lnTo>
                <a:lnTo>
                  <a:pt x="499463" y="853366"/>
                </a:lnTo>
                <a:lnTo>
                  <a:pt x="502504" y="853893"/>
                </a:lnTo>
                <a:lnTo>
                  <a:pt x="503372" y="855474"/>
                </a:lnTo>
                <a:lnTo>
                  <a:pt x="504241" y="858109"/>
                </a:lnTo>
                <a:lnTo>
                  <a:pt x="505544" y="861270"/>
                </a:lnTo>
                <a:lnTo>
                  <a:pt x="505978" y="865485"/>
                </a:lnTo>
                <a:lnTo>
                  <a:pt x="506412" y="869701"/>
                </a:lnTo>
                <a:lnTo>
                  <a:pt x="506412" y="873389"/>
                </a:lnTo>
                <a:lnTo>
                  <a:pt x="505978" y="876024"/>
                </a:lnTo>
                <a:lnTo>
                  <a:pt x="505544" y="876551"/>
                </a:lnTo>
                <a:lnTo>
                  <a:pt x="499463" y="878131"/>
                </a:lnTo>
                <a:lnTo>
                  <a:pt x="493818" y="880239"/>
                </a:lnTo>
                <a:lnTo>
                  <a:pt x="489040" y="882347"/>
                </a:lnTo>
                <a:lnTo>
                  <a:pt x="484263" y="884981"/>
                </a:lnTo>
                <a:lnTo>
                  <a:pt x="479920" y="888143"/>
                </a:lnTo>
                <a:lnTo>
                  <a:pt x="476012" y="891304"/>
                </a:lnTo>
                <a:lnTo>
                  <a:pt x="472537" y="894466"/>
                </a:lnTo>
                <a:lnTo>
                  <a:pt x="470455" y="896431"/>
                </a:lnTo>
                <a:lnTo>
                  <a:pt x="468489" y="904875"/>
                </a:lnTo>
                <a:lnTo>
                  <a:pt x="467091" y="899951"/>
                </a:lnTo>
                <a:lnTo>
                  <a:pt x="456903" y="911854"/>
                </a:lnTo>
                <a:lnTo>
                  <a:pt x="447783" y="921865"/>
                </a:lnTo>
                <a:lnTo>
                  <a:pt x="444308" y="923973"/>
                </a:lnTo>
                <a:lnTo>
                  <a:pt x="442137" y="926081"/>
                </a:lnTo>
                <a:lnTo>
                  <a:pt x="439531" y="928188"/>
                </a:lnTo>
                <a:lnTo>
                  <a:pt x="437794" y="930823"/>
                </a:lnTo>
                <a:lnTo>
                  <a:pt x="434320" y="935565"/>
                </a:lnTo>
                <a:lnTo>
                  <a:pt x="432582" y="940307"/>
                </a:lnTo>
                <a:lnTo>
                  <a:pt x="431280" y="945050"/>
                </a:lnTo>
                <a:lnTo>
                  <a:pt x="430845" y="949792"/>
                </a:lnTo>
                <a:lnTo>
                  <a:pt x="430411" y="954534"/>
                </a:lnTo>
                <a:lnTo>
                  <a:pt x="430845" y="959803"/>
                </a:lnTo>
                <a:lnTo>
                  <a:pt x="430845" y="965072"/>
                </a:lnTo>
                <a:lnTo>
                  <a:pt x="431280" y="969815"/>
                </a:lnTo>
                <a:lnTo>
                  <a:pt x="430845" y="975084"/>
                </a:lnTo>
                <a:lnTo>
                  <a:pt x="430411" y="979826"/>
                </a:lnTo>
                <a:lnTo>
                  <a:pt x="429108" y="985095"/>
                </a:lnTo>
                <a:lnTo>
                  <a:pt x="426502" y="990364"/>
                </a:lnTo>
                <a:lnTo>
                  <a:pt x="425200" y="992999"/>
                </a:lnTo>
                <a:lnTo>
                  <a:pt x="423462" y="995106"/>
                </a:lnTo>
                <a:lnTo>
                  <a:pt x="420857" y="997741"/>
                </a:lnTo>
                <a:lnTo>
                  <a:pt x="418685" y="999849"/>
                </a:lnTo>
                <a:lnTo>
                  <a:pt x="410434" y="1007225"/>
                </a:lnTo>
                <a:lnTo>
                  <a:pt x="403919" y="1013548"/>
                </a:lnTo>
                <a:lnTo>
                  <a:pt x="398708" y="1018818"/>
                </a:lnTo>
                <a:lnTo>
                  <a:pt x="394799" y="1024087"/>
                </a:lnTo>
                <a:lnTo>
                  <a:pt x="391759" y="1027775"/>
                </a:lnTo>
                <a:lnTo>
                  <a:pt x="390022" y="1030937"/>
                </a:lnTo>
                <a:lnTo>
                  <a:pt x="388719" y="1033571"/>
                </a:lnTo>
                <a:lnTo>
                  <a:pt x="387850" y="1035152"/>
                </a:lnTo>
                <a:lnTo>
                  <a:pt x="387416" y="1037787"/>
                </a:lnTo>
                <a:lnTo>
                  <a:pt x="387416" y="1038840"/>
                </a:lnTo>
                <a:lnTo>
                  <a:pt x="385679" y="1038840"/>
                </a:lnTo>
                <a:lnTo>
                  <a:pt x="380902" y="1038840"/>
                </a:lnTo>
                <a:lnTo>
                  <a:pt x="370044" y="1037787"/>
                </a:lnTo>
                <a:lnTo>
                  <a:pt x="360056" y="1037260"/>
                </a:lnTo>
                <a:lnTo>
                  <a:pt x="351370" y="1037260"/>
                </a:lnTo>
                <a:lnTo>
                  <a:pt x="343553" y="1038313"/>
                </a:lnTo>
                <a:lnTo>
                  <a:pt x="337038" y="1039894"/>
                </a:lnTo>
                <a:lnTo>
                  <a:pt x="331827" y="1041475"/>
                </a:lnTo>
                <a:lnTo>
                  <a:pt x="327049" y="1043583"/>
                </a:lnTo>
                <a:lnTo>
                  <a:pt x="322707" y="1046217"/>
                </a:lnTo>
                <a:lnTo>
                  <a:pt x="316192" y="1051486"/>
                </a:lnTo>
                <a:lnTo>
                  <a:pt x="311415" y="1055702"/>
                </a:lnTo>
                <a:lnTo>
                  <a:pt x="309244" y="1057282"/>
                </a:lnTo>
                <a:lnTo>
                  <a:pt x="307506" y="1058336"/>
                </a:lnTo>
                <a:lnTo>
                  <a:pt x="304901" y="1058863"/>
                </a:lnTo>
                <a:lnTo>
                  <a:pt x="303163" y="1058336"/>
                </a:lnTo>
                <a:lnTo>
                  <a:pt x="301861" y="1057809"/>
                </a:lnTo>
                <a:lnTo>
                  <a:pt x="300123" y="1056229"/>
                </a:lnTo>
                <a:lnTo>
                  <a:pt x="298820" y="1054121"/>
                </a:lnTo>
                <a:lnTo>
                  <a:pt x="297518" y="1051486"/>
                </a:lnTo>
                <a:lnTo>
                  <a:pt x="294478" y="1045163"/>
                </a:lnTo>
                <a:lnTo>
                  <a:pt x="291872" y="1038840"/>
                </a:lnTo>
                <a:lnTo>
                  <a:pt x="289700" y="1035679"/>
                </a:lnTo>
                <a:lnTo>
                  <a:pt x="287963" y="1032517"/>
                </a:lnTo>
                <a:lnTo>
                  <a:pt x="286226" y="1029356"/>
                </a:lnTo>
                <a:lnTo>
                  <a:pt x="283620" y="1026721"/>
                </a:lnTo>
                <a:lnTo>
                  <a:pt x="281449" y="1024087"/>
                </a:lnTo>
                <a:lnTo>
                  <a:pt x="278409" y="1021979"/>
                </a:lnTo>
                <a:lnTo>
                  <a:pt x="274934" y="1020398"/>
                </a:lnTo>
                <a:lnTo>
                  <a:pt x="271894" y="1019871"/>
                </a:lnTo>
                <a:lnTo>
                  <a:pt x="274934" y="1010914"/>
                </a:lnTo>
                <a:lnTo>
                  <a:pt x="277974" y="1003537"/>
                </a:lnTo>
                <a:lnTo>
                  <a:pt x="279277" y="996160"/>
                </a:lnTo>
                <a:lnTo>
                  <a:pt x="279345" y="995540"/>
                </a:lnTo>
                <a:lnTo>
                  <a:pt x="278110" y="1002545"/>
                </a:lnTo>
                <a:lnTo>
                  <a:pt x="275100" y="1009857"/>
                </a:lnTo>
                <a:lnTo>
                  <a:pt x="272091" y="1018736"/>
                </a:lnTo>
                <a:lnTo>
                  <a:pt x="263062" y="1019780"/>
                </a:lnTo>
                <a:lnTo>
                  <a:pt x="256612" y="1021869"/>
                </a:lnTo>
                <a:lnTo>
                  <a:pt x="253173" y="1023436"/>
                </a:lnTo>
                <a:lnTo>
                  <a:pt x="250593" y="1025003"/>
                </a:lnTo>
                <a:lnTo>
                  <a:pt x="248443" y="1025525"/>
                </a:lnTo>
                <a:lnTo>
                  <a:pt x="245004" y="1025525"/>
                </a:lnTo>
                <a:lnTo>
                  <a:pt x="239844" y="1024481"/>
                </a:lnTo>
                <a:lnTo>
                  <a:pt x="231675" y="1021869"/>
                </a:lnTo>
                <a:lnTo>
                  <a:pt x="231245" y="1017169"/>
                </a:lnTo>
                <a:lnTo>
                  <a:pt x="231245" y="1013513"/>
                </a:lnTo>
                <a:lnTo>
                  <a:pt x="230386" y="1009857"/>
                </a:lnTo>
                <a:lnTo>
                  <a:pt x="229526" y="1006201"/>
                </a:lnTo>
                <a:lnTo>
                  <a:pt x="226946" y="999412"/>
                </a:lnTo>
                <a:lnTo>
                  <a:pt x="224796" y="992622"/>
                </a:lnTo>
                <a:lnTo>
                  <a:pt x="221787" y="985833"/>
                </a:lnTo>
                <a:lnTo>
                  <a:pt x="219637" y="979043"/>
                </a:lnTo>
                <a:lnTo>
                  <a:pt x="218347" y="975387"/>
                </a:lnTo>
                <a:lnTo>
                  <a:pt x="217917" y="971731"/>
                </a:lnTo>
                <a:lnTo>
                  <a:pt x="217487" y="968075"/>
                </a:lnTo>
                <a:lnTo>
                  <a:pt x="217487" y="963897"/>
                </a:lnTo>
                <a:lnTo>
                  <a:pt x="217487" y="959197"/>
                </a:lnTo>
                <a:lnTo>
                  <a:pt x="217917" y="955541"/>
                </a:lnTo>
                <a:lnTo>
                  <a:pt x="218347" y="951363"/>
                </a:lnTo>
                <a:lnTo>
                  <a:pt x="219637" y="947707"/>
                </a:lnTo>
                <a:lnTo>
                  <a:pt x="222217" y="940917"/>
                </a:lnTo>
                <a:lnTo>
                  <a:pt x="225226" y="934650"/>
                </a:lnTo>
                <a:lnTo>
                  <a:pt x="231675" y="922116"/>
                </a:lnTo>
                <a:lnTo>
                  <a:pt x="237265" y="912192"/>
                </a:lnTo>
                <a:lnTo>
                  <a:pt x="238125" y="907492"/>
                </a:lnTo>
                <a:lnTo>
                  <a:pt x="238985" y="902792"/>
                </a:lnTo>
                <a:lnTo>
                  <a:pt x="239844" y="897569"/>
                </a:lnTo>
                <a:lnTo>
                  <a:pt x="240274" y="892868"/>
                </a:lnTo>
                <a:lnTo>
                  <a:pt x="240274" y="886601"/>
                </a:lnTo>
                <a:lnTo>
                  <a:pt x="240704" y="882945"/>
                </a:lnTo>
                <a:lnTo>
                  <a:pt x="241134" y="880856"/>
                </a:lnTo>
                <a:lnTo>
                  <a:pt x="241564" y="879812"/>
                </a:lnTo>
                <a:lnTo>
                  <a:pt x="241994" y="878767"/>
                </a:lnTo>
                <a:lnTo>
                  <a:pt x="242424" y="878245"/>
                </a:lnTo>
                <a:lnTo>
                  <a:pt x="243284" y="876678"/>
                </a:lnTo>
                <a:lnTo>
                  <a:pt x="243284" y="873544"/>
                </a:lnTo>
                <a:lnTo>
                  <a:pt x="236405" y="868844"/>
                </a:lnTo>
                <a:lnTo>
                  <a:pt x="233825" y="866755"/>
                </a:lnTo>
                <a:lnTo>
                  <a:pt x="232535" y="865710"/>
                </a:lnTo>
                <a:lnTo>
                  <a:pt x="233395" y="865188"/>
                </a:lnTo>
                <a:lnTo>
                  <a:pt x="233833" y="865188"/>
                </a:lnTo>
                <a:lnTo>
                  <a:pt x="232808" y="860216"/>
                </a:lnTo>
                <a:lnTo>
                  <a:pt x="229768" y="849151"/>
                </a:lnTo>
                <a:lnTo>
                  <a:pt x="226728" y="837559"/>
                </a:lnTo>
                <a:lnTo>
                  <a:pt x="225425" y="831236"/>
                </a:lnTo>
                <a:lnTo>
                  <a:pt x="228899" y="830709"/>
                </a:lnTo>
                <a:lnTo>
                  <a:pt x="231940" y="830182"/>
                </a:lnTo>
                <a:lnTo>
                  <a:pt x="235414" y="829128"/>
                </a:lnTo>
                <a:lnTo>
                  <a:pt x="238020" y="828074"/>
                </a:lnTo>
                <a:lnTo>
                  <a:pt x="243231" y="824913"/>
                </a:lnTo>
                <a:lnTo>
                  <a:pt x="247574" y="821751"/>
                </a:lnTo>
                <a:lnTo>
                  <a:pt x="251048" y="818063"/>
                </a:lnTo>
                <a:lnTo>
                  <a:pt x="254957" y="814902"/>
                </a:lnTo>
                <a:lnTo>
                  <a:pt x="257128" y="813321"/>
                </a:lnTo>
                <a:lnTo>
                  <a:pt x="258866" y="812267"/>
                </a:lnTo>
                <a:lnTo>
                  <a:pt x="260603" y="811740"/>
                </a:lnTo>
                <a:lnTo>
                  <a:pt x="262774" y="811213"/>
                </a:lnTo>
                <a:lnTo>
                  <a:pt x="269723" y="811740"/>
                </a:lnTo>
                <a:lnTo>
                  <a:pt x="276672" y="812794"/>
                </a:lnTo>
                <a:lnTo>
                  <a:pt x="282752" y="814902"/>
                </a:lnTo>
                <a:lnTo>
                  <a:pt x="288397" y="817009"/>
                </a:lnTo>
                <a:lnTo>
                  <a:pt x="294043" y="818590"/>
                </a:lnTo>
                <a:lnTo>
                  <a:pt x="299689" y="820171"/>
                </a:lnTo>
                <a:lnTo>
                  <a:pt x="305769" y="821225"/>
                </a:lnTo>
                <a:lnTo>
                  <a:pt x="311849" y="821751"/>
                </a:lnTo>
                <a:lnTo>
                  <a:pt x="316192" y="821751"/>
                </a:lnTo>
                <a:lnTo>
                  <a:pt x="319667" y="822805"/>
                </a:lnTo>
                <a:lnTo>
                  <a:pt x="323575" y="824386"/>
                </a:lnTo>
                <a:lnTo>
                  <a:pt x="327484" y="826494"/>
                </a:lnTo>
                <a:lnTo>
                  <a:pt x="330958" y="828074"/>
                </a:lnTo>
                <a:lnTo>
                  <a:pt x="333998" y="829655"/>
                </a:lnTo>
                <a:lnTo>
                  <a:pt x="337472" y="830709"/>
                </a:lnTo>
                <a:lnTo>
                  <a:pt x="340947" y="831236"/>
                </a:lnTo>
                <a:lnTo>
                  <a:pt x="371377" y="831236"/>
                </a:lnTo>
                <a:lnTo>
                  <a:pt x="368014" y="828246"/>
                </a:lnTo>
                <a:lnTo>
                  <a:pt x="364901" y="825083"/>
                </a:lnTo>
                <a:lnTo>
                  <a:pt x="363122" y="821393"/>
                </a:lnTo>
                <a:lnTo>
                  <a:pt x="361788" y="818231"/>
                </a:lnTo>
                <a:lnTo>
                  <a:pt x="362677" y="816649"/>
                </a:lnTo>
                <a:lnTo>
                  <a:pt x="363122" y="815595"/>
                </a:lnTo>
                <a:lnTo>
                  <a:pt x="363567" y="813487"/>
                </a:lnTo>
                <a:lnTo>
                  <a:pt x="364012" y="811905"/>
                </a:lnTo>
                <a:lnTo>
                  <a:pt x="364012" y="808215"/>
                </a:lnTo>
                <a:lnTo>
                  <a:pt x="363567" y="804526"/>
                </a:lnTo>
                <a:lnTo>
                  <a:pt x="362233" y="797673"/>
                </a:lnTo>
                <a:lnTo>
                  <a:pt x="361788" y="791875"/>
                </a:lnTo>
                <a:lnTo>
                  <a:pt x="362233" y="780278"/>
                </a:lnTo>
                <a:lnTo>
                  <a:pt x="363122" y="772898"/>
                </a:lnTo>
                <a:lnTo>
                  <a:pt x="364012" y="767100"/>
                </a:lnTo>
                <a:lnTo>
                  <a:pt x="364456" y="759720"/>
                </a:lnTo>
                <a:lnTo>
                  <a:pt x="363567" y="749705"/>
                </a:lnTo>
                <a:lnTo>
                  <a:pt x="361788" y="738108"/>
                </a:lnTo>
                <a:lnTo>
                  <a:pt x="359565" y="724930"/>
                </a:lnTo>
                <a:lnTo>
                  <a:pt x="358675" y="713860"/>
                </a:lnTo>
                <a:lnTo>
                  <a:pt x="356452" y="713333"/>
                </a:lnTo>
                <a:lnTo>
                  <a:pt x="353339" y="712279"/>
                </a:lnTo>
                <a:lnTo>
                  <a:pt x="349781" y="710698"/>
                </a:lnTo>
                <a:lnTo>
                  <a:pt x="345334" y="708062"/>
                </a:lnTo>
                <a:lnTo>
                  <a:pt x="335551" y="702791"/>
                </a:lnTo>
                <a:lnTo>
                  <a:pt x="325323" y="695411"/>
                </a:lnTo>
                <a:lnTo>
                  <a:pt x="305757" y="682233"/>
                </a:lnTo>
                <a:lnTo>
                  <a:pt x="296863" y="674853"/>
                </a:lnTo>
                <a:lnTo>
                  <a:pt x="305312" y="671690"/>
                </a:lnTo>
                <a:lnTo>
                  <a:pt x="307536" y="671163"/>
                </a:lnTo>
                <a:lnTo>
                  <a:pt x="309314" y="669582"/>
                </a:lnTo>
                <a:lnTo>
                  <a:pt x="310649" y="668001"/>
                </a:lnTo>
                <a:lnTo>
                  <a:pt x="312872" y="664838"/>
                </a:lnTo>
                <a:lnTo>
                  <a:pt x="314206" y="662729"/>
                </a:lnTo>
                <a:lnTo>
                  <a:pt x="316430" y="660621"/>
                </a:lnTo>
                <a:lnTo>
                  <a:pt x="318208" y="659039"/>
                </a:lnTo>
                <a:lnTo>
                  <a:pt x="319987" y="658512"/>
                </a:lnTo>
                <a:lnTo>
                  <a:pt x="337775" y="664838"/>
                </a:lnTo>
                <a:lnTo>
                  <a:pt x="341332" y="662729"/>
                </a:lnTo>
                <a:lnTo>
                  <a:pt x="344890" y="661675"/>
                </a:lnTo>
                <a:lnTo>
                  <a:pt x="348447" y="661148"/>
                </a:lnTo>
                <a:lnTo>
                  <a:pt x="352450" y="661148"/>
                </a:lnTo>
                <a:lnTo>
                  <a:pt x="355562" y="661675"/>
                </a:lnTo>
                <a:lnTo>
                  <a:pt x="359120" y="662729"/>
                </a:lnTo>
                <a:lnTo>
                  <a:pt x="362233" y="663784"/>
                </a:lnTo>
                <a:lnTo>
                  <a:pt x="364456" y="664838"/>
                </a:lnTo>
                <a:lnTo>
                  <a:pt x="364456" y="626358"/>
                </a:lnTo>
                <a:lnTo>
                  <a:pt x="370237" y="630575"/>
                </a:lnTo>
                <a:lnTo>
                  <a:pt x="374684" y="634792"/>
                </a:lnTo>
                <a:lnTo>
                  <a:pt x="377352" y="636373"/>
                </a:lnTo>
                <a:lnTo>
                  <a:pt x="379131" y="638482"/>
                </a:lnTo>
                <a:lnTo>
                  <a:pt x="382244" y="639009"/>
                </a:lnTo>
                <a:lnTo>
                  <a:pt x="384912" y="639536"/>
                </a:lnTo>
                <a:lnTo>
                  <a:pt x="388914" y="639009"/>
                </a:lnTo>
                <a:lnTo>
                  <a:pt x="393361" y="637427"/>
                </a:lnTo>
                <a:lnTo>
                  <a:pt x="397363" y="635319"/>
                </a:lnTo>
                <a:lnTo>
                  <a:pt x="401810" y="633210"/>
                </a:lnTo>
                <a:lnTo>
                  <a:pt x="406257" y="630048"/>
                </a:lnTo>
                <a:lnTo>
                  <a:pt x="410259" y="626885"/>
                </a:lnTo>
                <a:lnTo>
                  <a:pt x="414262" y="623195"/>
                </a:lnTo>
                <a:lnTo>
                  <a:pt x="418264" y="619505"/>
                </a:lnTo>
                <a:lnTo>
                  <a:pt x="422266" y="615288"/>
                </a:lnTo>
                <a:lnTo>
                  <a:pt x="425379" y="611071"/>
                </a:lnTo>
                <a:lnTo>
                  <a:pt x="428936" y="606327"/>
                </a:lnTo>
                <a:lnTo>
                  <a:pt x="431605" y="602110"/>
                </a:lnTo>
                <a:lnTo>
                  <a:pt x="433828" y="597893"/>
                </a:lnTo>
                <a:lnTo>
                  <a:pt x="436051" y="594203"/>
                </a:lnTo>
                <a:lnTo>
                  <a:pt x="437386" y="590513"/>
                </a:lnTo>
                <a:lnTo>
                  <a:pt x="438275" y="587351"/>
                </a:lnTo>
                <a:lnTo>
                  <a:pt x="446724" y="586823"/>
                </a:lnTo>
                <a:lnTo>
                  <a:pt x="454284" y="585242"/>
                </a:lnTo>
                <a:lnTo>
                  <a:pt x="461399" y="583134"/>
                </a:lnTo>
                <a:close/>
                <a:moveTo>
                  <a:pt x="958875" y="572566"/>
                </a:moveTo>
                <a:lnTo>
                  <a:pt x="945266" y="577463"/>
                </a:lnTo>
                <a:lnTo>
                  <a:pt x="945105" y="577191"/>
                </a:lnTo>
                <a:lnTo>
                  <a:pt x="946615" y="581077"/>
                </a:lnTo>
                <a:lnTo>
                  <a:pt x="954044" y="595238"/>
                </a:lnTo>
                <a:lnTo>
                  <a:pt x="958850" y="603630"/>
                </a:lnTo>
                <a:lnTo>
                  <a:pt x="956229" y="606777"/>
                </a:lnTo>
                <a:lnTo>
                  <a:pt x="953607" y="610448"/>
                </a:lnTo>
                <a:lnTo>
                  <a:pt x="950548" y="615693"/>
                </a:lnTo>
                <a:lnTo>
                  <a:pt x="947489" y="621462"/>
                </a:lnTo>
                <a:lnTo>
                  <a:pt x="945305" y="627232"/>
                </a:lnTo>
                <a:lnTo>
                  <a:pt x="942683" y="633001"/>
                </a:lnTo>
                <a:lnTo>
                  <a:pt x="941372" y="639295"/>
                </a:lnTo>
                <a:lnTo>
                  <a:pt x="941151" y="642742"/>
                </a:lnTo>
                <a:lnTo>
                  <a:pt x="942273" y="642742"/>
                </a:lnTo>
                <a:lnTo>
                  <a:pt x="942273" y="645910"/>
                </a:lnTo>
                <a:lnTo>
                  <a:pt x="941031" y="644617"/>
                </a:lnTo>
                <a:lnTo>
                  <a:pt x="940935" y="646113"/>
                </a:lnTo>
                <a:lnTo>
                  <a:pt x="939800" y="646113"/>
                </a:lnTo>
                <a:lnTo>
                  <a:pt x="939800" y="646257"/>
                </a:lnTo>
                <a:lnTo>
                  <a:pt x="938941" y="649721"/>
                </a:lnTo>
                <a:lnTo>
                  <a:pt x="938082" y="653761"/>
                </a:lnTo>
                <a:lnTo>
                  <a:pt x="936794" y="657225"/>
                </a:lnTo>
                <a:lnTo>
                  <a:pt x="935076" y="664152"/>
                </a:lnTo>
                <a:lnTo>
                  <a:pt x="934217" y="669925"/>
                </a:lnTo>
                <a:lnTo>
                  <a:pt x="891698" y="673100"/>
                </a:lnTo>
                <a:lnTo>
                  <a:pt x="936503" y="673100"/>
                </a:lnTo>
                <a:lnTo>
                  <a:pt x="947737" y="682220"/>
                </a:lnTo>
                <a:lnTo>
                  <a:pt x="945577" y="690326"/>
                </a:lnTo>
                <a:lnTo>
                  <a:pt x="941688" y="697419"/>
                </a:lnTo>
                <a:lnTo>
                  <a:pt x="937799" y="705526"/>
                </a:lnTo>
                <a:lnTo>
                  <a:pt x="933046" y="712619"/>
                </a:lnTo>
                <a:lnTo>
                  <a:pt x="927861" y="719712"/>
                </a:lnTo>
                <a:lnTo>
                  <a:pt x="923108" y="727312"/>
                </a:lnTo>
                <a:lnTo>
                  <a:pt x="917922" y="735925"/>
                </a:lnTo>
                <a:lnTo>
                  <a:pt x="913601" y="744538"/>
                </a:lnTo>
                <a:lnTo>
                  <a:pt x="906768" y="744538"/>
                </a:lnTo>
                <a:lnTo>
                  <a:pt x="910954" y="746080"/>
                </a:lnTo>
                <a:lnTo>
                  <a:pt x="911393" y="751335"/>
                </a:lnTo>
                <a:lnTo>
                  <a:pt x="913148" y="755538"/>
                </a:lnTo>
                <a:lnTo>
                  <a:pt x="914903" y="760267"/>
                </a:lnTo>
                <a:lnTo>
                  <a:pt x="916658" y="763945"/>
                </a:lnTo>
                <a:lnTo>
                  <a:pt x="919291" y="767098"/>
                </a:lnTo>
                <a:lnTo>
                  <a:pt x="921924" y="769725"/>
                </a:lnTo>
                <a:lnTo>
                  <a:pt x="924557" y="772352"/>
                </a:lnTo>
                <a:lnTo>
                  <a:pt x="926437" y="773759"/>
                </a:lnTo>
                <a:lnTo>
                  <a:pt x="923686" y="770825"/>
                </a:lnTo>
                <a:lnTo>
                  <a:pt x="921154" y="767673"/>
                </a:lnTo>
                <a:lnTo>
                  <a:pt x="919043" y="763996"/>
                </a:lnTo>
                <a:lnTo>
                  <a:pt x="916933" y="759794"/>
                </a:lnTo>
                <a:lnTo>
                  <a:pt x="915244" y="755066"/>
                </a:lnTo>
                <a:lnTo>
                  <a:pt x="914400" y="749814"/>
                </a:lnTo>
                <a:lnTo>
                  <a:pt x="914400" y="744036"/>
                </a:lnTo>
                <a:lnTo>
                  <a:pt x="924952" y="726176"/>
                </a:lnTo>
                <a:lnTo>
                  <a:pt x="935505" y="710943"/>
                </a:lnTo>
                <a:lnTo>
                  <a:pt x="940148" y="703589"/>
                </a:lnTo>
                <a:lnTo>
                  <a:pt x="944368" y="695185"/>
                </a:lnTo>
                <a:lnTo>
                  <a:pt x="946057" y="691508"/>
                </a:lnTo>
                <a:lnTo>
                  <a:pt x="948167" y="687831"/>
                </a:lnTo>
                <a:lnTo>
                  <a:pt x="949433" y="683629"/>
                </a:lnTo>
                <a:lnTo>
                  <a:pt x="949880" y="681408"/>
                </a:lnTo>
                <a:lnTo>
                  <a:pt x="947921" y="681289"/>
                </a:lnTo>
                <a:lnTo>
                  <a:pt x="936625" y="668088"/>
                </a:lnTo>
                <a:lnTo>
                  <a:pt x="938363" y="665447"/>
                </a:lnTo>
                <a:lnTo>
                  <a:pt x="940101" y="662807"/>
                </a:lnTo>
                <a:lnTo>
                  <a:pt x="940970" y="659639"/>
                </a:lnTo>
                <a:lnTo>
                  <a:pt x="941838" y="656471"/>
                </a:lnTo>
                <a:lnTo>
                  <a:pt x="942273" y="649606"/>
                </a:lnTo>
                <a:lnTo>
                  <a:pt x="942273" y="645910"/>
                </a:lnTo>
                <a:lnTo>
                  <a:pt x="942707" y="639046"/>
                </a:lnTo>
                <a:lnTo>
                  <a:pt x="944011" y="632709"/>
                </a:lnTo>
                <a:lnTo>
                  <a:pt x="946617" y="626901"/>
                </a:lnTo>
                <a:lnTo>
                  <a:pt x="949658" y="621092"/>
                </a:lnTo>
                <a:lnTo>
                  <a:pt x="952265" y="615284"/>
                </a:lnTo>
                <a:lnTo>
                  <a:pt x="955740" y="610003"/>
                </a:lnTo>
                <a:lnTo>
                  <a:pt x="959650" y="606307"/>
                </a:lnTo>
                <a:lnTo>
                  <a:pt x="962691" y="603139"/>
                </a:lnTo>
                <a:lnTo>
                  <a:pt x="960085" y="599443"/>
                </a:lnTo>
                <a:lnTo>
                  <a:pt x="956609" y="594162"/>
                </a:lnTo>
                <a:lnTo>
                  <a:pt x="952265" y="586770"/>
                </a:lnTo>
                <a:lnTo>
                  <a:pt x="947921" y="577265"/>
                </a:lnTo>
                <a:close/>
                <a:moveTo>
                  <a:pt x="519112" y="571433"/>
                </a:moveTo>
                <a:lnTo>
                  <a:pt x="521424" y="572090"/>
                </a:lnTo>
                <a:lnTo>
                  <a:pt x="522279" y="574519"/>
                </a:lnTo>
                <a:lnTo>
                  <a:pt x="520017" y="574004"/>
                </a:lnTo>
                <a:lnTo>
                  <a:pt x="519564" y="572976"/>
                </a:lnTo>
                <a:lnTo>
                  <a:pt x="519112" y="571947"/>
                </a:lnTo>
                <a:close/>
                <a:moveTo>
                  <a:pt x="1105993" y="558287"/>
                </a:moveTo>
                <a:lnTo>
                  <a:pt x="1102969" y="571244"/>
                </a:lnTo>
                <a:lnTo>
                  <a:pt x="1102969" y="583816"/>
                </a:lnTo>
                <a:lnTo>
                  <a:pt x="1103883" y="584129"/>
                </a:lnTo>
                <a:lnTo>
                  <a:pt x="1103883" y="570929"/>
                </a:lnTo>
                <a:lnTo>
                  <a:pt x="1106795" y="558287"/>
                </a:lnTo>
                <a:close/>
                <a:moveTo>
                  <a:pt x="582442" y="514350"/>
                </a:moveTo>
                <a:lnTo>
                  <a:pt x="585608" y="514864"/>
                </a:lnTo>
                <a:lnTo>
                  <a:pt x="588775" y="515379"/>
                </a:lnTo>
                <a:lnTo>
                  <a:pt x="591037" y="515379"/>
                </a:lnTo>
                <a:lnTo>
                  <a:pt x="593751" y="515379"/>
                </a:lnTo>
                <a:lnTo>
                  <a:pt x="598727" y="514864"/>
                </a:lnTo>
                <a:lnTo>
                  <a:pt x="603250" y="514350"/>
                </a:lnTo>
                <a:lnTo>
                  <a:pt x="601893" y="519493"/>
                </a:lnTo>
                <a:lnTo>
                  <a:pt x="600988" y="524121"/>
                </a:lnTo>
                <a:lnTo>
                  <a:pt x="599631" y="527721"/>
                </a:lnTo>
                <a:lnTo>
                  <a:pt x="598727" y="530806"/>
                </a:lnTo>
                <a:lnTo>
                  <a:pt x="595560" y="534920"/>
                </a:lnTo>
                <a:lnTo>
                  <a:pt x="593751" y="537492"/>
                </a:lnTo>
                <a:lnTo>
                  <a:pt x="591037" y="540577"/>
                </a:lnTo>
                <a:lnTo>
                  <a:pt x="589679" y="544177"/>
                </a:lnTo>
                <a:lnTo>
                  <a:pt x="589227" y="546748"/>
                </a:lnTo>
                <a:lnTo>
                  <a:pt x="588775" y="549834"/>
                </a:lnTo>
                <a:lnTo>
                  <a:pt x="588322" y="553434"/>
                </a:lnTo>
                <a:lnTo>
                  <a:pt x="588322" y="558576"/>
                </a:lnTo>
                <a:lnTo>
                  <a:pt x="573395" y="587375"/>
                </a:lnTo>
                <a:lnTo>
                  <a:pt x="567644" y="582774"/>
                </a:lnTo>
                <a:lnTo>
                  <a:pt x="567986" y="583837"/>
                </a:lnTo>
                <a:lnTo>
                  <a:pt x="569739" y="587103"/>
                </a:lnTo>
                <a:lnTo>
                  <a:pt x="570615" y="588736"/>
                </a:lnTo>
                <a:lnTo>
                  <a:pt x="571930" y="590369"/>
                </a:lnTo>
                <a:lnTo>
                  <a:pt x="572368" y="592546"/>
                </a:lnTo>
                <a:lnTo>
                  <a:pt x="572806" y="594723"/>
                </a:lnTo>
                <a:lnTo>
                  <a:pt x="574559" y="595267"/>
                </a:lnTo>
                <a:lnTo>
                  <a:pt x="577627" y="595811"/>
                </a:lnTo>
                <a:lnTo>
                  <a:pt x="578942" y="596356"/>
                </a:lnTo>
                <a:lnTo>
                  <a:pt x="580256" y="596356"/>
                </a:lnTo>
                <a:lnTo>
                  <a:pt x="582447" y="595811"/>
                </a:lnTo>
                <a:lnTo>
                  <a:pt x="584200" y="594723"/>
                </a:lnTo>
                <a:lnTo>
                  <a:pt x="584200" y="611051"/>
                </a:lnTo>
                <a:lnTo>
                  <a:pt x="582885" y="611596"/>
                </a:lnTo>
                <a:lnTo>
                  <a:pt x="580694" y="612140"/>
                </a:lnTo>
                <a:lnTo>
                  <a:pt x="578942" y="612684"/>
                </a:lnTo>
                <a:lnTo>
                  <a:pt x="577627" y="614317"/>
                </a:lnTo>
                <a:lnTo>
                  <a:pt x="573683" y="617039"/>
                </a:lnTo>
                <a:lnTo>
                  <a:pt x="570177" y="620849"/>
                </a:lnTo>
                <a:lnTo>
                  <a:pt x="567548" y="624659"/>
                </a:lnTo>
                <a:lnTo>
                  <a:pt x="564480" y="628469"/>
                </a:lnTo>
                <a:lnTo>
                  <a:pt x="562727" y="631734"/>
                </a:lnTo>
                <a:lnTo>
                  <a:pt x="560975" y="635000"/>
                </a:lnTo>
                <a:lnTo>
                  <a:pt x="552648" y="630646"/>
                </a:lnTo>
                <a:lnTo>
                  <a:pt x="544760" y="626291"/>
                </a:lnTo>
                <a:lnTo>
                  <a:pt x="537749" y="621393"/>
                </a:lnTo>
                <a:lnTo>
                  <a:pt x="530299" y="616494"/>
                </a:lnTo>
                <a:lnTo>
                  <a:pt x="523288" y="611051"/>
                </a:lnTo>
                <a:lnTo>
                  <a:pt x="515838" y="606697"/>
                </a:lnTo>
                <a:lnTo>
                  <a:pt x="508388" y="601799"/>
                </a:lnTo>
                <a:lnTo>
                  <a:pt x="500062" y="597989"/>
                </a:lnTo>
                <a:lnTo>
                  <a:pt x="500062" y="584926"/>
                </a:lnTo>
                <a:lnTo>
                  <a:pt x="503130" y="581660"/>
                </a:lnTo>
                <a:lnTo>
                  <a:pt x="507074" y="580027"/>
                </a:lnTo>
                <a:lnTo>
                  <a:pt x="512770" y="578394"/>
                </a:lnTo>
                <a:lnTo>
                  <a:pt x="517591" y="577850"/>
                </a:lnTo>
                <a:lnTo>
                  <a:pt x="526355" y="578939"/>
                </a:lnTo>
                <a:lnTo>
                  <a:pt x="540816" y="580571"/>
                </a:lnTo>
                <a:lnTo>
                  <a:pt x="548704" y="581660"/>
                </a:lnTo>
                <a:lnTo>
                  <a:pt x="556154" y="581660"/>
                </a:lnTo>
                <a:lnTo>
                  <a:pt x="562727" y="581660"/>
                </a:lnTo>
                <a:lnTo>
                  <a:pt x="565778" y="581281"/>
                </a:lnTo>
                <a:lnTo>
                  <a:pt x="561181" y="577604"/>
                </a:lnTo>
                <a:lnTo>
                  <a:pt x="555301" y="577090"/>
                </a:lnTo>
                <a:lnTo>
                  <a:pt x="542635" y="575547"/>
                </a:lnTo>
                <a:lnTo>
                  <a:pt x="534945" y="574519"/>
                </a:lnTo>
                <a:lnTo>
                  <a:pt x="528159" y="573490"/>
                </a:lnTo>
                <a:lnTo>
                  <a:pt x="522731" y="572462"/>
                </a:lnTo>
                <a:lnTo>
                  <a:pt x="521424" y="572090"/>
                </a:lnTo>
                <a:lnTo>
                  <a:pt x="520469" y="569376"/>
                </a:lnTo>
                <a:lnTo>
                  <a:pt x="520017" y="565262"/>
                </a:lnTo>
                <a:lnTo>
                  <a:pt x="520469" y="562176"/>
                </a:lnTo>
                <a:lnTo>
                  <a:pt x="521826" y="559091"/>
                </a:lnTo>
                <a:lnTo>
                  <a:pt x="523183" y="556519"/>
                </a:lnTo>
                <a:lnTo>
                  <a:pt x="524993" y="553434"/>
                </a:lnTo>
                <a:lnTo>
                  <a:pt x="526802" y="549834"/>
                </a:lnTo>
                <a:lnTo>
                  <a:pt x="528159" y="545720"/>
                </a:lnTo>
                <a:lnTo>
                  <a:pt x="528159" y="543149"/>
                </a:lnTo>
                <a:lnTo>
                  <a:pt x="528612" y="540577"/>
                </a:lnTo>
                <a:lnTo>
                  <a:pt x="529516" y="538006"/>
                </a:lnTo>
                <a:lnTo>
                  <a:pt x="530421" y="535949"/>
                </a:lnTo>
                <a:lnTo>
                  <a:pt x="531778" y="533378"/>
                </a:lnTo>
                <a:lnTo>
                  <a:pt x="533135" y="531835"/>
                </a:lnTo>
                <a:lnTo>
                  <a:pt x="534945" y="530806"/>
                </a:lnTo>
                <a:lnTo>
                  <a:pt x="537206" y="530292"/>
                </a:lnTo>
                <a:lnTo>
                  <a:pt x="537659" y="533892"/>
                </a:lnTo>
                <a:lnTo>
                  <a:pt x="537659" y="536463"/>
                </a:lnTo>
                <a:lnTo>
                  <a:pt x="538563" y="539549"/>
                </a:lnTo>
                <a:lnTo>
                  <a:pt x="539468" y="542120"/>
                </a:lnTo>
                <a:lnTo>
                  <a:pt x="540373" y="544177"/>
                </a:lnTo>
                <a:lnTo>
                  <a:pt x="542182" y="546234"/>
                </a:lnTo>
                <a:lnTo>
                  <a:pt x="543992" y="547777"/>
                </a:lnTo>
                <a:lnTo>
                  <a:pt x="545801" y="548806"/>
                </a:lnTo>
                <a:lnTo>
                  <a:pt x="558467" y="548806"/>
                </a:lnTo>
                <a:lnTo>
                  <a:pt x="558467" y="536463"/>
                </a:lnTo>
                <a:lnTo>
                  <a:pt x="554848" y="535435"/>
                </a:lnTo>
                <a:lnTo>
                  <a:pt x="552586" y="533892"/>
                </a:lnTo>
                <a:lnTo>
                  <a:pt x="550325" y="532863"/>
                </a:lnTo>
                <a:lnTo>
                  <a:pt x="548968" y="531321"/>
                </a:lnTo>
                <a:lnTo>
                  <a:pt x="547610" y="529778"/>
                </a:lnTo>
                <a:lnTo>
                  <a:pt x="547158" y="528235"/>
                </a:lnTo>
                <a:lnTo>
                  <a:pt x="546706" y="526178"/>
                </a:lnTo>
                <a:lnTo>
                  <a:pt x="545801" y="523607"/>
                </a:lnTo>
                <a:lnTo>
                  <a:pt x="550777" y="523092"/>
                </a:lnTo>
                <a:lnTo>
                  <a:pt x="554848" y="522578"/>
                </a:lnTo>
                <a:lnTo>
                  <a:pt x="558467" y="521550"/>
                </a:lnTo>
                <a:lnTo>
                  <a:pt x="560729" y="520521"/>
                </a:lnTo>
                <a:lnTo>
                  <a:pt x="563443" y="519493"/>
                </a:lnTo>
                <a:lnTo>
                  <a:pt x="565705" y="518464"/>
                </a:lnTo>
                <a:lnTo>
                  <a:pt x="569324" y="517436"/>
                </a:lnTo>
                <a:lnTo>
                  <a:pt x="573395" y="517436"/>
                </a:lnTo>
                <a:lnTo>
                  <a:pt x="577918" y="515893"/>
                </a:lnTo>
                <a:close/>
                <a:moveTo>
                  <a:pt x="956117" y="500559"/>
                </a:moveTo>
                <a:lnTo>
                  <a:pt x="952709" y="502992"/>
                </a:lnTo>
                <a:lnTo>
                  <a:pt x="949330" y="505706"/>
                </a:lnTo>
                <a:lnTo>
                  <a:pt x="948063" y="507335"/>
                </a:lnTo>
                <a:lnTo>
                  <a:pt x="946796" y="508963"/>
                </a:lnTo>
                <a:lnTo>
                  <a:pt x="946312" y="509585"/>
                </a:lnTo>
                <a:lnTo>
                  <a:pt x="949674" y="513419"/>
                </a:lnTo>
                <a:lnTo>
                  <a:pt x="948800" y="519188"/>
                </a:lnTo>
                <a:lnTo>
                  <a:pt x="947052" y="525482"/>
                </a:lnTo>
                <a:lnTo>
                  <a:pt x="945305" y="531251"/>
                </a:lnTo>
                <a:lnTo>
                  <a:pt x="943994" y="535971"/>
                </a:lnTo>
                <a:lnTo>
                  <a:pt x="941372" y="540692"/>
                </a:lnTo>
                <a:lnTo>
                  <a:pt x="939624" y="544363"/>
                </a:lnTo>
                <a:lnTo>
                  <a:pt x="937439" y="546986"/>
                </a:lnTo>
                <a:lnTo>
                  <a:pt x="935255" y="548559"/>
                </a:lnTo>
                <a:lnTo>
                  <a:pt x="937002" y="556951"/>
                </a:lnTo>
                <a:lnTo>
                  <a:pt x="937810" y="559373"/>
                </a:lnTo>
                <a:lnTo>
                  <a:pt x="937057" y="556214"/>
                </a:lnTo>
                <a:lnTo>
                  <a:pt x="936625" y="552068"/>
                </a:lnTo>
                <a:lnTo>
                  <a:pt x="936625" y="548441"/>
                </a:lnTo>
                <a:lnTo>
                  <a:pt x="938786" y="546886"/>
                </a:lnTo>
                <a:lnTo>
                  <a:pt x="940946" y="544294"/>
                </a:lnTo>
                <a:lnTo>
                  <a:pt x="942674" y="540667"/>
                </a:lnTo>
                <a:lnTo>
                  <a:pt x="945266" y="536002"/>
                </a:lnTo>
                <a:lnTo>
                  <a:pt x="946563" y="531338"/>
                </a:lnTo>
                <a:lnTo>
                  <a:pt x="948291" y="525637"/>
                </a:lnTo>
                <a:lnTo>
                  <a:pt x="950019" y="519418"/>
                </a:lnTo>
                <a:lnTo>
                  <a:pt x="950883" y="513717"/>
                </a:lnTo>
                <a:lnTo>
                  <a:pt x="954340" y="504389"/>
                </a:lnTo>
                <a:lnTo>
                  <a:pt x="955636" y="501279"/>
                </a:lnTo>
                <a:close/>
                <a:moveTo>
                  <a:pt x="896937" y="474405"/>
                </a:moveTo>
                <a:lnTo>
                  <a:pt x="896937" y="490536"/>
                </a:lnTo>
                <a:lnTo>
                  <a:pt x="917758" y="492279"/>
                </a:lnTo>
                <a:lnTo>
                  <a:pt x="900342" y="488879"/>
                </a:lnTo>
                <a:close/>
                <a:moveTo>
                  <a:pt x="631825" y="462712"/>
                </a:moveTo>
                <a:lnTo>
                  <a:pt x="630912" y="463079"/>
                </a:lnTo>
                <a:lnTo>
                  <a:pt x="629603" y="463604"/>
                </a:lnTo>
                <a:lnTo>
                  <a:pt x="628651" y="463604"/>
                </a:lnTo>
                <a:lnTo>
                  <a:pt x="631825" y="465012"/>
                </a:lnTo>
                <a:close/>
                <a:moveTo>
                  <a:pt x="970164" y="441473"/>
                </a:moveTo>
                <a:lnTo>
                  <a:pt x="970446" y="442196"/>
                </a:lnTo>
                <a:lnTo>
                  <a:pt x="971713" y="442739"/>
                </a:lnTo>
                <a:lnTo>
                  <a:pt x="972980" y="443281"/>
                </a:lnTo>
                <a:lnTo>
                  <a:pt x="976780" y="443281"/>
                </a:lnTo>
                <a:lnTo>
                  <a:pt x="981214" y="443281"/>
                </a:lnTo>
                <a:lnTo>
                  <a:pt x="978097" y="442506"/>
                </a:lnTo>
                <a:lnTo>
                  <a:pt x="974596" y="441473"/>
                </a:lnTo>
                <a:close/>
                <a:moveTo>
                  <a:pt x="769937" y="398463"/>
                </a:moveTo>
                <a:lnTo>
                  <a:pt x="784225" y="398463"/>
                </a:lnTo>
                <a:lnTo>
                  <a:pt x="781164" y="410989"/>
                </a:lnTo>
                <a:lnTo>
                  <a:pt x="778612" y="421949"/>
                </a:lnTo>
                <a:lnTo>
                  <a:pt x="776061" y="432127"/>
                </a:lnTo>
                <a:lnTo>
                  <a:pt x="773509" y="441521"/>
                </a:lnTo>
                <a:lnTo>
                  <a:pt x="769937" y="455613"/>
                </a:lnTo>
                <a:lnTo>
                  <a:pt x="770958" y="435258"/>
                </a:lnTo>
                <a:lnTo>
                  <a:pt x="772999" y="420384"/>
                </a:lnTo>
                <a:lnTo>
                  <a:pt x="773509" y="414121"/>
                </a:lnTo>
                <a:lnTo>
                  <a:pt x="772999" y="408640"/>
                </a:lnTo>
                <a:lnTo>
                  <a:pt x="771978" y="403943"/>
                </a:lnTo>
                <a:close/>
                <a:moveTo>
                  <a:pt x="291544" y="393699"/>
                </a:moveTo>
                <a:lnTo>
                  <a:pt x="294987" y="394228"/>
                </a:lnTo>
                <a:lnTo>
                  <a:pt x="299291" y="395287"/>
                </a:lnTo>
                <a:lnTo>
                  <a:pt x="302304" y="404282"/>
                </a:lnTo>
                <a:lnTo>
                  <a:pt x="305747" y="411691"/>
                </a:lnTo>
                <a:lnTo>
                  <a:pt x="306177" y="413807"/>
                </a:lnTo>
                <a:lnTo>
                  <a:pt x="306608" y="415395"/>
                </a:lnTo>
                <a:lnTo>
                  <a:pt x="306608" y="416982"/>
                </a:lnTo>
                <a:lnTo>
                  <a:pt x="306608" y="418570"/>
                </a:lnTo>
                <a:lnTo>
                  <a:pt x="306177" y="420157"/>
                </a:lnTo>
                <a:lnTo>
                  <a:pt x="305317" y="421216"/>
                </a:lnTo>
                <a:lnTo>
                  <a:pt x="304025" y="423332"/>
                </a:lnTo>
                <a:lnTo>
                  <a:pt x="301873" y="424391"/>
                </a:lnTo>
                <a:lnTo>
                  <a:pt x="304886" y="424391"/>
                </a:lnTo>
                <a:lnTo>
                  <a:pt x="303595" y="427037"/>
                </a:lnTo>
                <a:lnTo>
                  <a:pt x="301873" y="429153"/>
                </a:lnTo>
                <a:lnTo>
                  <a:pt x="300582" y="431270"/>
                </a:lnTo>
                <a:lnTo>
                  <a:pt x="298861" y="433387"/>
                </a:lnTo>
                <a:lnTo>
                  <a:pt x="296709" y="434974"/>
                </a:lnTo>
                <a:lnTo>
                  <a:pt x="294987" y="436033"/>
                </a:lnTo>
                <a:lnTo>
                  <a:pt x="292405" y="437091"/>
                </a:lnTo>
                <a:lnTo>
                  <a:pt x="290683" y="437091"/>
                </a:lnTo>
                <a:lnTo>
                  <a:pt x="290683" y="439208"/>
                </a:lnTo>
                <a:lnTo>
                  <a:pt x="291544" y="441324"/>
                </a:lnTo>
                <a:lnTo>
                  <a:pt x="292405" y="442912"/>
                </a:lnTo>
                <a:lnTo>
                  <a:pt x="294126" y="444499"/>
                </a:lnTo>
                <a:lnTo>
                  <a:pt x="295418" y="446087"/>
                </a:lnTo>
                <a:lnTo>
                  <a:pt x="297139" y="447145"/>
                </a:lnTo>
                <a:lnTo>
                  <a:pt x="299291" y="447674"/>
                </a:lnTo>
                <a:lnTo>
                  <a:pt x="301443" y="448203"/>
                </a:lnTo>
                <a:lnTo>
                  <a:pt x="306177" y="449262"/>
                </a:lnTo>
                <a:lnTo>
                  <a:pt x="310912" y="449791"/>
                </a:lnTo>
                <a:lnTo>
                  <a:pt x="315216" y="449791"/>
                </a:lnTo>
                <a:lnTo>
                  <a:pt x="319089" y="449791"/>
                </a:lnTo>
                <a:lnTo>
                  <a:pt x="319089" y="459316"/>
                </a:lnTo>
                <a:lnTo>
                  <a:pt x="319089" y="466724"/>
                </a:lnTo>
                <a:lnTo>
                  <a:pt x="319089" y="474133"/>
                </a:lnTo>
                <a:lnTo>
                  <a:pt x="319089" y="483129"/>
                </a:lnTo>
                <a:lnTo>
                  <a:pt x="319089" y="484716"/>
                </a:lnTo>
                <a:lnTo>
                  <a:pt x="318659" y="486833"/>
                </a:lnTo>
                <a:lnTo>
                  <a:pt x="317798" y="488420"/>
                </a:lnTo>
                <a:lnTo>
                  <a:pt x="316937" y="490008"/>
                </a:lnTo>
                <a:lnTo>
                  <a:pt x="314785" y="492654"/>
                </a:lnTo>
                <a:lnTo>
                  <a:pt x="311772" y="495829"/>
                </a:lnTo>
                <a:lnTo>
                  <a:pt x="309621" y="499004"/>
                </a:lnTo>
                <a:lnTo>
                  <a:pt x="307038" y="502179"/>
                </a:lnTo>
                <a:lnTo>
                  <a:pt x="306177" y="503766"/>
                </a:lnTo>
                <a:lnTo>
                  <a:pt x="305317" y="505354"/>
                </a:lnTo>
                <a:lnTo>
                  <a:pt x="304886" y="506941"/>
                </a:lnTo>
                <a:lnTo>
                  <a:pt x="304886" y="508529"/>
                </a:lnTo>
                <a:lnTo>
                  <a:pt x="301443" y="509058"/>
                </a:lnTo>
                <a:lnTo>
                  <a:pt x="299291" y="509058"/>
                </a:lnTo>
                <a:lnTo>
                  <a:pt x="296278" y="510116"/>
                </a:lnTo>
                <a:lnTo>
                  <a:pt x="294557" y="511704"/>
                </a:lnTo>
                <a:lnTo>
                  <a:pt x="292835" y="512762"/>
                </a:lnTo>
                <a:lnTo>
                  <a:pt x="291544" y="514879"/>
                </a:lnTo>
                <a:lnTo>
                  <a:pt x="290683" y="516466"/>
                </a:lnTo>
                <a:lnTo>
                  <a:pt x="290683" y="518583"/>
                </a:lnTo>
                <a:lnTo>
                  <a:pt x="287240" y="519112"/>
                </a:lnTo>
                <a:lnTo>
                  <a:pt x="285088" y="520170"/>
                </a:lnTo>
                <a:lnTo>
                  <a:pt x="282506" y="521758"/>
                </a:lnTo>
                <a:lnTo>
                  <a:pt x="280784" y="523875"/>
                </a:lnTo>
                <a:lnTo>
                  <a:pt x="278632" y="525462"/>
                </a:lnTo>
                <a:lnTo>
                  <a:pt x="277341" y="527050"/>
                </a:lnTo>
                <a:lnTo>
                  <a:pt x="275620" y="528108"/>
                </a:lnTo>
                <a:lnTo>
                  <a:pt x="273037" y="528637"/>
                </a:lnTo>
                <a:lnTo>
                  <a:pt x="265721" y="528637"/>
                </a:lnTo>
                <a:lnTo>
                  <a:pt x="258834" y="529695"/>
                </a:lnTo>
                <a:lnTo>
                  <a:pt x="253239" y="530754"/>
                </a:lnTo>
                <a:lnTo>
                  <a:pt x="248075" y="531812"/>
                </a:lnTo>
                <a:lnTo>
                  <a:pt x="238606" y="534987"/>
                </a:lnTo>
                <a:lnTo>
                  <a:pt x="227846" y="538162"/>
                </a:lnTo>
                <a:lnTo>
                  <a:pt x="230429" y="531812"/>
                </a:lnTo>
                <a:lnTo>
                  <a:pt x="226555" y="531812"/>
                </a:lnTo>
                <a:lnTo>
                  <a:pt x="222251" y="531812"/>
                </a:lnTo>
                <a:lnTo>
                  <a:pt x="222251" y="508529"/>
                </a:lnTo>
                <a:lnTo>
                  <a:pt x="225694" y="507999"/>
                </a:lnTo>
                <a:lnTo>
                  <a:pt x="229568" y="506941"/>
                </a:lnTo>
                <a:lnTo>
                  <a:pt x="231289" y="505883"/>
                </a:lnTo>
                <a:lnTo>
                  <a:pt x="232581" y="504824"/>
                </a:lnTo>
                <a:lnTo>
                  <a:pt x="233011" y="503766"/>
                </a:lnTo>
                <a:lnTo>
                  <a:pt x="233441" y="502179"/>
                </a:lnTo>
                <a:lnTo>
                  <a:pt x="239467" y="502179"/>
                </a:lnTo>
                <a:lnTo>
                  <a:pt x="245492" y="501649"/>
                </a:lnTo>
                <a:lnTo>
                  <a:pt x="248075" y="500591"/>
                </a:lnTo>
                <a:lnTo>
                  <a:pt x="249796" y="499533"/>
                </a:lnTo>
                <a:lnTo>
                  <a:pt x="251948" y="497945"/>
                </a:lnTo>
                <a:lnTo>
                  <a:pt x="253239" y="495829"/>
                </a:lnTo>
                <a:lnTo>
                  <a:pt x="249796" y="496887"/>
                </a:lnTo>
                <a:lnTo>
                  <a:pt x="245492" y="498474"/>
                </a:lnTo>
                <a:lnTo>
                  <a:pt x="242910" y="498474"/>
                </a:lnTo>
                <a:lnTo>
                  <a:pt x="241188" y="498474"/>
                </a:lnTo>
                <a:lnTo>
                  <a:pt x="239897" y="498474"/>
                </a:lnTo>
                <a:lnTo>
                  <a:pt x="239467" y="497945"/>
                </a:lnTo>
                <a:lnTo>
                  <a:pt x="239036" y="496887"/>
                </a:lnTo>
                <a:lnTo>
                  <a:pt x="239036" y="495829"/>
                </a:lnTo>
                <a:lnTo>
                  <a:pt x="239036" y="493183"/>
                </a:lnTo>
                <a:lnTo>
                  <a:pt x="239897" y="490537"/>
                </a:lnTo>
                <a:lnTo>
                  <a:pt x="241188" y="487891"/>
                </a:lnTo>
                <a:lnTo>
                  <a:pt x="242049" y="485245"/>
                </a:lnTo>
                <a:lnTo>
                  <a:pt x="243771" y="481541"/>
                </a:lnTo>
                <a:lnTo>
                  <a:pt x="244631" y="479424"/>
                </a:lnTo>
                <a:lnTo>
                  <a:pt x="239036" y="478366"/>
                </a:lnTo>
                <a:lnTo>
                  <a:pt x="234302" y="476779"/>
                </a:lnTo>
                <a:lnTo>
                  <a:pt x="231289" y="475191"/>
                </a:lnTo>
                <a:lnTo>
                  <a:pt x="228277" y="473074"/>
                </a:lnTo>
                <a:lnTo>
                  <a:pt x="226555" y="470428"/>
                </a:lnTo>
                <a:lnTo>
                  <a:pt x="225264" y="466724"/>
                </a:lnTo>
                <a:lnTo>
                  <a:pt x="224833" y="462491"/>
                </a:lnTo>
                <a:lnTo>
                  <a:pt x="224833" y="457199"/>
                </a:lnTo>
                <a:lnTo>
                  <a:pt x="228707" y="455612"/>
                </a:lnTo>
                <a:lnTo>
                  <a:pt x="231720" y="454553"/>
                </a:lnTo>
                <a:lnTo>
                  <a:pt x="233441" y="452966"/>
                </a:lnTo>
                <a:lnTo>
                  <a:pt x="235163" y="451378"/>
                </a:lnTo>
                <a:lnTo>
                  <a:pt x="237315" y="447674"/>
                </a:lnTo>
                <a:lnTo>
                  <a:pt x="239036" y="443441"/>
                </a:lnTo>
                <a:lnTo>
                  <a:pt x="246353" y="443441"/>
                </a:lnTo>
                <a:lnTo>
                  <a:pt x="251518" y="443441"/>
                </a:lnTo>
                <a:lnTo>
                  <a:pt x="255391" y="443441"/>
                </a:lnTo>
                <a:lnTo>
                  <a:pt x="258834" y="443441"/>
                </a:lnTo>
                <a:lnTo>
                  <a:pt x="260986" y="443441"/>
                </a:lnTo>
                <a:lnTo>
                  <a:pt x="262708" y="442912"/>
                </a:lnTo>
                <a:lnTo>
                  <a:pt x="263999" y="441853"/>
                </a:lnTo>
                <a:lnTo>
                  <a:pt x="265290" y="440266"/>
                </a:lnTo>
                <a:lnTo>
                  <a:pt x="267012" y="437091"/>
                </a:lnTo>
                <a:lnTo>
                  <a:pt x="267873" y="432328"/>
                </a:lnTo>
                <a:lnTo>
                  <a:pt x="268733" y="421216"/>
                </a:lnTo>
                <a:lnTo>
                  <a:pt x="270455" y="411162"/>
                </a:lnTo>
                <a:lnTo>
                  <a:pt x="272607" y="410632"/>
                </a:lnTo>
                <a:lnTo>
                  <a:pt x="273898" y="410103"/>
                </a:lnTo>
                <a:lnTo>
                  <a:pt x="275620" y="409045"/>
                </a:lnTo>
                <a:lnTo>
                  <a:pt x="276480" y="407457"/>
                </a:lnTo>
                <a:lnTo>
                  <a:pt x="278202" y="404282"/>
                </a:lnTo>
                <a:lnTo>
                  <a:pt x="280784" y="400578"/>
                </a:lnTo>
                <a:lnTo>
                  <a:pt x="281645" y="398991"/>
                </a:lnTo>
                <a:lnTo>
                  <a:pt x="282936" y="397403"/>
                </a:lnTo>
                <a:lnTo>
                  <a:pt x="284658" y="395816"/>
                </a:lnTo>
                <a:lnTo>
                  <a:pt x="286379" y="394757"/>
                </a:lnTo>
                <a:lnTo>
                  <a:pt x="288962" y="394228"/>
                </a:lnTo>
                <a:close/>
                <a:moveTo>
                  <a:pt x="813329" y="376238"/>
                </a:moveTo>
                <a:lnTo>
                  <a:pt x="817827" y="384082"/>
                </a:lnTo>
                <a:lnTo>
                  <a:pt x="822325" y="390806"/>
                </a:lnTo>
                <a:lnTo>
                  <a:pt x="821875" y="398650"/>
                </a:lnTo>
                <a:lnTo>
                  <a:pt x="820526" y="408735"/>
                </a:lnTo>
                <a:lnTo>
                  <a:pt x="819626" y="414338"/>
                </a:lnTo>
                <a:lnTo>
                  <a:pt x="818727" y="418820"/>
                </a:lnTo>
                <a:lnTo>
                  <a:pt x="817377" y="423303"/>
                </a:lnTo>
                <a:lnTo>
                  <a:pt x="815578" y="426665"/>
                </a:lnTo>
                <a:lnTo>
                  <a:pt x="813779" y="430026"/>
                </a:lnTo>
                <a:lnTo>
                  <a:pt x="811980" y="432267"/>
                </a:lnTo>
                <a:lnTo>
                  <a:pt x="809281" y="433388"/>
                </a:lnTo>
                <a:lnTo>
                  <a:pt x="807482" y="433388"/>
                </a:lnTo>
                <a:lnTo>
                  <a:pt x="804333" y="432267"/>
                </a:lnTo>
                <a:lnTo>
                  <a:pt x="802084" y="428906"/>
                </a:lnTo>
                <a:lnTo>
                  <a:pt x="798486" y="424423"/>
                </a:lnTo>
                <a:lnTo>
                  <a:pt x="795337" y="417700"/>
                </a:lnTo>
                <a:lnTo>
                  <a:pt x="798036" y="409856"/>
                </a:lnTo>
                <a:lnTo>
                  <a:pt x="802084" y="397529"/>
                </a:lnTo>
                <a:lnTo>
                  <a:pt x="804333" y="390806"/>
                </a:lnTo>
                <a:lnTo>
                  <a:pt x="807482" y="385203"/>
                </a:lnTo>
                <a:lnTo>
                  <a:pt x="810181" y="380720"/>
                </a:lnTo>
                <a:close/>
                <a:moveTo>
                  <a:pt x="923153" y="328613"/>
                </a:moveTo>
                <a:lnTo>
                  <a:pt x="930447" y="328613"/>
                </a:lnTo>
                <a:lnTo>
                  <a:pt x="937312" y="328613"/>
                </a:lnTo>
                <a:lnTo>
                  <a:pt x="944177" y="328613"/>
                </a:lnTo>
                <a:lnTo>
                  <a:pt x="952329" y="329118"/>
                </a:lnTo>
                <a:lnTo>
                  <a:pt x="959193" y="330127"/>
                </a:lnTo>
                <a:lnTo>
                  <a:pt x="964342" y="331640"/>
                </a:lnTo>
                <a:lnTo>
                  <a:pt x="968633" y="333154"/>
                </a:lnTo>
                <a:lnTo>
                  <a:pt x="971636" y="334668"/>
                </a:lnTo>
                <a:lnTo>
                  <a:pt x="975498" y="336181"/>
                </a:lnTo>
                <a:lnTo>
                  <a:pt x="979359" y="337190"/>
                </a:lnTo>
                <a:lnTo>
                  <a:pt x="984079" y="337695"/>
                </a:lnTo>
                <a:lnTo>
                  <a:pt x="989656" y="338200"/>
                </a:lnTo>
                <a:lnTo>
                  <a:pt x="999525" y="338200"/>
                </a:lnTo>
                <a:lnTo>
                  <a:pt x="1004244" y="338200"/>
                </a:lnTo>
                <a:lnTo>
                  <a:pt x="1008535" y="337695"/>
                </a:lnTo>
                <a:lnTo>
                  <a:pt x="1010251" y="337190"/>
                </a:lnTo>
                <a:lnTo>
                  <a:pt x="1011538" y="336686"/>
                </a:lnTo>
                <a:lnTo>
                  <a:pt x="1012396" y="335677"/>
                </a:lnTo>
                <a:lnTo>
                  <a:pt x="1012825" y="334668"/>
                </a:lnTo>
                <a:lnTo>
                  <a:pt x="1011967" y="343245"/>
                </a:lnTo>
                <a:lnTo>
                  <a:pt x="1010251" y="353841"/>
                </a:lnTo>
                <a:lnTo>
                  <a:pt x="1009822" y="360400"/>
                </a:lnTo>
                <a:lnTo>
                  <a:pt x="1009822" y="368977"/>
                </a:lnTo>
                <a:lnTo>
                  <a:pt x="1011109" y="380077"/>
                </a:lnTo>
                <a:lnTo>
                  <a:pt x="1012825" y="393700"/>
                </a:lnTo>
                <a:lnTo>
                  <a:pt x="1011014" y="393294"/>
                </a:lnTo>
                <a:lnTo>
                  <a:pt x="1011795" y="394955"/>
                </a:lnTo>
                <a:lnTo>
                  <a:pt x="1016171" y="405809"/>
                </a:lnTo>
                <a:lnTo>
                  <a:pt x="1021861" y="419765"/>
                </a:lnTo>
                <a:lnTo>
                  <a:pt x="1027112" y="431136"/>
                </a:lnTo>
                <a:lnTo>
                  <a:pt x="997791" y="447675"/>
                </a:lnTo>
                <a:lnTo>
                  <a:pt x="994290" y="446641"/>
                </a:lnTo>
                <a:lnTo>
                  <a:pt x="993202" y="446356"/>
                </a:lnTo>
                <a:lnTo>
                  <a:pt x="994518" y="447624"/>
                </a:lnTo>
                <a:lnTo>
                  <a:pt x="995362" y="449795"/>
                </a:lnTo>
                <a:lnTo>
                  <a:pt x="995362" y="452509"/>
                </a:lnTo>
                <a:lnTo>
                  <a:pt x="978470" y="472594"/>
                </a:lnTo>
                <a:lnTo>
                  <a:pt x="977203" y="473137"/>
                </a:lnTo>
                <a:lnTo>
                  <a:pt x="976358" y="475308"/>
                </a:lnTo>
                <a:lnTo>
                  <a:pt x="975091" y="478022"/>
                </a:lnTo>
                <a:lnTo>
                  <a:pt x="973402" y="481279"/>
                </a:lnTo>
                <a:lnTo>
                  <a:pt x="971290" y="487793"/>
                </a:lnTo>
                <a:lnTo>
                  <a:pt x="970446" y="492136"/>
                </a:lnTo>
                <a:lnTo>
                  <a:pt x="968394" y="493191"/>
                </a:lnTo>
                <a:lnTo>
                  <a:pt x="969030" y="492987"/>
                </a:lnTo>
                <a:lnTo>
                  <a:pt x="974215" y="490914"/>
                </a:lnTo>
                <a:lnTo>
                  <a:pt x="974215" y="489878"/>
                </a:lnTo>
                <a:lnTo>
                  <a:pt x="975079" y="488323"/>
                </a:lnTo>
                <a:lnTo>
                  <a:pt x="975943" y="486768"/>
                </a:lnTo>
                <a:lnTo>
                  <a:pt x="977239" y="485213"/>
                </a:lnTo>
                <a:lnTo>
                  <a:pt x="978967" y="483659"/>
                </a:lnTo>
                <a:lnTo>
                  <a:pt x="980263" y="482622"/>
                </a:lnTo>
                <a:lnTo>
                  <a:pt x="981128" y="482104"/>
                </a:lnTo>
                <a:lnTo>
                  <a:pt x="982424" y="481586"/>
                </a:lnTo>
                <a:lnTo>
                  <a:pt x="982424" y="475367"/>
                </a:lnTo>
                <a:lnTo>
                  <a:pt x="982424" y="472775"/>
                </a:lnTo>
                <a:lnTo>
                  <a:pt x="982856" y="470702"/>
                </a:lnTo>
                <a:lnTo>
                  <a:pt x="983720" y="469666"/>
                </a:lnTo>
                <a:lnTo>
                  <a:pt x="984152" y="468629"/>
                </a:lnTo>
                <a:lnTo>
                  <a:pt x="985448" y="468111"/>
                </a:lnTo>
                <a:lnTo>
                  <a:pt x="987176" y="468629"/>
                </a:lnTo>
                <a:lnTo>
                  <a:pt x="989337" y="469148"/>
                </a:lnTo>
                <a:lnTo>
                  <a:pt x="991065" y="469148"/>
                </a:lnTo>
                <a:lnTo>
                  <a:pt x="991929" y="469148"/>
                </a:lnTo>
                <a:lnTo>
                  <a:pt x="992361" y="468629"/>
                </a:lnTo>
                <a:lnTo>
                  <a:pt x="993657" y="467593"/>
                </a:lnTo>
                <a:lnTo>
                  <a:pt x="994089" y="465520"/>
                </a:lnTo>
                <a:lnTo>
                  <a:pt x="994522" y="462410"/>
                </a:lnTo>
                <a:lnTo>
                  <a:pt x="995818" y="458264"/>
                </a:lnTo>
                <a:lnTo>
                  <a:pt x="996682" y="456191"/>
                </a:lnTo>
                <a:lnTo>
                  <a:pt x="997978" y="454636"/>
                </a:lnTo>
                <a:lnTo>
                  <a:pt x="998842" y="453600"/>
                </a:lnTo>
                <a:lnTo>
                  <a:pt x="999706" y="453082"/>
                </a:lnTo>
                <a:lnTo>
                  <a:pt x="1028654" y="433388"/>
                </a:lnTo>
                <a:lnTo>
                  <a:pt x="1025630" y="436498"/>
                </a:lnTo>
                <a:lnTo>
                  <a:pt x="1045505" y="443753"/>
                </a:lnTo>
                <a:lnTo>
                  <a:pt x="1062787" y="443753"/>
                </a:lnTo>
                <a:lnTo>
                  <a:pt x="1066244" y="456191"/>
                </a:lnTo>
                <a:lnTo>
                  <a:pt x="1083094" y="449972"/>
                </a:lnTo>
                <a:lnTo>
                  <a:pt x="1097352" y="456191"/>
                </a:lnTo>
                <a:lnTo>
                  <a:pt x="1100377" y="481586"/>
                </a:lnTo>
                <a:lnTo>
                  <a:pt x="1120252" y="501279"/>
                </a:lnTo>
                <a:lnTo>
                  <a:pt x="1134942" y="510608"/>
                </a:lnTo>
                <a:lnTo>
                  <a:pt x="1146175" y="519937"/>
                </a:lnTo>
                <a:lnTo>
                  <a:pt x="1134942" y="529783"/>
                </a:lnTo>
                <a:lnTo>
                  <a:pt x="1114635" y="523046"/>
                </a:lnTo>
                <a:lnTo>
                  <a:pt x="1117227" y="536002"/>
                </a:lnTo>
                <a:lnTo>
                  <a:pt x="1123708" y="542221"/>
                </a:lnTo>
                <a:lnTo>
                  <a:pt x="1123708" y="557728"/>
                </a:lnTo>
                <a:lnTo>
                  <a:pt x="1124736" y="557728"/>
                </a:lnTo>
                <a:lnTo>
                  <a:pt x="1138638" y="557728"/>
                </a:lnTo>
                <a:lnTo>
                  <a:pt x="1147326" y="550863"/>
                </a:lnTo>
                <a:lnTo>
                  <a:pt x="1167311" y="550863"/>
                </a:lnTo>
                <a:lnTo>
                  <a:pt x="1175999" y="557728"/>
                </a:lnTo>
                <a:lnTo>
                  <a:pt x="1188163" y="570929"/>
                </a:lnTo>
                <a:lnTo>
                  <a:pt x="1182081" y="584129"/>
                </a:lnTo>
                <a:lnTo>
                  <a:pt x="1205106" y="584129"/>
                </a:lnTo>
                <a:lnTo>
                  <a:pt x="1213795" y="609475"/>
                </a:lnTo>
                <a:lnTo>
                  <a:pt x="1225090" y="606307"/>
                </a:lnTo>
                <a:lnTo>
                  <a:pt x="1237255" y="616340"/>
                </a:lnTo>
                <a:lnTo>
                  <a:pt x="1251591" y="609475"/>
                </a:lnTo>
                <a:lnTo>
                  <a:pt x="1265927" y="622676"/>
                </a:lnTo>
                <a:lnTo>
                  <a:pt x="1282870" y="622676"/>
                </a:lnTo>
                <a:lnTo>
                  <a:pt x="1300682" y="632709"/>
                </a:lnTo>
                <a:lnTo>
                  <a:pt x="1317625" y="639046"/>
                </a:lnTo>
                <a:lnTo>
                  <a:pt x="1315019" y="655415"/>
                </a:lnTo>
                <a:lnTo>
                  <a:pt x="1311978" y="674952"/>
                </a:lnTo>
                <a:lnTo>
                  <a:pt x="1317625" y="687625"/>
                </a:lnTo>
                <a:lnTo>
                  <a:pt x="1303289" y="687625"/>
                </a:lnTo>
                <a:lnTo>
                  <a:pt x="1285911" y="694490"/>
                </a:lnTo>
                <a:lnTo>
                  <a:pt x="1282870" y="710859"/>
                </a:lnTo>
                <a:lnTo>
                  <a:pt x="1274182" y="714027"/>
                </a:lnTo>
                <a:lnTo>
                  <a:pt x="1264190" y="716139"/>
                </a:lnTo>
                <a:lnTo>
                  <a:pt x="1254198" y="718779"/>
                </a:lnTo>
                <a:lnTo>
                  <a:pt x="1244640" y="721948"/>
                </a:lnTo>
                <a:lnTo>
                  <a:pt x="1235517" y="725116"/>
                </a:lnTo>
                <a:lnTo>
                  <a:pt x="1232041" y="727228"/>
                </a:lnTo>
                <a:lnTo>
                  <a:pt x="1228132" y="728812"/>
                </a:lnTo>
                <a:lnTo>
                  <a:pt x="1224656" y="731980"/>
                </a:lnTo>
                <a:lnTo>
                  <a:pt x="1221615" y="734092"/>
                </a:lnTo>
                <a:lnTo>
                  <a:pt x="1219877" y="736733"/>
                </a:lnTo>
                <a:lnTo>
                  <a:pt x="1218139" y="739901"/>
                </a:lnTo>
                <a:lnTo>
                  <a:pt x="1217271" y="743069"/>
                </a:lnTo>
                <a:lnTo>
                  <a:pt x="1216402" y="746237"/>
                </a:lnTo>
                <a:lnTo>
                  <a:pt x="1217271" y="748878"/>
                </a:lnTo>
                <a:lnTo>
                  <a:pt x="1217705" y="751518"/>
                </a:lnTo>
                <a:lnTo>
                  <a:pt x="1219008" y="754158"/>
                </a:lnTo>
                <a:lnTo>
                  <a:pt x="1220312" y="756798"/>
                </a:lnTo>
                <a:lnTo>
                  <a:pt x="1221615" y="759438"/>
                </a:lnTo>
                <a:lnTo>
                  <a:pt x="1223787" y="761550"/>
                </a:lnTo>
                <a:lnTo>
                  <a:pt x="1225959" y="762607"/>
                </a:lnTo>
                <a:lnTo>
                  <a:pt x="1228132" y="763135"/>
                </a:lnTo>
                <a:lnTo>
                  <a:pt x="1237255" y="762078"/>
                </a:lnTo>
                <a:lnTo>
                  <a:pt x="1245509" y="759966"/>
                </a:lnTo>
                <a:lnTo>
                  <a:pt x="1249853" y="759438"/>
                </a:lnTo>
                <a:lnTo>
                  <a:pt x="1254198" y="758910"/>
                </a:lnTo>
                <a:lnTo>
                  <a:pt x="1258542" y="758910"/>
                </a:lnTo>
                <a:lnTo>
                  <a:pt x="1262886" y="759966"/>
                </a:lnTo>
                <a:lnTo>
                  <a:pt x="1258976" y="761550"/>
                </a:lnTo>
                <a:lnTo>
                  <a:pt x="1255501" y="763663"/>
                </a:lnTo>
                <a:lnTo>
                  <a:pt x="1252894" y="766303"/>
                </a:lnTo>
                <a:lnTo>
                  <a:pt x="1249853" y="769471"/>
                </a:lnTo>
                <a:lnTo>
                  <a:pt x="1247681" y="773167"/>
                </a:lnTo>
                <a:lnTo>
                  <a:pt x="1245074" y="776336"/>
                </a:lnTo>
                <a:lnTo>
                  <a:pt x="1242902" y="779504"/>
                </a:lnTo>
                <a:lnTo>
                  <a:pt x="1239861" y="782144"/>
                </a:lnTo>
                <a:lnTo>
                  <a:pt x="1238558" y="777920"/>
                </a:lnTo>
                <a:lnTo>
                  <a:pt x="1237689" y="774751"/>
                </a:lnTo>
                <a:lnTo>
                  <a:pt x="1235951" y="772111"/>
                </a:lnTo>
                <a:lnTo>
                  <a:pt x="1235082" y="770527"/>
                </a:lnTo>
                <a:lnTo>
                  <a:pt x="1232041" y="768415"/>
                </a:lnTo>
                <a:lnTo>
                  <a:pt x="1228132" y="766303"/>
                </a:lnTo>
                <a:lnTo>
                  <a:pt x="1228132" y="768943"/>
                </a:lnTo>
                <a:lnTo>
                  <a:pt x="1227263" y="771583"/>
                </a:lnTo>
                <a:lnTo>
                  <a:pt x="1225959" y="774223"/>
                </a:lnTo>
                <a:lnTo>
                  <a:pt x="1224656" y="776336"/>
                </a:lnTo>
                <a:lnTo>
                  <a:pt x="1220746" y="780560"/>
                </a:lnTo>
                <a:lnTo>
                  <a:pt x="1215967" y="784256"/>
                </a:lnTo>
                <a:lnTo>
                  <a:pt x="1211623" y="788480"/>
                </a:lnTo>
                <a:lnTo>
                  <a:pt x="1207713" y="791649"/>
                </a:lnTo>
                <a:lnTo>
                  <a:pt x="1205541" y="793761"/>
                </a:lnTo>
                <a:lnTo>
                  <a:pt x="1204238" y="795345"/>
                </a:lnTo>
                <a:lnTo>
                  <a:pt x="1202934" y="796929"/>
                </a:lnTo>
                <a:lnTo>
                  <a:pt x="1202065" y="798513"/>
                </a:lnTo>
                <a:lnTo>
                  <a:pt x="1199459" y="797985"/>
                </a:lnTo>
                <a:lnTo>
                  <a:pt x="1197287" y="796929"/>
                </a:lnTo>
                <a:lnTo>
                  <a:pt x="1195114" y="795873"/>
                </a:lnTo>
                <a:lnTo>
                  <a:pt x="1193377" y="794289"/>
                </a:lnTo>
                <a:lnTo>
                  <a:pt x="1191639" y="793233"/>
                </a:lnTo>
                <a:lnTo>
                  <a:pt x="1190336" y="791121"/>
                </a:lnTo>
                <a:lnTo>
                  <a:pt x="1189467" y="789536"/>
                </a:lnTo>
                <a:lnTo>
                  <a:pt x="1188163" y="786896"/>
                </a:lnTo>
                <a:lnTo>
                  <a:pt x="1186426" y="782672"/>
                </a:lnTo>
                <a:lnTo>
                  <a:pt x="1185557" y="777392"/>
                </a:lnTo>
                <a:lnTo>
                  <a:pt x="1185122" y="772111"/>
                </a:lnTo>
                <a:lnTo>
                  <a:pt x="1185122" y="766303"/>
                </a:lnTo>
                <a:lnTo>
                  <a:pt x="1181212" y="765775"/>
                </a:lnTo>
                <a:lnTo>
                  <a:pt x="1177737" y="765247"/>
                </a:lnTo>
                <a:lnTo>
                  <a:pt x="1174696" y="764191"/>
                </a:lnTo>
                <a:lnTo>
                  <a:pt x="1171220" y="762607"/>
                </a:lnTo>
                <a:lnTo>
                  <a:pt x="1165573" y="759438"/>
                </a:lnTo>
                <a:lnTo>
                  <a:pt x="1161663" y="756270"/>
                </a:lnTo>
                <a:lnTo>
                  <a:pt x="1167745" y="754158"/>
                </a:lnTo>
                <a:lnTo>
                  <a:pt x="1174262" y="752046"/>
                </a:lnTo>
                <a:lnTo>
                  <a:pt x="1179475" y="750990"/>
                </a:lnTo>
                <a:lnTo>
                  <a:pt x="1185122" y="749934"/>
                </a:lnTo>
                <a:lnTo>
                  <a:pt x="1195983" y="748349"/>
                </a:lnTo>
                <a:lnTo>
                  <a:pt x="1208147" y="746237"/>
                </a:lnTo>
                <a:lnTo>
                  <a:pt x="1159056" y="746237"/>
                </a:lnTo>
                <a:lnTo>
                  <a:pt x="1155146" y="742013"/>
                </a:lnTo>
                <a:lnTo>
                  <a:pt x="1150802" y="737789"/>
                </a:lnTo>
                <a:lnTo>
                  <a:pt x="1145589" y="734620"/>
                </a:lnTo>
                <a:lnTo>
                  <a:pt x="1140376" y="731452"/>
                </a:lnTo>
                <a:lnTo>
                  <a:pt x="1129949" y="726700"/>
                </a:lnTo>
                <a:lnTo>
                  <a:pt x="1121260" y="723532"/>
                </a:lnTo>
                <a:lnTo>
                  <a:pt x="1115613" y="735677"/>
                </a:lnTo>
                <a:lnTo>
                  <a:pt x="1109531" y="745709"/>
                </a:lnTo>
                <a:lnTo>
                  <a:pt x="1107358" y="750462"/>
                </a:lnTo>
                <a:lnTo>
                  <a:pt x="1104317" y="754686"/>
                </a:lnTo>
                <a:lnTo>
                  <a:pt x="1101711" y="759438"/>
                </a:lnTo>
                <a:lnTo>
                  <a:pt x="1098235" y="763135"/>
                </a:lnTo>
                <a:lnTo>
                  <a:pt x="1093891" y="762607"/>
                </a:lnTo>
                <a:lnTo>
                  <a:pt x="1092780" y="762457"/>
                </a:lnTo>
                <a:lnTo>
                  <a:pt x="1090833" y="765572"/>
                </a:lnTo>
                <a:lnTo>
                  <a:pt x="1087034" y="770299"/>
                </a:lnTo>
                <a:lnTo>
                  <a:pt x="1082391" y="775027"/>
                </a:lnTo>
                <a:lnTo>
                  <a:pt x="1076904" y="779754"/>
                </a:lnTo>
                <a:lnTo>
                  <a:pt x="1076060" y="784482"/>
                </a:lnTo>
                <a:lnTo>
                  <a:pt x="1076060" y="788684"/>
                </a:lnTo>
                <a:lnTo>
                  <a:pt x="1076482" y="792361"/>
                </a:lnTo>
                <a:lnTo>
                  <a:pt x="1076904" y="795513"/>
                </a:lnTo>
                <a:lnTo>
                  <a:pt x="1078592" y="800765"/>
                </a:lnTo>
                <a:lnTo>
                  <a:pt x="1079858" y="805493"/>
                </a:lnTo>
                <a:lnTo>
                  <a:pt x="1072683" y="804442"/>
                </a:lnTo>
                <a:lnTo>
                  <a:pt x="1064663" y="802341"/>
                </a:lnTo>
                <a:lnTo>
                  <a:pt x="1060864" y="801291"/>
                </a:lnTo>
                <a:lnTo>
                  <a:pt x="1056221" y="800240"/>
                </a:lnTo>
                <a:lnTo>
                  <a:pt x="1051156" y="799715"/>
                </a:lnTo>
                <a:lnTo>
                  <a:pt x="1045669" y="799190"/>
                </a:lnTo>
                <a:lnTo>
                  <a:pt x="1038916" y="799715"/>
                </a:lnTo>
                <a:lnTo>
                  <a:pt x="1031740" y="801291"/>
                </a:lnTo>
                <a:lnTo>
                  <a:pt x="1030055" y="801990"/>
                </a:lnTo>
                <a:lnTo>
                  <a:pt x="1036112" y="800641"/>
                </a:lnTo>
                <a:lnTo>
                  <a:pt x="1042972" y="800100"/>
                </a:lnTo>
                <a:lnTo>
                  <a:pt x="1048547" y="800641"/>
                </a:lnTo>
                <a:lnTo>
                  <a:pt x="1053692" y="801182"/>
                </a:lnTo>
                <a:lnTo>
                  <a:pt x="1058408" y="802264"/>
                </a:lnTo>
                <a:lnTo>
                  <a:pt x="1062267" y="803346"/>
                </a:lnTo>
                <a:lnTo>
                  <a:pt x="1070414" y="805510"/>
                </a:lnTo>
                <a:lnTo>
                  <a:pt x="1077703" y="806592"/>
                </a:lnTo>
                <a:lnTo>
                  <a:pt x="1076846" y="811461"/>
                </a:lnTo>
                <a:lnTo>
                  <a:pt x="1075560" y="815248"/>
                </a:lnTo>
                <a:lnTo>
                  <a:pt x="1073844" y="819576"/>
                </a:lnTo>
                <a:lnTo>
                  <a:pt x="1071701" y="822822"/>
                </a:lnTo>
                <a:lnTo>
                  <a:pt x="1069557" y="826068"/>
                </a:lnTo>
                <a:lnTo>
                  <a:pt x="1067842" y="828773"/>
                </a:lnTo>
                <a:lnTo>
                  <a:pt x="1066555" y="830937"/>
                </a:lnTo>
                <a:lnTo>
                  <a:pt x="1066126" y="833642"/>
                </a:lnTo>
                <a:lnTo>
                  <a:pt x="1066126" y="834724"/>
                </a:lnTo>
                <a:lnTo>
                  <a:pt x="1066555" y="835806"/>
                </a:lnTo>
                <a:lnTo>
                  <a:pt x="1067842" y="837429"/>
                </a:lnTo>
                <a:lnTo>
                  <a:pt x="1068699" y="838511"/>
                </a:lnTo>
                <a:lnTo>
                  <a:pt x="1071272" y="840675"/>
                </a:lnTo>
                <a:lnTo>
                  <a:pt x="1074702" y="842839"/>
                </a:lnTo>
                <a:lnTo>
                  <a:pt x="1081562" y="847167"/>
                </a:lnTo>
                <a:lnTo>
                  <a:pt x="1085850" y="850413"/>
                </a:lnTo>
                <a:lnTo>
                  <a:pt x="1080276" y="854200"/>
                </a:lnTo>
                <a:lnTo>
                  <a:pt x="1075560" y="857987"/>
                </a:lnTo>
                <a:lnTo>
                  <a:pt x="1073844" y="859610"/>
                </a:lnTo>
                <a:lnTo>
                  <a:pt x="1072987" y="862314"/>
                </a:lnTo>
                <a:lnTo>
                  <a:pt x="1071701" y="865560"/>
                </a:lnTo>
                <a:lnTo>
                  <a:pt x="1071701" y="869888"/>
                </a:lnTo>
                <a:lnTo>
                  <a:pt x="1068699" y="870970"/>
                </a:lnTo>
                <a:lnTo>
                  <a:pt x="1060552" y="873675"/>
                </a:lnTo>
                <a:lnTo>
                  <a:pt x="1051119" y="877462"/>
                </a:lnTo>
                <a:lnTo>
                  <a:pt x="1043620" y="879952"/>
                </a:lnTo>
                <a:lnTo>
                  <a:pt x="1044378" y="882650"/>
                </a:lnTo>
                <a:lnTo>
                  <a:pt x="1045270" y="886883"/>
                </a:lnTo>
                <a:lnTo>
                  <a:pt x="1045716" y="891646"/>
                </a:lnTo>
                <a:lnTo>
                  <a:pt x="1045716" y="896409"/>
                </a:lnTo>
                <a:lnTo>
                  <a:pt x="1046162" y="905404"/>
                </a:lnTo>
                <a:lnTo>
                  <a:pt x="1046162" y="909109"/>
                </a:lnTo>
                <a:lnTo>
                  <a:pt x="1007803" y="899054"/>
                </a:lnTo>
                <a:lnTo>
                  <a:pt x="1001113" y="900642"/>
                </a:lnTo>
                <a:lnTo>
                  <a:pt x="994868" y="902759"/>
                </a:lnTo>
                <a:lnTo>
                  <a:pt x="989516" y="905934"/>
                </a:lnTo>
                <a:lnTo>
                  <a:pt x="984610" y="909109"/>
                </a:lnTo>
                <a:lnTo>
                  <a:pt x="982826" y="910696"/>
                </a:lnTo>
                <a:lnTo>
                  <a:pt x="981041" y="912813"/>
                </a:lnTo>
                <a:lnTo>
                  <a:pt x="979703" y="914929"/>
                </a:lnTo>
                <a:lnTo>
                  <a:pt x="979257" y="917575"/>
                </a:lnTo>
                <a:lnTo>
                  <a:pt x="978811" y="920221"/>
                </a:lnTo>
                <a:lnTo>
                  <a:pt x="979257" y="922338"/>
                </a:lnTo>
                <a:lnTo>
                  <a:pt x="979703" y="925513"/>
                </a:lnTo>
                <a:lnTo>
                  <a:pt x="981041" y="928159"/>
                </a:lnTo>
                <a:lnTo>
                  <a:pt x="980595" y="929217"/>
                </a:lnTo>
                <a:lnTo>
                  <a:pt x="979257" y="931334"/>
                </a:lnTo>
                <a:lnTo>
                  <a:pt x="978365" y="932921"/>
                </a:lnTo>
                <a:lnTo>
                  <a:pt x="977473" y="933450"/>
                </a:lnTo>
                <a:lnTo>
                  <a:pt x="976135" y="935038"/>
                </a:lnTo>
                <a:lnTo>
                  <a:pt x="975243" y="935038"/>
                </a:lnTo>
                <a:lnTo>
                  <a:pt x="973459" y="935038"/>
                </a:lnTo>
                <a:lnTo>
                  <a:pt x="972121" y="933450"/>
                </a:lnTo>
                <a:lnTo>
                  <a:pt x="970783" y="932392"/>
                </a:lnTo>
                <a:lnTo>
                  <a:pt x="969891" y="931334"/>
                </a:lnTo>
                <a:lnTo>
                  <a:pt x="969445" y="928159"/>
                </a:lnTo>
                <a:lnTo>
                  <a:pt x="969445" y="924984"/>
                </a:lnTo>
                <a:lnTo>
                  <a:pt x="964984" y="924454"/>
                </a:lnTo>
                <a:lnTo>
                  <a:pt x="960524" y="922867"/>
                </a:lnTo>
                <a:lnTo>
                  <a:pt x="957402" y="921279"/>
                </a:lnTo>
                <a:lnTo>
                  <a:pt x="954725" y="918634"/>
                </a:lnTo>
                <a:lnTo>
                  <a:pt x="954725" y="923396"/>
                </a:lnTo>
                <a:lnTo>
                  <a:pt x="954725" y="928159"/>
                </a:lnTo>
                <a:lnTo>
                  <a:pt x="955171" y="930275"/>
                </a:lnTo>
                <a:lnTo>
                  <a:pt x="956064" y="932921"/>
                </a:lnTo>
                <a:lnTo>
                  <a:pt x="958740" y="937154"/>
                </a:lnTo>
                <a:lnTo>
                  <a:pt x="960524" y="940859"/>
                </a:lnTo>
                <a:lnTo>
                  <a:pt x="963646" y="944034"/>
                </a:lnTo>
                <a:lnTo>
                  <a:pt x="965876" y="946679"/>
                </a:lnTo>
                <a:lnTo>
                  <a:pt x="967214" y="947738"/>
                </a:lnTo>
                <a:lnTo>
                  <a:pt x="968106" y="948267"/>
                </a:lnTo>
                <a:lnTo>
                  <a:pt x="968552" y="948267"/>
                </a:lnTo>
                <a:lnTo>
                  <a:pt x="969445" y="948267"/>
                </a:lnTo>
                <a:lnTo>
                  <a:pt x="969445" y="957263"/>
                </a:lnTo>
                <a:lnTo>
                  <a:pt x="969445" y="965730"/>
                </a:lnTo>
                <a:lnTo>
                  <a:pt x="969445" y="973138"/>
                </a:lnTo>
                <a:lnTo>
                  <a:pt x="969445" y="980546"/>
                </a:lnTo>
                <a:lnTo>
                  <a:pt x="969445" y="992188"/>
                </a:lnTo>
                <a:lnTo>
                  <a:pt x="969445" y="1004888"/>
                </a:lnTo>
                <a:lnTo>
                  <a:pt x="968998" y="1007534"/>
                </a:lnTo>
                <a:lnTo>
                  <a:pt x="968552" y="1010180"/>
                </a:lnTo>
                <a:lnTo>
                  <a:pt x="968106" y="1012296"/>
                </a:lnTo>
                <a:lnTo>
                  <a:pt x="967214" y="1013884"/>
                </a:lnTo>
                <a:lnTo>
                  <a:pt x="965430" y="1015471"/>
                </a:lnTo>
                <a:lnTo>
                  <a:pt x="964092" y="1016530"/>
                </a:lnTo>
                <a:lnTo>
                  <a:pt x="962754" y="1016530"/>
                </a:lnTo>
                <a:lnTo>
                  <a:pt x="960524" y="1016530"/>
                </a:lnTo>
                <a:lnTo>
                  <a:pt x="963200" y="1019176"/>
                </a:lnTo>
                <a:lnTo>
                  <a:pt x="967214" y="1022351"/>
                </a:lnTo>
                <a:lnTo>
                  <a:pt x="968998" y="1024467"/>
                </a:lnTo>
                <a:lnTo>
                  <a:pt x="970783" y="1025526"/>
                </a:lnTo>
                <a:lnTo>
                  <a:pt x="973013" y="1026055"/>
                </a:lnTo>
                <a:lnTo>
                  <a:pt x="975243" y="1026584"/>
                </a:lnTo>
                <a:lnTo>
                  <a:pt x="973013" y="1030817"/>
                </a:lnTo>
                <a:lnTo>
                  <a:pt x="970337" y="1033463"/>
                </a:lnTo>
                <a:lnTo>
                  <a:pt x="968998" y="1034521"/>
                </a:lnTo>
                <a:lnTo>
                  <a:pt x="967660" y="1035580"/>
                </a:lnTo>
                <a:lnTo>
                  <a:pt x="965430" y="1036109"/>
                </a:lnTo>
                <a:lnTo>
                  <a:pt x="963646" y="1036109"/>
                </a:lnTo>
                <a:lnTo>
                  <a:pt x="960970" y="1036638"/>
                </a:lnTo>
                <a:lnTo>
                  <a:pt x="959632" y="1037696"/>
                </a:lnTo>
                <a:lnTo>
                  <a:pt x="958294" y="1039284"/>
                </a:lnTo>
                <a:lnTo>
                  <a:pt x="956510" y="1041930"/>
                </a:lnTo>
                <a:lnTo>
                  <a:pt x="955618" y="1044046"/>
                </a:lnTo>
                <a:lnTo>
                  <a:pt x="955171" y="1046692"/>
                </a:lnTo>
                <a:lnTo>
                  <a:pt x="954725" y="1049338"/>
                </a:lnTo>
                <a:lnTo>
                  <a:pt x="954725" y="1052513"/>
                </a:lnTo>
                <a:lnTo>
                  <a:pt x="952941" y="1044046"/>
                </a:lnTo>
                <a:lnTo>
                  <a:pt x="952495" y="1038226"/>
                </a:lnTo>
                <a:lnTo>
                  <a:pt x="952495" y="1036109"/>
                </a:lnTo>
                <a:lnTo>
                  <a:pt x="952941" y="1033992"/>
                </a:lnTo>
                <a:lnTo>
                  <a:pt x="953833" y="1031876"/>
                </a:lnTo>
                <a:lnTo>
                  <a:pt x="954725" y="1029759"/>
                </a:lnTo>
                <a:lnTo>
                  <a:pt x="950265" y="1029759"/>
                </a:lnTo>
                <a:lnTo>
                  <a:pt x="947143" y="1030817"/>
                </a:lnTo>
                <a:lnTo>
                  <a:pt x="944467" y="1031876"/>
                </a:lnTo>
                <a:lnTo>
                  <a:pt x="942237" y="1032934"/>
                </a:lnTo>
                <a:lnTo>
                  <a:pt x="940006" y="1033992"/>
                </a:lnTo>
                <a:lnTo>
                  <a:pt x="938222" y="1035051"/>
                </a:lnTo>
                <a:lnTo>
                  <a:pt x="935546" y="1035580"/>
                </a:lnTo>
                <a:lnTo>
                  <a:pt x="933762" y="1036109"/>
                </a:lnTo>
                <a:lnTo>
                  <a:pt x="933316" y="1023409"/>
                </a:lnTo>
                <a:lnTo>
                  <a:pt x="931532" y="1012296"/>
                </a:lnTo>
                <a:lnTo>
                  <a:pt x="931086" y="1007534"/>
                </a:lnTo>
                <a:lnTo>
                  <a:pt x="931086" y="1003300"/>
                </a:lnTo>
                <a:lnTo>
                  <a:pt x="932424" y="998538"/>
                </a:lnTo>
                <a:lnTo>
                  <a:pt x="933762" y="993775"/>
                </a:lnTo>
                <a:lnTo>
                  <a:pt x="928856" y="993775"/>
                </a:lnTo>
                <a:lnTo>
                  <a:pt x="923949" y="992188"/>
                </a:lnTo>
                <a:lnTo>
                  <a:pt x="919935" y="991130"/>
                </a:lnTo>
                <a:lnTo>
                  <a:pt x="916367" y="989013"/>
                </a:lnTo>
                <a:lnTo>
                  <a:pt x="913690" y="986896"/>
                </a:lnTo>
                <a:lnTo>
                  <a:pt x="911014" y="984250"/>
                </a:lnTo>
                <a:lnTo>
                  <a:pt x="908784" y="981605"/>
                </a:lnTo>
                <a:lnTo>
                  <a:pt x="907446" y="978430"/>
                </a:lnTo>
                <a:lnTo>
                  <a:pt x="904324" y="971021"/>
                </a:lnTo>
                <a:lnTo>
                  <a:pt x="902540" y="963084"/>
                </a:lnTo>
                <a:lnTo>
                  <a:pt x="900309" y="955675"/>
                </a:lnTo>
                <a:lnTo>
                  <a:pt x="898525" y="948267"/>
                </a:lnTo>
                <a:lnTo>
                  <a:pt x="902986" y="945092"/>
                </a:lnTo>
                <a:lnTo>
                  <a:pt x="907000" y="941917"/>
                </a:lnTo>
                <a:lnTo>
                  <a:pt x="911014" y="938213"/>
                </a:lnTo>
                <a:lnTo>
                  <a:pt x="915028" y="932921"/>
                </a:lnTo>
                <a:lnTo>
                  <a:pt x="918597" y="928159"/>
                </a:lnTo>
                <a:lnTo>
                  <a:pt x="920827" y="922338"/>
                </a:lnTo>
                <a:lnTo>
                  <a:pt x="923503" y="915988"/>
                </a:lnTo>
                <a:lnTo>
                  <a:pt x="924841" y="909109"/>
                </a:lnTo>
                <a:lnTo>
                  <a:pt x="931086" y="908579"/>
                </a:lnTo>
                <a:lnTo>
                  <a:pt x="937776" y="906992"/>
                </a:lnTo>
                <a:lnTo>
                  <a:pt x="944021" y="904346"/>
                </a:lnTo>
                <a:lnTo>
                  <a:pt x="949819" y="901171"/>
                </a:lnTo>
                <a:lnTo>
                  <a:pt x="960970" y="894821"/>
                </a:lnTo>
                <a:lnTo>
                  <a:pt x="972567" y="889529"/>
                </a:lnTo>
                <a:lnTo>
                  <a:pt x="978811" y="886883"/>
                </a:lnTo>
                <a:lnTo>
                  <a:pt x="984164" y="884767"/>
                </a:lnTo>
                <a:lnTo>
                  <a:pt x="988615" y="883954"/>
                </a:lnTo>
                <a:lnTo>
                  <a:pt x="988089" y="883954"/>
                </a:lnTo>
                <a:lnTo>
                  <a:pt x="980800" y="883954"/>
                </a:lnTo>
                <a:lnTo>
                  <a:pt x="977798" y="884495"/>
                </a:lnTo>
                <a:lnTo>
                  <a:pt x="974368" y="885036"/>
                </a:lnTo>
                <a:lnTo>
                  <a:pt x="971795" y="886118"/>
                </a:lnTo>
                <a:lnTo>
                  <a:pt x="969891" y="886919"/>
                </a:lnTo>
                <a:lnTo>
                  <a:pt x="960031" y="893098"/>
                </a:lnTo>
                <a:lnTo>
                  <a:pt x="948511" y="900316"/>
                </a:lnTo>
                <a:lnTo>
                  <a:pt x="942538" y="902894"/>
                </a:lnTo>
                <a:lnTo>
                  <a:pt x="935712" y="905988"/>
                </a:lnTo>
                <a:lnTo>
                  <a:pt x="929739" y="907535"/>
                </a:lnTo>
                <a:lnTo>
                  <a:pt x="923340" y="908050"/>
                </a:lnTo>
                <a:lnTo>
                  <a:pt x="919738" y="902827"/>
                </a:lnTo>
                <a:lnTo>
                  <a:pt x="922337" y="907445"/>
                </a:lnTo>
                <a:lnTo>
                  <a:pt x="920697" y="913198"/>
                </a:lnTo>
                <a:lnTo>
                  <a:pt x="919056" y="918952"/>
                </a:lnTo>
                <a:lnTo>
                  <a:pt x="916596" y="924705"/>
                </a:lnTo>
                <a:lnTo>
                  <a:pt x="914545" y="929936"/>
                </a:lnTo>
                <a:lnTo>
                  <a:pt x="911265" y="935166"/>
                </a:lnTo>
                <a:lnTo>
                  <a:pt x="908394" y="939351"/>
                </a:lnTo>
                <a:lnTo>
                  <a:pt x="904293" y="943012"/>
                </a:lnTo>
                <a:lnTo>
                  <a:pt x="900602" y="946150"/>
                </a:lnTo>
                <a:lnTo>
                  <a:pt x="900192" y="944581"/>
                </a:lnTo>
                <a:lnTo>
                  <a:pt x="899782" y="943535"/>
                </a:lnTo>
                <a:lnTo>
                  <a:pt x="898551" y="941966"/>
                </a:lnTo>
                <a:lnTo>
                  <a:pt x="897731" y="940920"/>
                </a:lnTo>
                <a:lnTo>
                  <a:pt x="895271" y="937781"/>
                </a:lnTo>
                <a:lnTo>
                  <a:pt x="891990" y="934643"/>
                </a:lnTo>
                <a:lnTo>
                  <a:pt x="888299" y="931505"/>
                </a:lnTo>
                <a:lnTo>
                  <a:pt x="885428" y="928367"/>
                </a:lnTo>
                <a:lnTo>
                  <a:pt x="882968" y="925751"/>
                </a:lnTo>
                <a:lnTo>
                  <a:pt x="881327" y="923136"/>
                </a:lnTo>
                <a:lnTo>
                  <a:pt x="879277" y="915813"/>
                </a:lnTo>
                <a:lnTo>
                  <a:pt x="877226" y="907445"/>
                </a:lnTo>
                <a:lnTo>
                  <a:pt x="875176" y="898553"/>
                </a:lnTo>
                <a:lnTo>
                  <a:pt x="873125" y="891230"/>
                </a:lnTo>
                <a:lnTo>
                  <a:pt x="874766" y="887569"/>
                </a:lnTo>
                <a:lnTo>
                  <a:pt x="876406" y="883908"/>
                </a:lnTo>
                <a:lnTo>
                  <a:pt x="877226" y="880769"/>
                </a:lnTo>
                <a:lnTo>
                  <a:pt x="878046" y="877631"/>
                </a:lnTo>
                <a:lnTo>
                  <a:pt x="878867" y="871355"/>
                </a:lnTo>
                <a:lnTo>
                  <a:pt x="879277" y="866124"/>
                </a:lnTo>
                <a:lnTo>
                  <a:pt x="879277" y="863509"/>
                </a:lnTo>
                <a:lnTo>
                  <a:pt x="879687" y="861940"/>
                </a:lnTo>
                <a:lnTo>
                  <a:pt x="880917" y="859847"/>
                </a:lnTo>
                <a:lnTo>
                  <a:pt x="881737" y="858278"/>
                </a:lnTo>
                <a:lnTo>
                  <a:pt x="882968" y="857232"/>
                </a:lnTo>
                <a:lnTo>
                  <a:pt x="884198" y="856186"/>
                </a:lnTo>
                <a:lnTo>
                  <a:pt x="886659" y="855663"/>
                </a:lnTo>
                <a:lnTo>
                  <a:pt x="889119" y="855663"/>
                </a:lnTo>
                <a:lnTo>
                  <a:pt x="890760" y="856186"/>
                </a:lnTo>
                <a:lnTo>
                  <a:pt x="890957" y="856312"/>
                </a:lnTo>
                <a:lnTo>
                  <a:pt x="890329" y="855372"/>
                </a:lnTo>
                <a:lnTo>
                  <a:pt x="889013" y="853796"/>
                </a:lnTo>
                <a:lnTo>
                  <a:pt x="887257" y="853270"/>
                </a:lnTo>
                <a:lnTo>
                  <a:pt x="884624" y="853270"/>
                </a:lnTo>
                <a:lnTo>
                  <a:pt x="881992" y="853796"/>
                </a:lnTo>
                <a:lnTo>
                  <a:pt x="880675" y="854847"/>
                </a:lnTo>
                <a:lnTo>
                  <a:pt x="879359" y="855897"/>
                </a:lnTo>
                <a:lnTo>
                  <a:pt x="878481" y="857474"/>
                </a:lnTo>
                <a:lnTo>
                  <a:pt x="877164" y="859575"/>
                </a:lnTo>
                <a:lnTo>
                  <a:pt x="876726" y="861152"/>
                </a:lnTo>
                <a:lnTo>
                  <a:pt x="876726" y="863779"/>
                </a:lnTo>
                <a:lnTo>
                  <a:pt x="876287" y="869033"/>
                </a:lnTo>
                <a:lnTo>
                  <a:pt x="875409" y="874813"/>
                </a:lnTo>
                <a:lnTo>
                  <a:pt x="874532" y="878491"/>
                </a:lnTo>
                <a:lnTo>
                  <a:pt x="873654" y="881644"/>
                </a:lnTo>
                <a:lnTo>
                  <a:pt x="871899" y="885322"/>
                </a:lnTo>
                <a:lnTo>
                  <a:pt x="870143" y="889000"/>
                </a:lnTo>
                <a:lnTo>
                  <a:pt x="868827" y="877440"/>
                </a:lnTo>
                <a:lnTo>
                  <a:pt x="867072" y="867457"/>
                </a:lnTo>
                <a:lnTo>
                  <a:pt x="865755" y="862728"/>
                </a:lnTo>
                <a:lnTo>
                  <a:pt x="863122" y="859050"/>
                </a:lnTo>
                <a:lnTo>
                  <a:pt x="861806" y="857474"/>
                </a:lnTo>
                <a:lnTo>
                  <a:pt x="860489" y="855897"/>
                </a:lnTo>
                <a:lnTo>
                  <a:pt x="857856" y="854321"/>
                </a:lnTo>
                <a:lnTo>
                  <a:pt x="855662" y="853270"/>
                </a:lnTo>
                <a:lnTo>
                  <a:pt x="855662" y="852395"/>
                </a:lnTo>
                <a:lnTo>
                  <a:pt x="832397" y="842694"/>
                </a:lnTo>
                <a:lnTo>
                  <a:pt x="829197" y="842963"/>
                </a:lnTo>
                <a:lnTo>
                  <a:pt x="822238" y="842963"/>
                </a:lnTo>
                <a:lnTo>
                  <a:pt x="819194" y="842963"/>
                </a:lnTo>
                <a:lnTo>
                  <a:pt x="816149" y="842451"/>
                </a:lnTo>
                <a:lnTo>
                  <a:pt x="813105" y="841425"/>
                </a:lnTo>
                <a:lnTo>
                  <a:pt x="809625" y="839375"/>
                </a:lnTo>
                <a:lnTo>
                  <a:pt x="806581" y="837838"/>
                </a:lnTo>
                <a:lnTo>
                  <a:pt x="804406" y="835787"/>
                </a:lnTo>
                <a:lnTo>
                  <a:pt x="802666" y="832712"/>
                </a:lnTo>
                <a:lnTo>
                  <a:pt x="801362" y="830149"/>
                </a:lnTo>
                <a:lnTo>
                  <a:pt x="800057" y="827074"/>
                </a:lnTo>
                <a:lnTo>
                  <a:pt x="798752" y="824511"/>
                </a:lnTo>
                <a:lnTo>
                  <a:pt x="797012" y="822461"/>
                </a:lnTo>
                <a:lnTo>
                  <a:pt x="795273" y="820923"/>
                </a:lnTo>
                <a:lnTo>
                  <a:pt x="790488" y="811697"/>
                </a:lnTo>
                <a:lnTo>
                  <a:pt x="785704" y="802984"/>
                </a:lnTo>
                <a:lnTo>
                  <a:pt x="780920" y="794783"/>
                </a:lnTo>
                <a:lnTo>
                  <a:pt x="775701" y="786582"/>
                </a:lnTo>
                <a:lnTo>
                  <a:pt x="772656" y="782482"/>
                </a:lnTo>
                <a:lnTo>
                  <a:pt x="770046" y="779406"/>
                </a:lnTo>
                <a:lnTo>
                  <a:pt x="767002" y="776331"/>
                </a:lnTo>
                <a:lnTo>
                  <a:pt x="765897" y="775028"/>
                </a:lnTo>
                <a:lnTo>
                  <a:pt x="760695" y="773466"/>
                </a:lnTo>
                <a:lnTo>
                  <a:pt x="752475" y="771349"/>
                </a:lnTo>
                <a:lnTo>
                  <a:pt x="752475" y="767207"/>
                </a:lnTo>
                <a:lnTo>
                  <a:pt x="751779" y="767105"/>
                </a:lnTo>
                <a:lnTo>
                  <a:pt x="750040" y="764542"/>
                </a:lnTo>
                <a:lnTo>
                  <a:pt x="747865" y="761979"/>
                </a:lnTo>
                <a:lnTo>
                  <a:pt x="746995" y="760442"/>
                </a:lnTo>
                <a:lnTo>
                  <a:pt x="746560" y="758391"/>
                </a:lnTo>
                <a:lnTo>
                  <a:pt x="746125" y="756341"/>
                </a:lnTo>
                <a:lnTo>
                  <a:pt x="746125" y="753778"/>
                </a:lnTo>
                <a:lnTo>
                  <a:pt x="752475" y="755139"/>
                </a:lnTo>
                <a:lnTo>
                  <a:pt x="752475" y="753710"/>
                </a:lnTo>
                <a:lnTo>
                  <a:pt x="752475" y="743127"/>
                </a:lnTo>
                <a:lnTo>
                  <a:pt x="752475" y="731838"/>
                </a:lnTo>
                <a:lnTo>
                  <a:pt x="757955" y="731838"/>
                </a:lnTo>
                <a:lnTo>
                  <a:pt x="761087" y="731838"/>
                </a:lnTo>
                <a:lnTo>
                  <a:pt x="764610" y="731838"/>
                </a:lnTo>
                <a:lnTo>
                  <a:pt x="768133" y="731838"/>
                </a:lnTo>
                <a:lnTo>
                  <a:pt x="772830" y="731838"/>
                </a:lnTo>
                <a:lnTo>
                  <a:pt x="777136" y="730427"/>
                </a:lnTo>
                <a:lnTo>
                  <a:pt x="781050" y="729016"/>
                </a:lnTo>
                <a:lnTo>
                  <a:pt x="784965" y="726899"/>
                </a:lnTo>
                <a:lnTo>
                  <a:pt x="791630" y="722894"/>
                </a:lnTo>
                <a:lnTo>
                  <a:pt x="791069" y="723042"/>
                </a:lnTo>
                <a:lnTo>
                  <a:pt x="783510" y="726131"/>
                </a:lnTo>
                <a:lnTo>
                  <a:pt x="779508" y="727676"/>
                </a:lnTo>
                <a:lnTo>
                  <a:pt x="775061" y="728706"/>
                </a:lnTo>
                <a:lnTo>
                  <a:pt x="770615" y="730250"/>
                </a:lnTo>
                <a:lnTo>
                  <a:pt x="765279" y="730250"/>
                </a:lnTo>
                <a:lnTo>
                  <a:pt x="760832" y="730250"/>
                </a:lnTo>
                <a:lnTo>
                  <a:pt x="755941" y="730250"/>
                </a:lnTo>
                <a:lnTo>
                  <a:pt x="750605" y="730250"/>
                </a:lnTo>
                <a:lnTo>
                  <a:pt x="747259" y="730250"/>
                </a:lnTo>
                <a:lnTo>
                  <a:pt x="746889" y="736958"/>
                </a:lnTo>
                <a:lnTo>
                  <a:pt x="746021" y="743247"/>
                </a:lnTo>
                <a:lnTo>
                  <a:pt x="744285" y="748489"/>
                </a:lnTo>
                <a:lnTo>
                  <a:pt x="742983" y="753206"/>
                </a:lnTo>
                <a:lnTo>
                  <a:pt x="742115" y="757923"/>
                </a:lnTo>
                <a:lnTo>
                  <a:pt x="742549" y="762116"/>
                </a:lnTo>
                <a:lnTo>
                  <a:pt x="742915" y="763881"/>
                </a:lnTo>
                <a:lnTo>
                  <a:pt x="742115" y="763688"/>
                </a:lnTo>
                <a:lnTo>
                  <a:pt x="739946" y="763688"/>
                </a:lnTo>
                <a:lnTo>
                  <a:pt x="738644" y="763688"/>
                </a:lnTo>
                <a:lnTo>
                  <a:pt x="737342" y="763688"/>
                </a:lnTo>
                <a:lnTo>
                  <a:pt x="736040" y="763164"/>
                </a:lnTo>
                <a:lnTo>
                  <a:pt x="735172" y="762116"/>
                </a:lnTo>
                <a:lnTo>
                  <a:pt x="733870" y="760543"/>
                </a:lnTo>
                <a:lnTo>
                  <a:pt x="732134" y="758447"/>
                </a:lnTo>
                <a:lnTo>
                  <a:pt x="731266" y="755302"/>
                </a:lnTo>
                <a:lnTo>
                  <a:pt x="730399" y="751109"/>
                </a:lnTo>
                <a:lnTo>
                  <a:pt x="722587" y="753730"/>
                </a:lnTo>
                <a:lnTo>
                  <a:pt x="717380" y="755826"/>
                </a:lnTo>
                <a:lnTo>
                  <a:pt x="715210" y="757399"/>
                </a:lnTo>
                <a:lnTo>
                  <a:pt x="713474" y="758971"/>
                </a:lnTo>
                <a:lnTo>
                  <a:pt x="712173" y="760019"/>
                </a:lnTo>
                <a:lnTo>
                  <a:pt x="711305" y="761592"/>
                </a:lnTo>
                <a:lnTo>
                  <a:pt x="710437" y="764736"/>
                </a:lnTo>
                <a:lnTo>
                  <a:pt x="710003" y="768929"/>
                </a:lnTo>
                <a:lnTo>
                  <a:pt x="710003" y="774170"/>
                </a:lnTo>
                <a:lnTo>
                  <a:pt x="710003" y="780460"/>
                </a:lnTo>
                <a:lnTo>
                  <a:pt x="710437" y="787797"/>
                </a:lnTo>
                <a:lnTo>
                  <a:pt x="711305" y="794087"/>
                </a:lnTo>
                <a:lnTo>
                  <a:pt x="713040" y="799328"/>
                </a:lnTo>
                <a:lnTo>
                  <a:pt x="715644" y="804045"/>
                </a:lnTo>
                <a:lnTo>
                  <a:pt x="716946" y="806141"/>
                </a:lnTo>
                <a:lnTo>
                  <a:pt x="718682" y="807714"/>
                </a:lnTo>
                <a:lnTo>
                  <a:pt x="720418" y="809286"/>
                </a:lnTo>
                <a:lnTo>
                  <a:pt x="722153" y="810334"/>
                </a:lnTo>
                <a:lnTo>
                  <a:pt x="724323" y="811383"/>
                </a:lnTo>
                <a:lnTo>
                  <a:pt x="726059" y="811907"/>
                </a:lnTo>
                <a:lnTo>
                  <a:pt x="727795" y="812431"/>
                </a:lnTo>
                <a:lnTo>
                  <a:pt x="730399" y="812431"/>
                </a:lnTo>
                <a:lnTo>
                  <a:pt x="730399" y="814527"/>
                </a:lnTo>
                <a:lnTo>
                  <a:pt x="731266" y="817148"/>
                </a:lnTo>
                <a:lnTo>
                  <a:pt x="732568" y="819244"/>
                </a:lnTo>
                <a:lnTo>
                  <a:pt x="734738" y="821341"/>
                </a:lnTo>
                <a:lnTo>
                  <a:pt x="739512" y="825534"/>
                </a:lnTo>
                <a:lnTo>
                  <a:pt x="745153" y="829727"/>
                </a:lnTo>
                <a:lnTo>
                  <a:pt x="755568" y="837064"/>
                </a:lnTo>
                <a:lnTo>
                  <a:pt x="761643" y="841781"/>
                </a:lnTo>
                <a:lnTo>
                  <a:pt x="793756" y="874277"/>
                </a:lnTo>
                <a:lnTo>
                  <a:pt x="795492" y="877945"/>
                </a:lnTo>
                <a:lnTo>
                  <a:pt x="798095" y="881090"/>
                </a:lnTo>
                <a:lnTo>
                  <a:pt x="800265" y="883711"/>
                </a:lnTo>
                <a:lnTo>
                  <a:pt x="803303" y="885807"/>
                </a:lnTo>
                <a:lnTo>
                  <a:pt x="806774" y="886855"/>
                </a:lnTo>
                <a:lnTo>
                  <a:pt x="810246" y="887904"/>
                </a:lnTo>
                <a:lnTo>
                  <a:pt x="814585" y="887904"/>
                </a:lnTo>
                <a:lnTo>
                  <a:pt x="819359" y="887380"/>
                </a:lnTo>
                <a:lnTo>
                  <a:pt x="820227" y="888952"/>
                </a:lnTo>
                <a:lnTo>
                  <a:pt x="821963" y="891048"/>
                </a:lnTo>
                <a:lnTo>
                  <a:pt x="823265" y="893145"/>
                </a:lnTo>
                <a:lnTo>
                  <a:pt x="825000" y="895765"/>
                </a:lnTo>
                <a:lnTo>
                  <a:pt x="830208" y="900482"/>
                </a:lnTo>
                <a:lnTo>
                  <a:pt x="835849" y="905724"/>
                </a:lnTo>
                <a:lnTo>
                  <a:pt x="841491" y="909917"/>
                </a:lnTo>
                <a:lnTo>
                  <a:pt x="846698" y="913061"/>
                </a:lnTo>
                <a:lnTo>
                  <a:pt x="851038" y="915158"/>
                </a:lnTo>
                <a:lnTo>
                  <a:pt x="854075" y="916206"/>
                </a:lnTo>
                <a:lnTo>
                  <a:pt x="853641" y="919875"/>
                </a:lnTo>
                <a:lnTo>
                  <a:pt x="852339" y="924068"/>
                </a:lnTo>
                <a:lnTo>
                  <a:pt x="850604" y="928785"/>
                </a:lnTo>
                <a:lnTo>
                  <a:pt x="848434" y="932454"/>
                </a:lnTo>
                <a:lnTo>
                  <a:pt x="842792" y="922495"/>
                </a:lnTo>
                <a:lnTo>
                  <a:pt x="838019" y="921971"/>
                </a:lnTo>
                <a:lnTo>
                  <a:pt x="833245" y="920399"/>
                </a:lnTo>
                <a:lnTo>
                  <a:pt x="831510" y="919875"/>
                </a:lnTo>
                <a:lnTo>
                  <a:pt x="829340" y="918826"/>
                </a:lnTo>
                <a:lnTo>
                  <a:pt x="828472" y="917254"/>
                </a:lnTo>
                <a:lnTo>
                  <a:pt x="828038" y="916206"/>
                </a:lnTo>
                <a:lnTo>
                  <a:pt x="823699" y="916206"/>
                </a:lnTo>
                <a:lnTo>
                  <a:pt x="819359" y="916206"/>
                </a:lnTo>
                <a:lnTo>
                  <a:pt x="819359" y="919351"/>
                </a:lnTo>
                <a:lnTo>
                  <a:pt x="819359" y="923019"/>
                </a:lnTo>
                <a:lnTo>
                  <a:pt x="819359" y="927212"/>
                </a:lnTo>
                <a:lnTo>
                  <a:pt x="819359" y="932454"/>
                </a:lnTo>
                <a:lnTo>
                  <a:pt x="819793" y="936122"/>
                </a:lnTo>
                <a:lnTo>
                  <a:pt x="821963" y="940315"/>
                </a:lnTo>
                <a:lnTo>
                  <a:pt x="822831" y="942412"/>
                </a:lnTo>
                <a:lnTo>
                  <a:pt x="824132" y="943984"/>
                </a:lnTo>
                <a:lnTo>
                  <a:pt x="826302" y="945032"/>
                </a:lnTo>
                <a:lnTo>
                  <a:pt x="828038" y="945556"/>
                </a:lnTo>
                <a:lnTo>
                  <a:pt x="826302" y="950798"/>
                </a:lnTo>
                <a:lnTo>
                  <a:pt x="823699" y="957087"/>
                </a:lnTo>
                <a:lnTo>
                  <a:pt x="822831" y="960232"/>
                </a:lnTo>
                <a:lnTo>
                  <a:pt x="821963" y="962852"/>
                </a:lnTo>
                <a:lnTo>
                  <a:pt x="820227" y="964425"/>
                </a:lnTo>
                <a:lnTo>
                  <a:pt x="819359" y="964949"/>
                </a:lnTo>
                <a:lnTo>
                  <a:pt x="817189" y="973335"/>
                </a:lnTo>
                <a:lnTo>
                  <a:pt x="814152" y="980148"/>
                </a:lnTo>
                <a:lnTo>
                  <a:pt x="812850" y="983817"/>
                </a:lnTo>
                <a:lnTo>
                  <a:pt x="811982" y="986962"/>
                </a:lnTo>
                <a:lnTo>
                  <a:pt x="811548" y="990630"/>
                </a:lnTo>
                <a:lnTo>
                  <a:pt x="810680" y="993775"/>
                </a:lnTo>
                <a:lnTo>
                  <a:pt x="805039" y="992727"/>
                </a:lnTo>
                <a:lnTo>
                  <a:pt x="798529" y="990630"/>
                </a:lnTo>
                <a:lnTo>
                  <a:pt x="793322" y="988010"/>
                </a:lnTo>
                <a:lnTo>
                  <a:pt x="790718" y="986962"/>
                </a:lnTo>
                <a:lnTo>
                  <a:pt x="792454" y="983817"/>
                </a:lnTo>
                <a:lnTo>
                  <a:pt x="794190" y="980672"/>
                </a:lnTo>
                <a:lnTo>
                  <a:pt x="796359" y="978052"/>
                </a:lnTo>
                <a:lnTo>
                  <a:pt x="798963" y="975431"/>
                </a:lnTo>
                <a:lnTo>
                  <a:pt x="801133" y="972810"/>
                </a:lnTo>
                <a:lnTo>
                  <a:pt x="803303" y="969666"/>
                </a:lnTo>
                <a:lnTo>
                  <a:pt x="804171" y="968093"/>
                </a:lnTo>
                <a:lnTo>
                  <a:pt x="804605" y="965997"/>
                </a:lnTo>
                <a:lnTo>
                  <a:pt x="805039" y="963900"/>
                </a:lnTo>
                <a:lnTo>
                  <a:pt x="805039" y="961804"/>
                </a:lnTo>
                <a:lnTo>
                  <a:pt x="804605" y="957611"/>
                </a:lnTo>
                <a:lnTo>
                  <a:pt x="804171" y="953942"/>
                </a:lnTo>
                <a:lnTo>
                  <a:pt x="803303" y="950273"/>
                </a:lnTo>
                <a:lnTo>
                  <a:pt x="802001" y="946605"/>
                </a:lnTo>
                <a:lnTo>
                  <a:pt x="798095" y="939267"/>
                </a:lnTo>
                <a:lnTo>
                  <a:pt x="793756" y="932454"/>
                </a:lnTo>
                <a:lnTo>
                  <a:pt x="788548" y="926164"/>
                </a:lnTo>
                <a:lnTo>
                  <a:pt x="783341" y="920399"/>
                </a:lnTo>
                <a:lnTo>
                  <a:pt x="778133" y="916206"/>
                </a:lnTo>
                <a:lnTo>
                  <a:pt x="773360" y="913061"/>
                </a:lnTo>
                <a:lnTo>
                  <a:pt x="770322" y="912537"/>
                </a:lnTo>
                <a:lnTo>
                  <a:pt x="767285" y="911489"/>
                </a:lnTo>
                <a:lnTo>
                  <a:pt x="764681" y="909917"/>
                </a:lnTo>
                <a:lnTo>
                  <a:pt x="762077" y="908868"/>
                </a:lnTo>
                <a:lnTo>
                  <a:pt x="757304" y="905724"/>
                </a:lnTo>
                <a:lnTo>
                  <a:pt x="754266" y="902055"/>
                </a:lnTo>
                <a:lnTo>
                  <a:pt x="749059" y="896289"/>
                </a:lnTo>
                <a:lnTo>
                  <a:pt x="747323" y="893669"/>
                </a:lnTo>
                <a:lnTo>
                  <a:pt x="741247" y="892097"/>
                </a:lnTo>
                <a:lnTo>
                  <a:pt x="735606" y="890524"/>
                </a:lnTo>
                <a:lnTo>
                  <a:pt x="729965" y="888428"/>
                </a:lnTo>
                <a:lnTo>
                  <a:pt x="724757" y="886331"/>
                </a:lnTo>
                <a:lnTo>
                  <a:pt x="719550" y="884235"/>
                </a:lnTo>
                <a:lnTo>
                  <a:pt x="714776" y="881614"/>
                </a:lnTo>
                <a:lnTo>
                  <a:pt x="710437" y="878470"/>
                </a:lnTo>
                <a:lnTo>
                  <a:pt x="706097" y="875849"/>
                </a:lnTo>
                <a:lnTo>
                  <a:pt x="697852" y="868511"/>
                </a:lnTo>
                <a:lnTo>
                  <a:pt x="690909" y="861698"/>
                </a:lnTo>
                <a:lnTo>
                  <a:pt x="683966" y="854360"/>
                </a:lnTo>
                <a:lnTo>
                  <a:pt x="678324" y="847023"/>
                </a:lnTo>
                <a:lnTo>
                  <a:pt x="673551" y="839161"/>
                </a:lnTo>
                <a:lnTo>
                  <a:pt x="669211" y="831823"/>
                </a:lnTo>
                <a:lnTo>
                  <a:pt x="665740" y="825010"/>
                </a:lnTo>
                <a:lnTo>
                  <a:pt x="662702" y="818196"/>
                </a:lnTo>
                <a:lnTo>
                  <a:pt x="657928" y="807190"/>
                </a:lnTo>
                <a:lnTo>
                  <a:pt x="654891" y="799852"/>
                </a:lnTo>
                <a:lnTo>
                  <a:pt x="647513" y="799852"/>
                </a:lnTo>
                <a:lnTo>
                  <a:pt x="641872" y="799852"/>
                </a:lnTo>
                <a:lnTo>
                  <a:pt x="636665" y="799852"/>
                </a:lnTo>
                <a:lnTo>
                  <a:pt x="632325" y="799852"/>
                </a:lnTo>
                <a:lnTo>
                  <a:pt x="629721" y="800376"/>
                </a:lnTo>
                <a:lnTo>
                  <a:pt x="627986" y="800376"/>
                </a:lnTo>
                <a:lnTo>
                  <a:pt x="625382" y="801424"/>
                </a:lnTo>
                <a:lnTo>
                  <a:pt x="623212" y="802473"/>
                </a:lnTo>
                <a:lnTo>
                  <a:pt x="618005" y="805093"/>
                </a:lnTo>
                <a:lnTo>
                  <a:pt x="612363" y="809286"/>
                </a:lnTo>
                <a:lnTo>
                  <a:pt x="609759" y="805617"/>
                </a:lnTo>
                <a:lnTo>
                  <a:pt x="608458" y="801949"/>
                </a:lnTo>
                <a:lnTo>
                  <a:pt x="606288" y="797756"/>
                </a:lnTo>
                <a:lnTo>
                  <a:pt x="605420" y="793039"/>
                </a:lnTo>
                <a:lnTo>
                  <a:pt x="604552" y="788846"/>
                </a:lnTo>
                <a:lnTo>
                  <a:pt x="603684" y="783604"/>
                </a:lnTo>
                <a:lnTo>
                  <a:pt x="603684" y="778887"/>
                </a:lnTo>
                <a:lnTo>
                  <a:pt x="603250" y="774170"/>
                </a:lnTo>
                <a:lnTo>
                  <a:pt x="603684" y="767881"/>
                </a:lnTo>
                <a:lnTo>
                  <a:pt x="604552" y="762640"/>
                </a:lnTo>
                <a:lnTo>
                  <a:pt x="605420" y="756350"/>
                </a:lnTo>
                <a:lnTo>
                  <a:pt x="605538" y="754063"/>
                </a:lnTo>
                <a:lnTo>
                  <a:pt x="597432" y="754063"/>
                </a:lnTo>
                <a:lnTo>
                  <a:pt x="595328" y="754063"/>
                </a:lnTo>
                <a:lnTo>
                  <a:pt x="592804" y="752265"/>
                </a:lnTo>
                <a:lnTo>
                  <a:pt x="590280" y="750467"/>
                </a:lnTo>
                <a:lnTo>
                  <a:pt x="587335" y="748669"/>
                </a:lnTo>
                <a:lnTo>
                  <a:pt x="584811" y="746271"/>
                </a:lnTo>
                <a:lnTo>
                  <a:pt x="582708" y="743874"/>
                </a:lnTo>
                <a:lnTo>
                  <a:pt x="581446" y="741476"/>
                </a:lnTo>
                <a:lnTo>
                  <a:pt x="581025" y="739678"/>
                </a:lnTo>
                <a:lnTo>
                  <a:pt x="583129" y="737880"/>
                </a:lnTo>
                <a:lnTo>
                  <a:pt x="585232" y="735483"/>
                </a:lnTo>
                <a:lnTo>
                  <a:pt x="586915" y="731287"/>
                </a:lnTo>
                <a:lnTo>
                  <a:pt x="589439" y="727092"/>
                </a:lnTo>
                <a:lnTo>
                  <a:pt x="590701" y="722297"/>
                </a:lnTo>
                <a:lnTo>
                  <a:pt x="592384" y="717502"/>
                </a:lnTo>
                <a:lnTo>
                  <a:pt x="593646" y="712107"/>
                </a:lnTo>
                <a:lnTo>
                  <a:pt x="594908" y="706713"/>
                </a:lnTo>
                <a:lnTo>
                  <a:pt x="608790" y="703716"/>
                </a:lnTo>
                <a:lnTo>
                  <a:pt x="624356" y="700719"/>
                </a:lnTo>
                <a:lnTo>
                  <a:pt x="640530" y="697976"/>
                </a:lnTo>
                <a:lnTo>
                  <a:pt x="634953" y="697976"/>
                </a:lnTo>
                <a:lnTo>
                  <a:pt x="629118" y="697976"/>
                </a:lnTo>
                <a:lnTo>
                  <a:pt x="623282" y="697976"/>
                </a:lnTo>
                <a:lnTo>
                  <a:pt x="617030" y="699032"/>
                </a:lnTo>
                <a:lnTo>
                  <a:pt x="610778" y="700088"/>
                </a:lnTo>
                <a:lnTo>
                  <a:pt x="614946" y="686360"/>
                </a:lnTo>
                <a:lnTo>
                  <a:pt x="617864" y="673160"/>
                </a:lnTo>
                <a:lnTo>
                  <a:pt x="619531" y="666297"/>
                </a:lnTo>
                <a:lnTo>
                  <a:pt x="621198" y="660489"/>
                </a:lnTo>
                <a:lnTo>
                  <a:pt x="622449" y="655209"/>
                </a:lnTo>
                <a:lnTo>
                  <a:pt x="624950" y="650985"/>
                </a:lnTo>
                <a:lnTo>
                  <a:pt x="616613" y="648345"/>
                </a:lnTo>
                <a:lnTo>
                  <a:pt x="607860" y="646761"/>
                </a:lnTo>
                <a:lnTo>
                  <a:pt x="599941" y="645177"/>
                </a:lnTo>
                <a:lnTo>
                  <a:pt x="591605" y="644649"/>
                </a:lnTo>
                <a:lnTo>
                  <a:pt x="591605" y="624585"/>
                </a:lnTo>
                <a:lnTo>
                  <a:pt x="594106" y="608217"/>
                </a:lnTo>
                <a:lnTo>
                  <a:pt x="588687" y="592377"/>
                </a:lnTo>
                <a:lnTo>
                  <a:pt x="587020" y="592905"/>
                </a:lnTo>
                <a:lnTo>
                  <a:pt x="585353" y="592905"/>
                </a:lnTo>
                <a:lnTo>
                  <a:pt x="584102" y="591849"/>
                </a:lnTo>
                <a:lnTo>
                  <a:pt x="583269" y="590265"/>
                </a:lnTo>
                <a:lnTo>
                  <a:pt x="582435" y="588681"/>
                </a:lnTo>
                <a:lnTo>
                  <a:pt x="580768" y="587625"/>
                </a:lnTo>
                <a:lnTo>
                  <a:pt x="579517" y="586569"/>
                </a:lnTo>
                <a:lnTo>
                  <a:pt x="577850" y="586042"/>
                </a:lnTo>
                <a:lnTo>
                  <a:pt x="591605" y="556474"/>
                </a:lnTo>
                <a:lnTo>
                  <a:pt x="591605" y="551194"/>
                </a:lnTo>
                <a:lnTo>
                  <a:pt x="592022" y="547498"/>
                </a:lnTo>
                <a:lnTo>
                  <a:pt x="592438" y="544330"/>
                </a:lnTo>
                <a:lnTo>
                  <a:pt x="592855" y="541690"/>
                </a:lnTo>
                <a:lnTo>
                  <a:pt x="594106" y="537994"/>
                </a:lnTo>
                <a:lnTo>
                  <a:pt x="596606" y="534826"/>
                </a:lnTo>
                <a:lnTo>
                  <a:pt x="598274" y="532186"/>
                </a:lnTo>
                <a:lnTo>
                  <a:pt x="601191" y="527962"/>
                </a:lnTo>
                <a:lnTo>
                  <a:pt x="602025" y="524794"/>
                </a:lnTo>
                <a:lnTo>
                  <a:pt x="603275" y="521098"/>
                </a:lnTo>
                <a:lnTo>
                  <a:pt x="604109" y="516346"/>
                </a:lnTo>
                <a:lnTo>
                  <a:pt x="605359" y="511066"/>
                </a:lnTo>
                <a:lnTo>
                  <a:pt x="611195" y="506315"/>
                </a:lnTo>
                <a:lnTo>
                  <a:pt x="616613" y="502091"/>
                </a:lnTo>
                <a:lnTo>
                  <a:pt x="619114" y="500507"/>
                </a:lnTo>
                <a:lnTo>
                  <a:pt x="621615" y="499451"/>
                </a:lnTo>
                <a:lnTo>
                  <a:pt x="624533" y="498395"/>
                </a:lnTo>
                <a:lnTo>
                  <a:pt x="627450" y="498395"/>
                </a:lnTo>
                <a:lnTo>
                  <a:pt x="623699" y="495227"/>
                </a:lnTo>
                <a:lnTo>
                  <a:pt x="619948" y="491003"/>
                </a:lnTo>
                <a:lnTo>
                  <a:pt x="618697" y="489419"/>
                </a:lnTo>
                <a:lnTo>
                  <a:pt x="617447" y="487835"/>
                </a:lnTo>
                <a:lnTo>
                  <a:pt x="616613" y="486251"/>
                </a:lnTo>
                <a:lnTo>
                  <a:pt x="616613" y="484667"/>
                </a:lnTo>
                <a:lnTo>
                  <a:pt x="616613" y="480443"/>
                </a:lnTo>
                <a:lnTo>
                  <a:pt x="617030" y="476747"/>
                </a:lnTo>
                <a:lnTo>
                  <a:pt x="617447" y="474107"/>
                </a:lnTo>
                <a:lnTo>
                  <a:pt x="618697" y="471467"/>
                </a:lnTo>
                <a:lnTo>
                  <a:pt x="621198" y="466715"/>
                </a:lnTo>
                <a:lnTo>
                  <a:pt x="624245" y="462856"/>
                </a:lnTo>
                <a:lnTo>
                  <a:pt x="623490" y="462553"/>
                </a:lnTo>
                <a:lnTo>
                  <a:pt x="622181" y="461502"/>
                </a:lnTo>
                <a:lnTo>
                  <a:pt x="619561" y="460976"/>
                </a:lnTo>
                <a:lnTo>
                  <a:pt x="616505" y="459399"/>
                </a:lnTo>
                <a:lnTo>
                  <a:pt x="613013" y="456771"/>
                </a:lnTo>
                <a:lnTo>
                  <a:pt x="609957" y="454143"/>
                </a:lnTo>
                <a:lnTo>
                  <a:pt x="606464" y="450464"/>
                </a:lnTo>
                <a:lnTo>
                  <a:pt x="604282" y="446785"/>
                </a:lnTo>
                <a:lnTo>
                  <a:pt x="602972" y="444683"/>
                </a:lnTo>
                <a:lnTo>
                  <a:pt x="602535" y="443106"/>
                </a:lnTo>
                <a:lnTo>
                  <a:pt x="602099" y="441004"/>
                </a:lnTo>
                <a:lnTo>
                  <a:pt x="601662" y="439427"/>
                </a:lnTo>
                <a:lnTo>
                  <a:pt x="602535" y="432068"/>
                </a:lnTo>
                <a:lnTo>
                  <a:pt x="605155" y="422608"/>
                </a:lnTo>
                <a:lnTo>
                  <a:pt x="607774" y="412096"/>
                </a:lnTo>
                <a:lnTo>
                  <a:pt x="610393" y="403161"/>
                </a:lnTo>
                <a:lnTo>
                  <a:pt x="615632" y="402635"/>
                </a:lnTo>
                <a:lnTo>
                  <a:pt x="619998" y="402110"/>
                </a:lnTo>
                <a:lnTo>
                  <a:pt x="623927" y="401058"/>
                </a:lnTo>
                <a:lnTo>
                  <a:pt x="626983" y="399482"/>
                </a:lnTo>
                <a:lnTo>
                  <a:pt x="632222" y="396328"/>
                </a:lnTo>
                <a:lnTo>
                  <a:pt x="636588" y="393700"/>
                </a:lnTo>
                <a:lnTo>
                  <a:pt x="638770" y="394751"/>
                </a:lnTo>
                <a:lnTo>
                  <a:pt x="642263" y="397379"/>
                </a:lnTo>
                <a:lnTo>
                  <a:pt x="644446" y="398956"/>
                </a:lnTo>
                <a:lnTo>
                  <a:pt x="646192" y="400533"/>
                </a:lnTo>
                <a:lnTo>
                  <a:pt x="647938" y="402110"/>
                </a:lnTo>
                <a:lnTo>
                  <a:pt x="648375" y="403161"/>
                </a:lnTo>
                <a:lnTo>
                  <a:pt x="645319" y="408417"/>
                </a:lnTo>
                <a:lnTo>
                  <a:pt x="642263" y="413147"/>
                </a:lnTo>
                <a:lnTo>
                  <a:pt x="643136" y="415775"/>
                </a:lnTo>
                <a:lnTo>
                  <a:pt x="644446" y="419454"/>
                </a:lnTo>
                <a:lnTo>
                  <a:pt x="646192" y="423133"/>
                </a:lnTo>
                <a:lnTo>
                  <a:pt x="648375" y="426813"/>
                </a:lnTo>
                <a:lnTo>
                  <a:pt x="651867" y="433120"/>
                </a:lnTo>
                <a:lnTo>
                  <a:pt x="654050" y="435222"/>
                </a:lnTo>
                <a:lnTo>
                  <a:pt x="650994" y="436273"/>
                </a:lnTo>
                <a:lnTo>
                  <a:pt x="648375" y="437850"/>
                </a:lnTo>
                <a:lnTo>
                  <a:pt x="645319" y="439427"/>
                </a:lnTo>
                <a:lnTo>
                  <a:pt x="643573" y="441529"/>
                </a:lnTo>
                <a:lnTo>
                  <a:pt x="640953" y="443632"/>
                </a:lnTo>
                <a:lnTo>
                  <a:pt x="639644" y="445734"/>
                </a:lnTo>
                <a:lnTo>
                  <a:pt x="637461" y="448362"/>
                </a:lnTo>
                <a:lnTo>
                  <a:pt x="636588" y="450990"/>
                </a:lnTo>
                <a:lnTo>
                  <a:pt x="636213" y="452116"/>
                </a:lnTo>
                <a:lnTo>
                  <a:pt x="638175" y="450879"/>
                </a:lnTo>
                <a:lnTo>
                  <a:pt x="641562" y="448743"/>
                </a:lnTo>
                <a:lnTo>
                  <a:pt x="645795" y="447675"/>
                </a:lnTo>
                <a:lnTo>
                  <a:pt x="646219" y="454083"/>
                </a:lnTo>
                <a:lnTo>
                  <a:pt x="646642" y="460491"/>
                </a:lnTo>
                <a:lnTo>
                  <a:pt x="648335" y="465830"/>
                </a:lnTo>
                <a:lnTo>
                  <a:pt x="649605" y="471170"/>
                </a:lnTo>
                <a:lnTo>
                  <a:pt x="652920" y="483716"/>
                </a:lnTo>
                <a:lnTo>
                  <a:pt x="657044" y="487307"/>
                </a:lnTo>
                <a:lnTo>
                  <a:pt x="663296" y="492587"/>
                </a:lnTo>
                <a:lnTo>
                  <a:pt x="668051" y="496602"/>
                </a:lnTo>
                <a:lnTo>
                  <a:pt x="666334" y="492434"/>
                </a:lnTo>
                <a:lnTo>
                  <a:pt x="663367" y="480729"/>
                </a:lnTo>
                <a:lnTo>
                  <a:pt x="661884" y="475326"/>
                </a:lnTo>
                <a:lnTo>
                  <a:pt x="661389" y="469924"/>
                </a:lnTo>
                <a:lnTo>
                  <a:pt x="660895" y="464522"/>
                </a:lnTo>
                <a:lnTo>
                  <a:pt x="660400" y="459120"/>
                </a:lnTo>
                <a:lnTo>
                  <a:pt x="660400" y="451016"/>
                </a:lnTo>
                <a:lnTo>
                  <a:pt x="660400" y="442913"/>
                </a:lnTo>
                <a:lnTo>
                  <a:pt x="663367" y="444714"/>
                </a:lnTo>
                <a:lnTo>
                  <a:pt x="665345" y="445614"/>
                </a:lnTo>
                <a:lnTo>
                  <a:pt x="666828" y="446515"/>
                </a:lnTo>
                <a:lnTo>
                  <a:pt x="669301" y="446515"/>
                </a:lnTo>
                <a:lnTo>
                  <a:pt x="674245" y="445614"/>
                </a:lnTo>
                <a:lnTo>
                  <a:pt x="680673" y="442913"/>
                </a:lnTo>
                <a:lnTo>
                  <a:pt x="686607" y="455518"/>
                </a:lnTo>
                <a:lnTo>
                  <a:pt x="690562" y="464522"/>
                </a:lnTo>
                <a:lnTo>
                  <a:pt x="689573" y="471725"/>
                </a:lnTo>
                <a:lnTo>
                  <a:pt x="688584" y="478928"/>
                </a:lnTo>
                <a:lnTo>
                  <a:pt x="686607" y="485231"/>
                </a:lnTo>
                <a:lnTo>
                  <a:pt x="684134" y="490633"/>
                </a:lnTo>
                <a:lnTo>
                  <a:pt x="683320" y="491868"/>
                </a:lnTo>
                <a:lnTo>
                  <a:pt x="686220" y="489419"/>
                </a:lnTo>
                <a:lnTo>
                  <a:pt x="689555" y="486779"/>
                </a:lnTo>
                <a:lnTo>
                  <a:pt x="692889" y="484139"/>
                </a:lnTo>
                <a:lnTo>
                  <a:pt x="695390" y="483083"/>
                </a:lnTo>
                <a:lnTo>
                  <a:pt x="697474" y="482555"/>
                </a:lnTo>
                <a:lnTo>
                  <a:pt x="699975" y="482027"/>
                </a:lnTo>
                <a:lnTo>
                  <a:pt x="702059" y="481499"/>
                </a:lnTo>
                <a:lnTo>
                  <a:pt x="705810" y="482027"/>
                </a:lnTo>
                <a:lnTo>
                  <a:pt x="708728" y="482027"/>
                </a:lnTo>
                <a:lnTo>
                  <a:pt x="711229" y="483083"/>
                </a:lnTo>
                <a:lnTo>
                  <a:pt x="713730" y="483611"/>
                </a:lnTo>
                <a:lnTo>
                  <a:pt x="717481" y="485723"/>
                </a:lnTo>
                <a:lnTo>
                  <a:pt x="720399" y="487835"/>
                </a:lnTo>
                <a:lnTo>
                  <a:pt x="723316" y="490475"/>
                </a:lnTo>
                <a:lnTo>
                  <a:pt x="726234" y="492587"/>
                </a:lnTo>
                <a:lnTo>
                  <a:pt x="727484" y="493643"/>
                </a:lnTo>
                <a:lnTo>
                  <a:pt x="729152" y="494171"/>
                </a:lnTo>
                <a:lnTo>
                  <a:pt x="730819" y="494699"/>
                </a:lnTo>
                <a:lnTo>
                  <a:pt x="732903" y="494699"/>
                </a:lnTo>
                <a:lnTo>
                  <a:pt x="736237" y="501035"/>
                </a:lnTo>
                <a:lnTo>
                  <a:pt x="739155" y="506842"/>
                </a:lnTo>
                <a:lnTo>
                  <a:pt x="741656" y="512122"/>
                </a:lnTo>
                <a:lnTo>
                  <a:pt x="743740" y="517930"/>
                </a:lnTo>
                <a:lnTo>
                  <a:pt x="747908" y="529546"/>
                </a:lnTo>
                <a:lnTo>
                  <a:pt x="750826" y="540106"/>
                </a:lnTo>
                <a:lnTo>
                  <a:pt x="752910" y="551194"/>
                </a:lnTo>
                <a:lnTo>
                  <a:pt x="755411" y="562282"/>
                </a:lnTo>
                <a:lnTo>
                  <a:pt x="757495" y="573898"/>
                </a:lnTo>
                <a:lnTo>
                  <a:pt x="760412" y="586042"/>
                </a:lnTo>
                <a:lnTo>
                  <a:pt x="755827" y="586569"/>
                </a:lnTo>
                <a:lnTo>
                  <a:pt x="751242" y="587097"/>
                </a:lnTo>
                <a:lnTo>
                  <a:pt x="747491" y="588681"/>
                </a:lnTo>
                <a:lnTo>
                  <a:pt x="743740" y="590265"/>
                </a:lnTo>
                <a:lnTo>
                  <a:pt x="737488" y="594489"/>
                </a:lnTo>
                <a:lnTo>
                  <a:pt x="731652" y="599241"/>
                </a:lnTo>
                <a:lnTo>
                  <a:pt x="728735" y="601353"/>
                </a:lnTo>
                <a:lnTo>
                  <a:pt x="725400" y="603465"/>
                </a:lnTo>
                <a:lnTo>
                  <a:pt x="722066" y="605049"/>
                </a:lnTo>
                <a:lnTo>
                  <a:pt x="717898" y="606105"/>
                </a:lnTo>
                <a:lnTo>
                  <a:pt x="713730" y="607161"/>
                </a:lnTo>
                <a:lnTo>
                  <a:pt x="708728" y="607161"/>
                </a:lnTo>
                <a:lnTo>
                  <a:pt x="703310" y="606633"/>
                </a:lnTo>
                <a:lnTo>
                  <a:pt x="696641" y="605049"/>
                </a:lnTo>
                <a:lnTo>
                  <a:pt x="698758" y="606838"/>
                </a:lnTo>
                <a:lnTo>
                  <a:pt x="704016" y="608013"/>
                </a:lnTo>
                <a:lnTo>
                  <a:pt x="709788" y="608542"/>
                </a:lnTo>
                <a:lnTo>
                  <a:pt x="715116" y="608542"/>
                </a:lnTo>
                <a:lnTo>
                  <a:pt x="720000" y="607484"/>
                </a:lnTo>
                <a:lnTo>
                  <a:pt x="724440" y="606425"/>
                </a:lnTo>
                <a:lnTo>
                  <a:pt x="728880" y="604838"/>
                </a:lnTo>
                <a:lnTo>
                  <a:pt x="731988" y="602721"/>
                </a:lnTo>
                <a:lnTo>
                  <a:pt x="735540" y="600604"/>
                </a:lnTo>
                <a:lnTo>
                  <a:pt x="742200" y="595842"/>
                </a:lnTo>
                <a:lnTo>
                  <a:pt x="749748" y="591608"/>
                </a:lnTo>
                <a:lnTo>
                  <a:pt x="753744" y="590021"/>
                </a:lnTo>
                <a:lnTo>
                  <a:pt x="758184" y="588433"/>
                </a:lnTo>
                <a:lnTo>
                  <a:pt x="763068" y="587904"/>
                </a:lnTo>
                <a:lnTo>
                  <a:pt x="766543" y="587490"/>
                </a:lnTo>
                <a:lnTo>
                  <a:pt x="765279" y="576357"/>
                </a:lnTo>
                <a:lnTo>
                  <a:pt x="763094" y="566392"/>
                </a:lnTo>
                <a:lnTo>
                  <a:pt x="760909" y="556951"/>
                </a:lnTo>
                <a:lnTo>
                  <a:pt x="758724" y="548035"/>
                </a:lnTo>
                <a:lnTo>
                  <a:pt x="753918" y="533349"/>
                </a:lnTo>
                <a:lnTo>
                  <a:pt x="749111" y="520761"/>
                </a:lnTo>
                <a:lnTo>
                  <a:pt x="744742" y="511845"/>
                </a:lnTo>
                <a:lnTo>
                  <a:pt x="741246" y="505551"/>
                </a:lnTo>
                <a:lnTo>
                  <a:pt x="739061" y="501880"/>
                </a:lnTo>
                <a:lnTo>
                  <a:pt x="738187" y="500831"/>
                </a:lnTo>
                <a:lnTo>
                  <a:pt x="740372" y="500307"/>
                </a:lnTo>
                <a:lnTo>
                  <a:pt x="741683" y="499258"/>
                </a:lnTo>
                <a:lnTo>
                  <a:pt x="742994" y="497684"/>
                </a:lnTo>
                <a:lnTo>
                  <a:pt x="742994" y="495062"/>
                </a:lnTo>
                <a:lnTo>
                  <a:pt x="742994" y="493488"/>
                </a:lnTo>
                <a:lnTo>
                  <a:pt x="742994" y="491915"/>
                </a:lnTo>
                <a:lnTo>
                  <a:pt x="742994" y="490866"/>
                </a:lnTo>
                <a:lnTo>
                  <a:pt x="743868" y="490341"/>
                </a:lnTo>
                <a:lnTo>
                  <a:pt x="753044" y="486146"/>
                </a:lnTo>
                <a:lnTo>
                  <a:pt x="762220" y="482474"/>
                </a:lnTo>
                <a:lnTo>
                  <a:pt x="770085" y="479852"/>
                </a:lnTo>
                <a:lnTo>
                  <a:pt x="778387" y="477229"/>
                </a:lnTo>
                <a:lnTo>
                  <a:pt x="794118" y="472509"/>
                </a:lnTo>
                <a:lnTo>
                  <a:pt x="810285" y="468313"/>
                </a:lnTo>
                <a:lnTo>
                  <a:pt x="813781" y="474082"/>
                </a:lnTo>
                <a:lnTo>
                  <a:pt x="818150" y="480376"/>
                </a:lnTo>
                <a:lnTo>
                  <a:pt x="820335" y="482999"/>
                </a:lnTo>
                <a:lnTo>
                  <a:pt x="822957" y="485097"/>
                </a:lnTo>
                <a:lnTo>
                  <a:pt x="826015" y="486670"/>
                </a:lnTo>
                <a:lnTo>
                  <a:pt x="827763" y="487194"/>
                </a:lnTo>
                <a:lnTo>
                  <a:pt x="833881" y="487194"/>
                </a:lnTo>
                <a:lnTo>
                  <a:pt x="838687" y="487194"/>
                </a:lnTo>
                <a:lnTo>
                  <a:pt x="842620" y="487194"/>
                </a:lnTo>
                <a:lnTo>
                  <a:pt x="845679" y="487194"/>
                </a:lnTo>
                <a:lnTo>
                  <a:pt x="851359" y="480901"/>
                </a:lnTo>
                <a:lnTo>
                  <a:pt x="854072" y="483907"/>
                </a:lnTo>
                <a:lnTo>
                  <a:pt x="854075" y="483899"/>
                </a:lnTo>
                <a:lnTo>
                  <a:pt x="856932" y="476423"/>
                </a:lnTo>
                <a:lnTo>
                  <a:pt x="862171" y="462540"/>
                </a:lnTo>
                <a:lnTo>
                  <a:pt x="865028" y="457200"/>
                </a:lnTo>
                <a:lnTo>
                  <a:pt x="895797" y="469558"/>
                </a:lnTo>
                <a:lnTo>
                  <a:pt x="894851" y="465537"/>
                </a:lnTo>
                <a:lnTo>
                  <a:pt x="863600" y="455766"/>
                </a:lnTo>
                <a:lnTo>
                  <a:pt x="865290" y="455224"/>
                </a:lnTo>
                <a:lnTo>
                  <a:pt x="867401" y="454681"/>
                </a:lnTo>
                <a:lnTo>
                  <a:pt x="868668" y="453052"/>
                </a:lnTo>
                <a:lnTo>
                  <a:pt x="869935" y="451424"/>
                </a:lnTo>
                <a:lnTo>
                  <a:pt x="871202" y="449795"/>
                </a:lnTo>
                <a:lnTo>
                  <a:pt x="871624" y="447624"/>
                </a:lnTo>
                <a:lnTo>
                  <a:pt x="872047" y="444910"/>
                </a:lnTo>
                <a:lnTo>
                  <a:pt x="872047" y="442739"/>
                </a:lnTo>
                <a:lnTo>
                  <a:pt x="872047" y="440567"/>
                </a:lnTo>
                <a:lnTo>
                  <a:pt x="871624" y="439482"/>
                </a:lnTo>
                <a:lnTo>
                  <a:pt x="871202" y="439482"/>
                </a:lnTo>
                <a:lnTo>
                  <a:pt x="869935" y="439482"/>
                </a:lnTo>
                <a:lnTo>
                  <a:pt x="869090" y="438939"/>
                </a:lnTo>
                <a:lnTo>
                  <a:pt x="868246" y="438939"/>
                </a:lnTo>
                <a:lnTo>
                  <a:pt x="867401" y="437853"/>
                </a:lnTo>
                <a:lnTo>
                  <a:pt x="866556" y="435139"/>
                </a:lnTo>
                <a:lnTo>
                  <a:pt x="871202" y="434053"/>
                </a:lnTo>
                <a:lnTo>
                  <a:pt x="877959" y="432968"/>
                </a:lnTo>
                <a:lnTo>
                  <a:pt x="885983" y="431882"/>
                </a:lnTo>
                <a:lnTo>
                  <a:pt x="894851" y="430796"/>
                </a:lnTo>
                <a:lnTo>
                  <a:pt x="910055" y="429168"/>
                </a:lnTo>
                <a:lnTo>
                  <a:pt x="916812" y="428625"/>
                </a:lnTo>
                <a:lnTo>
                  <a:pt x="925258" y="429168"/>
                </a:lnTo>
                <a:lnTo>
                  <a:pt x="932437" y="430254"/>
                </a:lnTo>
                <a:lnTo>
                  <a:pt x="938350" y="431882"/>
                </a:lnTo>
                <a:lnTo>
                  <a:pt x="943418" y="433510"/>
                </a:lnTo>
                <a:lnTo>
                  <a:pt x="948908" y="435682"/>
                </a:lnTo>
                <a:lnTo>
                  <a:pt x="954820" y="437853"/>
                </a:lnTo>
                <a:lnTo>
                  <a:pt x="961577" y="438939"/>
                </a:lnTo>
                <a:lnTo>
                  <a:pt x="968907" y="439387"/>
                </a:lnTo>
                <a:lnTo>
                  <a:pt x="968907" y="438372"/>
                </a:lnTo>
                <a:lnTo>
                  <a:pt x="960154" y="437855"/>
                </a:lnTo>
                <a:lnTo>
                  <a:pt x="953152" y="436821"/>
                </a:lnTo>
                <a:lnTo>
                  <a:pt x="947900" y="434754"/>
                </a:lnTo>
                <a:lnTo>
                  <a:pt x="942649" y="432686"/>
                </a:lnTo>
                <a:lnTo>
                  <a:pt x="937835" y="431136"/>
                </a:lnTo>
                <a:lnTo>
                  <a:pt x="931708" y="429585"/>
                </a:lnTo>
                <a:lnTo>
                  <a:pt x="925143" y="428551"/>
                </a:lnTo>
                <a:lnTo>
                  <a:pt x="916391" y="428034"/>
                </a:lnTo>
                <a:lnTo>
                  <a:pt x="909826" y="428551"/>
                </a:lnTo>
                <a:lnTo>
                  <a:pt x="895384" y="430102"/>
                </a:lnTo>
                <a:lnTo>
                  <a:pt x="887069" y="431136"/>
                </a:lnTo>
                <a:lnTo>
                  <a:pt x="879629" y="432169"/>
                </a:lnTo>
                <a:lnTo>
                  <a:pt x="873940" y="433203"/>
                </a:lnTo>
                <a:lnTo>
                  <a:pt x="870001" y="434237"/>
                </a:lnTo>
                <a:lnTo>
                  <a:pt x="867813" y="430619"/>
                </a:lnTo>
                <a:lnTo>
                  <a:pt x="866500" y="426484"/>
                </a:lnTo>
                <a:lnTo>
                  <a:pt x="865625" y="423383"/>
                </a:lnTo>
                <a:lnTo>
                  <a:pt x="865187" y="419765"/>
                </a:lnTo>
                <a:lnTo>
                  <a:pt x="865187" y="416663"/>
                </a:lnTo>
                <a:lnTo>
                  <a:pt x="865625" y="413562"/>
                </a:lnTo>
                <a:lnTo>
                  <a:pt x="866500" y="410461"/>
                </a:lnTo>
                <a:lnTo>
                  <a:pt x="867375" y="407877"/>
                </a:lnTo>
                <a:lnTo>
                  <a:pt x="869126" y="404776"/>
                </a:lnTo>
                <a:lnTo>
                  <a:pt x="870439" y="402191"/>
                </a:lnTo>
                <a:lnTo>
                  <a:pt x="872189" y="400124"/>
                </a:lnTo>
                <a:lnTo>
                  <a:pt x="874378" y="398056"/>
                </a:lnTo>
                <a:lnTo>
                  <a:pt x="879192" y="393922"/>
                </a:lnTo>
                <a:lnTo>
                  <a:pt x="884443" y="390304"/>
                </a:lnTo>
                <a:lnTo>
                  <a:pt x="891445" y="394438"/>
                </a:lnTo>
                <a:lnTo>
                  <a:pt x="901949" y="400641"/>
                </a:lnTo>
                <a:lnTo>
                  <a:pt x="908075" y="403742"/>
                </a:lnTo>
                <a:lnTo>
                  <a:pt x="913765" y="406326"/>
                </a:lnTo>
                <a:lnTo>
                  <a:pt x="918579" y="408911"/>
                </a:lnTo>
                <a:lnTo>
                  <a:pt x="922517" y="409427"/>
                </a:lnTo>
                <a:lnTo>
                  <a:pt x="923830" y="405809"/>
                </a:lnTo>
                <a:lnTo>
                  <a:pt x="926456" y="399090"/>
                </a:lnTo>
                <a:lnTo>
                  <a:pt x="929520" y="391854"/>
                </a:lnTo>
                <a:lnTo>
                  <a:pt x="930833" y="387202"/>
                </a:lnTo>
                <a:lnTo>
                  <a:pt x="936084" y="384618"/>
                </a:lnTo>
                <a:lnTo>
                  <a:pt x="937260" y="383924"/>
                </a:lnTo>
                <a:lnTo>
                  <a:pt x="936454" y="384114"/>
                </a:lnTo>
                <a:lnTo>
                  <a:pt x="930018" y="384618"/>
                </a:lnTo>
                <a:lnTo>
                  <a:pt x="930447" y="381591"/>
                </a:lnTo>
                <a:lnTo>
                  <a:pt x="930447" y="378564"/>
                </a:lnTo>
                <a:lnTo>
                  <a:pt x="929589" y="376545"/>
                </a:lnTo>
                <a:lnTo>
                  <a:pt x="927873" y="375032"/>
                </a:lnTo>
                <a:lnTo>
                  <a:pt x="923153" y="373013"/>
                </a:lnTo>
                <a:lnTo>
                  <a:pt x="917575" y="371500"/>
                </a:lnTo>
                <a:lnTo>
                  <a:pt x="915001" y="370491"/>
                </a:lnTo>
                <a:lnTo>
                  <a:pt x="911998" y="368977"/>
                </a:lnTo>
                <a:lnTo>
                  <a:pt x="908994" y="366959"/>
                </a:lnTo>
                <a:lnTo>
                  <a:pt x="906849" y="364436"/>
                </a:lnTo>
                <a:lnTo>
                  <a:pt x="904275" y="361409"/>
                </a:lnTo>
                <a:lnTo>
                  <a:pt x="902987" y="357877"/>
                </a:lnTo>
                <a:lnTo>
                  <a:pt x="901700" y="352831"/>
                </a:lnTo>
                <a:lnTo>
                  <a:pt x="901700" y="346777"/>
                </a:lnTo>
                <a:lnTo>
                  <a:pt x="901700" y="343245"/>
                </a:lnTo>
                <a:lnTo>
                  <a:pt x="902558" y="339713"/>
                </a:lnTo>
                <a:lnTo>
                  <a:pt x="903846" y="337190"/>
                </a:lnTo>
                <a:lnTo>
                  <a:pt x="905991" y="335172"/>
                </a:lnTo>
                <a:lnTo>
                  <a:pt x="907707" y="333154"/>
                </a:lnTo>
                <a:lnTo>
                  <a:pt x="910710" y="331640"/>
                </a:lnTo>
                <a:lnTo>
                  <a:pt x="913285" y="330631"/>
                </a:lnTo>
                <a:lnTo>
                  <a:pt x="916288" y="329622"/>
                </a:lnTo>
                <a:close/>
                <a:moveTo>
                  <a:pt x="307385" y="327025"/>
                </a:moveTo>
                <a:lnTo>
                  <a:pt x="311262" y="327546"/>
                </a:lnTo>
                <a:lnTo>
                  <a:pt x="316000" y="328067"/>
                </a:lnTo>
                <a:lnTo>
                  <a:pt x="321601" y="329630"/>
                </a:lnTo>
                <a:lnTo>
                  <a:pt x="328924" y="331193"/>
                </a:lnTo>
                <a:lnTo>
                  <a:pt x="337109" y="332756"/>
                </a:lnTo>
                <a:lnTo>
                  <a:pt x="345724" y="333798"/>
                </a:lnTo>
                <a:lnTo>
                  <a:pt x="356494" y="333798"/>
                </a:lnTo>
                <a:lnTo>
                  <a:pt x="356494" y="335882"/>
                </a:lnTo>
                <a:lnTo>
                  <a:pt x="355632" y="337445"/>
                </a:lnTo>
                <a:lnTo>
                  <a:pt x="354770" y="339008"/>
                </a:lnTo>
                <a:lnTo>
                  <a:pt x="353909" y="340571"/>
                </a:lnTo>
                <a:lnTo>
                  <a:pt x="350893" y="343697"/>
                </a:lnTo>
                <a:lnTo>
                  <a:pt x="347447" y="346302"/>
                </a:lnTo>
                <a:lnTo>
                  <a:pt x="339262" y="351512"/>
                </a:lnTo>
                <a:lnTo>
                  <a:pt x="333232" y="356722"/>
                </a:lnTo>
                <a:lnTo>
                  <a:pt x="332801" y="357764"/>
                </a:lnTo>
                <a:lnTo>
                  <a:pt x="332370" y="358806"/>
                </a:lnTo>
                <a:lnTo>
                  <a:pt x="332370" y="359327"/>
                </a:lnTo>
                <a:lnTo>
                  <a:pt x="332801" y="360369"/>
                </a:lnTo>
                <a:lnTo>
                  <a:pt x="334093" y="361411"/>
                </a:lnTo>
                <a:lnTo>
                  <a:pt x="335385" y="361932"/>
                </a:lnTo>
                <a:lnTo>
                  <a:pt x="337970" y="362974"/>
                </a:lnTo>
                <a:lnTo>
                  <a:pt x="340986" y="363495"/>
                </a:lnTo>
                <a:lnTo>
                  <a:pt x="349170" y="365058"/>
                </a:lnTo>
                <a:lnTo>
                  <a:pt x="361232" y="366621"/>
                </a:lnTo>
                <a:lnTo>
                  <a:pt x="376740" y="368184"/>
                </a:lnTo>
                <a:lnTo>
                  <a:pt x="396556" y="369226"/>
                </a:lnTo>
                <a:lnTo>
                  <a:pt x="396556" y="374436"/>
                </a:lnTo>
                <a:lnTo>
                  <a:pt x="396556" y="381729"/>
                </a:lnTo>
                <a:lnTo>
                  <a:pt x="395264" y="383813"/>
                </a:lnTo>
                <a:lnTo>
                  <a:pt x="391817" y="385376"/>
                </a:lnTo>
                <a:lnTo>
                  <a:pt x="387079" y="387460"/>
                </a:lnTo>
                <a:lnTo>
                  <a:pt x="381910" y="389544"/>
                </a:lnTo>
                <a:lnTo>
                  <a:pt x="371140" y="393191"/>
                </a:lnTo>
                <a:lnTo>
                  <a:pt x="364678" y="394754"/>
                </a:lnTo>
                <a:lnTo>
                  <a:pt x="365971" y="396317"/>
                </a:lnTo>
                <a:lnTo>
                  <a:pt x="366832" y="397880"/>
                </a:lnTo>
                <a:lnTo>
                  <a:pt x="368125" y="398922"/>
                </a:lnTo>
                <a:lnTo>
                  <a:pt x="369417" y="399964"/>
                </a:lnTo>
                <a:lnTo>
                  <a:pt x="373725" y="401006"/>
                </a:lnTo>
                <a:lnTo>
                  <a:pt x="378033" y="401527"/>
                </a:lnTo>
                <a:lnTo>
                  <a:pt x="387079" y="401527"/>
                </a:lnTo>
                <a:lnTo>
                  <a:pt x="393541" y="401006"/>
                </a:lnTo>
                <a:lnTo>
                  <a:pt x="393541" y="403611"/>
                </a:lnTo>
                <a:lnTo>
                  <a:pt x="394402" y="406216"/>
                </a:lnTo>
                <a:lnTo>
                  <a:pt x="395694" y="408300"/>
                </a:lnTo>
                <a:lnTo>
                  <a:pt x="396987" y="410905"/>
                </a:lnTo>
                <a:lnTo>
                  <a:pt x="400864" y="416636"/>
                </a:lnTo>
                <a:lnTo>
                  <a:pt x="405172" y="421846"/>
                </a:lnTo>
                <a:lnTo>
                  <a:pt x="409479" y="426535"/>
                </a:lnTo>
                <a:lnTo>
                  <a:pt x="412495" y="431224"/>
                </a:lnTo>
                <a:lnTo>
                  <a:pt x="414218" y="433829"/>
                </a:lnTo>
                <a:lnTo>
                  <a:pt x="415510" y="435913"/>
                </a:lnTo>
                <a:lnTo>
                  <a:pt x="415941" y="437476"/>
                </a:lnTo>
                <a:lnTo>
                  <a:pt x="416372" y="439560"/>
                </a:lnTo>
                <a:lnTo>
                  <a:pt x="416372" y="443207"/>
                </a:lnTo>
                <a:lnTo>
                  <a:pt x="416803" y="447896"/>
                </a:lnTo>
                <a:lnTo>
                  <a:pt x="416803" y="450501"/>
                </a:lnTo>
                <a:lnTo>
                  <a:pt x="417664" y="452585"/>
                </a:lnTo>
                <a:lnTo>
                  <a:pt x="418095" y="454148"/>
                </a:lnTo>
                <a:lnTo>
                  <a:pt x="419387" y="455711"/>
                </a:lnTo>
                <a:lnTo>
                  <a:pt x="421972" y="459358"/>
                </a:lnTo>
                <a:lnTo>
                  <a:pt x="424126" y="463005"/>
                </a:lnTo>
                <a:lnTo>
                  <a:pt x="425418" y="466131"/>
                </a:lnTo>
                <a:lnTo>
                  <a:pt x="426711" y="469256"/>
                </a:lnTo>
                <a:lnTo>
                  <a:pt x="428003" y="472382"/>
                </a:lnTo>
                <a:lnTo>
                  <a:pt x="430157" y="474987"/>
                </a:lnTo>
                <a:lnTo>
                  <a:pt x="432741" y="477071"/>
                </a:lnTo>
                <a:lnTo>
                  <a:pt x="436188" y="478634"/>
                </a:lnTo>
                <a:lnTo>
                  <a:pt x="436618" y="481760"/>
                </a:lnTo>
                <a:lnTo>
                  <a:pt x="438342" y="485407"/>
                </a:lnTo>
                <a:lnTo>
                  <a:pt x="440495" y="488533"/>
                </a:lnTo>
                <a:lnTo>
                  <a:pt x="442649" y="491659"/>
                </a:lnTo>
                <a:lnTo>
                  <a:pt x="445665" y="493743"/>
                </a:lnTo>
                <a:lnTo>
                  <a:pt x="448680" y="495827"/>
                </a:lnTo>
                <a:lnTo>
                  <a:pt x="451265" y="496869"/>
                </a:lnTo>
                <a:lnTo>
                  <a:pt x="453850" y="497390"/>
                </a:lnTo>
                <a:lnTo>
                  <a:pt x="453850" y="502600"/>
                </a:lnTo>
                <a:lnTo>
                  <a:pt x="453850" y="507289"/>
                </a:lnTo>
                <a:lnTo>
                  <a:pt x="457727" y="505726"/>
                </a:lnTo>
                <a:lnTo>
                  <a:pt x="461173" y="504684"/>
                </a:lnTo>
                <a:lnTo>
                  <a:pt x="464188" y="504684"/>
                </a:lnTo>
                <a:lnTo>
                  <a:pt x="466773" y="505205"/>
                </a:lnTo>
                <a:lnTo>
                  <a:pt x="472373" y="507810"/>
                </a:lnTo>
                <a:lnTo>
                  <a:pt x="476250" y="510415"/>
                </a:lnTo>
                <a:lnTo>
                  <a:pt x="475389" y="517188"/>
                </a:lnTo>
                <a:lnTo>
                  <a:pt x="474527" y="522919"/>
                </a:lnTo>
                <a:lnTo>
                  <a:pt x="474096" y="526045"/>
                </a:lnTo>
                <a:lnTo>
                  <a:pt x="474096" y="529692"/>
                </a:lnTo>
                <a:lnTo>
                  <a:pt x="474958" y="532818"/>
                </a:lnTo>
                <a:lnTo>
                  <a:pt x="476250" y="535944"/>
                </a:lnTo>
                <a:lnTo>
                  <a:pt x="474096" y="536465"/>
                </a:lnTo>
                <a:lnTo>
                  <a:pt x="471512" y="536986"/>
                </a:lnTo>
                <a:lnTo>
                  <a:pt x="469358" y="537507"/>
                </a:lnTo>
                <a:lnTo>
                  <a:pt x="466773" y="538549"/>
                </a:lnTo>
                <a:lnTo>
                  <a:pt x="465050" y="540112"/>
                </a:lnTo>
                <a:lnTo>
                  <a:pt x="463758" y="541675"/>
                </a:lnTo>
                <a:lnTo>
                  <a:pt x="462896" y="543238"/>
                </a:lnTo>
                <a:lnTo>
                  <a:pt x="462034" y="545843"/>
                </a:lnTo>
                <a:lnTo>
                  <a:pt x="462034" y="546885"/>
                </a:lnTo>
                <a:lnTo>
                  <a:pt x="462896" y="547927"/>
                </a:lnTo>
                <a:lnTo>
                  <a:pt x="463327" y="548969"/>
                </a:lnTo>
                <a:lnTo>
                  <a:pt x="464188" y="550532"/>
                </a:lnTo>
                <a:lnTo>
                  <a:pt x="466773" y="552616"/>
                </a:lnTo>
                <a:lnTo>
                  <a:pt x="470650" y="555221"/>
                </a:lnTo>
                <a:lnTo>
                  <a:pt x="466773" y="557826"/>
                </a:lnTo>
                <a:lnTo>
                  <a:pt x="464619" y="559909"/>
                </a:lnTo>
                <a:lnTo>
                  <a:pt x="462896" y="561993"/>
                </a:lnTo>
                <a:lnTo>
                  <a:pt x="461173" y="564077"/>
                </a:lnTo>
                <a:lnTo>
                  <a:pt x="459450" y="568245"/>
                </a:lnTo>
                <a:lnTo>
                  <a:pt x="456434" y="574497"/>
                </a:lnTo>
                <a:lnTo>
                  <a:pt x="367694" y="574497"/>
                </a:lnTo>
                <a:lnTo>
                  <a:pt x="367694" y="580749"/>
                </a:lnTo>
                <a:lnTo>
                  <a:pt x="367694" y="587522"/>
                </a:lnTo>
                <a:lnTo>
                  <a:pt x="354770" y="588043"/>
                </a:lnTo>
                <a:lnTo>
                  <a:pt x="343570" y="589085"/>
                </a:lnTo>
                <a:lnTo>
                  <a:pt x="338401" y="590127"/>
                </a:lnTo>
                <a:lnTo>
                  <a:pt x="334093" y="591690"/>
                </a:lnTo>
                <a:lnTo>
                  <a:pt x="332370" y="592732"/>
                </a:lnTo>
                <a:lnTo>
                  <a:pt x="330216" y="593774"/>
                </a:lnTo>
                <a:lnTo>
                  <a:pt x="328924" y="595337"/>
                </a:lnTo>
                <a:lnTo>
                  <a:pt x="327631" y="596900"/>
                </a:lnTo>
                <a:lnTo>
                  <a:pt x="328062" y="593253"/>
                </a:lnTo>
                <a:lnTo>
                  <a:pt x="328493" y="590127"/>
                </a:lnTo>
                <a:lnTo>
                  <a:pt x="328924" y="587001"/>
                </a:lnTo>
                <a:lnTo>
                  <a:pt x="329785" y="583875"/>
                </a:lnTo>
                <a:lnTo>
                  <a:pt x="331078" y="581270"/>
                </a:lnTo>
                <a:lnTo>
                  <a:pt x="332370" y="579186"/>
                </a:lnTo>
                <a:lnTo>
                  <a:pt x="334093" y="577102"/>
                </a:lnTo>
                <a:lnTo>
                  <a:pt x="335385" y="575018"/>
                </a:lnTo>
                <a:lnTo>
                  <a:pt x="339693" y="571892"/>
                </a:lnTo>
                <a:lnTo>
                  <a:pt x="344001" y="569287"/>
                </a:lnTo>
                <a:lnTo>
                  <a:pt x="348740" y="567724"/>
                </a:lnTo>
                <a:lnTo>
                  <a:pt x="353909" y="565640"/>
                </a:lnTo>
                <a:lnTo>
                  <a:pt x="363386" y="563035"/>
                </a:lnTo>
                <a:lnTo>
                  <a:pt x="372432" y="560430"/>
                </a:lnTo>
                <a:lnTo>
                  <a:pt x="375879" y="558346"/>
                </a:lnTo>
                <a:lnTo>
                  <a:pt x="378894" y="555742"/>
                </a:lnTo>
                <a:lnTo>
                  <a:pt x="379756" y="554179"/>
                </a:lnTo>
                <a:lnTo>
                  <a:pt x="381048" y="552616"/>
                </a:lnTo>
                <a:lnTo>
                  <a:pt x="381910" y="550532"/>
                </a:lnTo>
                <a:lnTo>
                  <a:pt x="381910" y="550011"/>
                </a:lnTo>
                <a:lnTo>
                  <a:pt x="381048" y="551053"/>
                </a:lnTo>
                <a:lnTo>
                  <a:pt x="379756" y="552095"/>
                </a:lnTo>
                <a:lnTo>
                  <a:pt x="378463" y="553137"/>
                </a:lnTo>
                <a:lnTo>
                  <a:pt x="374586" y="554700"/>
                </a:lnTo>
                <a:lnTo>
                  <a:pt x="370279" y="555221"/>
                </a:lnTo>
                <a:lnTo>
                  <a:pt x="363817" y="554700"/>
                </a:lnTo>
                <a:lnTo>
                  <a:pt x="352617" y="552095"/>
                </a:lnTo>
                <a:lnTo>
                  <a:pt x="346155" y="550532"/>
                </a:lnTo>
                <a:lnTo>
                  <a:pt x="340986" y="548448"/>
                </a:lnTo>
                <a:lnTo>
                  <a:pt x="339262" y="547406"/>
                </a:lnTo>
                <a:lnTo>
                  <a:pt x="337539" y="545843"/>
                </a:lnTo>
                <a:lnTo>
                  <a:pt x="336247" y="544280"/>
                </a:lnTo>
                <a:lnTo>
                  <a:pt x="336247" y="542717"/>
                </a:lnTo>
                <a:lnTo>
                  <a:pt x="336247" y="539070"/>
                </a:lnTo>
                <a:lnTo>
                  <a:pt x="337970" y="536465"/>
                </a:lnTo>
                <a:lnTo>
                  <a:pt x="339262" y="534381"/>
                </a:lnTo>
                <a:lnTo>
                  <a:pt x="340986" y="532818"/>
                </a:lnTo>
                <a:lnTo>
                  <a:pt x="343570" y="531255"/>
                </a:lnTo>
                <a:lnTo>
                  <a:pt x="345724" y="530734"/>
                </a:lnTo>
                <a:lnTo>
                  <a:pt x="348309" y="530213"/>
                </a:lnTo>
                <a:lnTo>
                  <a:pt x="350463" y="529692"/>
                </a:lnTo>
                <a:lnTo>
                  <a:pt x="350463" y="510415"/>
                </a:lnTo>
                <a:lnTo>
                  <a:pt x="342278" y="510415"/>
                </a:lnTo>
                <a:lnTo>
                  <a:pt x="343570" y="506768"/>
                </a:lnTo>
                <a:lnTo>
                  <a:pt x="345293" y="503642"/>
                </a:lnTo>
                <a:lnTo>
                  <a:pt x="347878" y="501037"/>
                </a:lnTo>
                <a:lnTo>
                  <a:pt x="350032" y="498432"/>
                </a:lnTo>
                <a:lnTo>
                  <a:pt x="355201" y="495306"/>
                </a:lnTo>
                <a:lnTo>
                  <a:pt x="360371" y="493222"/>
                </a:lnTo>
                <a:lnTo>
                  <a:pt x="365971" y="491138"/>
                </a:lnTo>
                <a:lnTo>
                  <a:pt x="371140" y="488012"/>
                </a:lnTo>
                <a:lnTo>
                  <a:pt x="373294" y="486449"/>
                </a:lnTo>
                <a:lnTo>
                  <a:pt x="375017" y="484365"/>
                </a:lnTo>
                <a:lnTo>
                  <a:pt x="377602" y="481760"/>
                </a:lnTo>
                <a:lnTo>
                  <a:pt x="378894" y="478634"/>
                </a:lnTo>
                <a:lnTo>
                  <a:pt x="376309" y="476029"/>
                </a:lnTo>
                <a:lnTo>
                  <a:pt x="373294" y="473424"/>
                </a:lnTo>
                <a:lnTo>
                  <a:pt x="371140" y="471340"/>
                </a:lnTo>
                <a:lnTo>
                  <a:pt x="368555" y="468215"/>
                </a:lnTo>
                <a:lnTo>
                  <a:pt x="367263" y="465089"/>
                </a:lnTo>
                <a:lnTo>
                  <a:pt x="365971" y="462484"/>
                </a:lnTo>
                <a:lnTo>
                  <a:pt x="365109" y="459358"/>
                </a:lnTo>
                <a:lnTo>
                  <a:pt x="364678" y="455711"/>
                </a:lnTo>
                <a:lnTo>
                  <a:pt x="358647" y="455711"/>
                </a:lnTo>
                <a:lnTo>
                  <a:pt x="353478" y="454669"/>
                </a:lnTo>
                <a:lnTo>
                  <a:pt x="349170" y="453106"/>
                </a:lnTo>
                <a:lnTo>
                  <a:pt x="345293" y="451543"/>
                </a:lnTo>
                <a:lnTo>
                  <a:pt x="342709" y="449459"/>
                </a:lnTo>
                <a:lnTo>
                  <a:pt x="340555" y="446333"/>
                </a:lnTo>
                <a:lnTo>
                  <a:pt x="339262" y="443728"/>
                </a:lnTo>
                <a:lnTo>
                  <a:pt x="339262" y="439560"/>
                </a:lnTo>
                <a:lnTo>
                  <a:pt x="339262" y="435913"/>
                </a:lnTo>
                <a:lnTo>
                  <a:pt x="340124" y="432787"/>
                </a:lnTo>
                <a:lnTo>
                  <a:pt x="341847" y="430182"/>
                </a:lnTo>
                <a:lnTo>
                  <a:pt x="343570" y="427056"/>
                </a:lnTo>
                <a:lnTo>
                  <a:pt x="344863" y="423930"/>
                </a:lnTo>
                <a:lnTo>
                  <a:pt x="346155" y="420804"/>
                </a:lnTo>
                <a:lnTo>
                  <a:pt x="347447" y="417678"/>
                </a:lnTo>
                <a:lnTo>
                  <a:pt x="347878" y="414552"/>
                </a:lnTo>
                <a:lnTo>
                  <a:pt x="344432" y="416115"/>
                </a:lnTo>
                <a:lnTo>
                  <a:pt x="341847" y="418199"/>
                </a:lnTo>
                <a:lnTo>
                  <a:pt x="339262" y="420804"/>
                </a:lnTo>
                <a:lnTo>
                  <a:pt x="336247" y="423930"/>
                </a:lnTo>
                <a:lnTo>
                  <a:pt x="332370" y="430703"/>
                </a:lnTo>
                <a:lnTo>
                  <a:pt x="327631" y="436434"/>
                </a:lnTo>
                <a:lnTo>
                  <a:pt x="318154" y="420283"/>
                </a:lnTo>
                <a:lnTo>
                  <a:pt x="314277" y="411426"/>
                </a:lnTo>
                <a:lnTo>
                  <a:pt x="313416" y="408821"/>
                </a:lnTo>
                <a:lnTo>
                  <a:pt x="313416" y="406737"/>
                </a:lnTo>
                <a:lnTo>
                  <a:pt x="313416" y="404132"/>
                </a:lnTo>
                <a:lnTo>
                  <a:pt x="313416" y="401006"/>
                </a:lnTo>
                <a:lnTo>
                  <a:pt x="312123" y="400485"/>
                </a:lnTo>
                <a:lnTo>
                  <a:pt x="311693" y="398922"/>
                </a:lnTo>
                <a:lnTo>
                  <a:pt x="311262" y="397359"/>
                </a:lnTo>
                <a:lnTo>
                  <a:pt x="310831" y="395275"/>
                </a:lnTo>
                <a:lnTo>
                  <a:pt x="310831" y="390065"/>
                </a:lnTo>
                <a:lnTo>
                  <a:pt x="311262" y="384334"/>
                </a:lnTo>
                <a:lnTo>
                  <a:pt x="312123" y="370789"/>
                </a:lnTo>
                <a:lnTo>
                  <a:pt x="313416" y="359848"/>
                </a:lnTo>
                <a:lnTo>
                  <a:pt x="313846" y="357764"/>
                </a:lnTo>
                <a:lnTo>
                  <a:pt x="313846" y="355680"/>
                </a:lnTo>
                <a:lnTo>
                  <a:pt x="313416" y="353596"/>
                </a:lnTo>
                <a:lnTo>
                  <a:pt x="312985" y="352554"/>
                </a:lnTo>
                <a:lnTo>
                  <a:pt x="311262" y="350470"/>
                </a:lnTo>
                <a:lnTo>
                  <a:pt x="309539" y="349428"/>
                </a:lnTo>
                <a:lnTo>
                  <a:pt x="307385" y="348386"/>
                </a:lnTo>
                <a:lnTo>
                  <a:pt x="306523" y="347865"/>
                </a:lnTo>
                <a:lnTo>
                  <a:pt x="306092" y="347344"/>
                </a:lnTo>
                <a:lnTo>
                  <a:pt x="307385" y="346302"/>
                </a:lnTo>
                <a:lnTo>
                  <a:pt x="310400" y="341613"/>
                </a:lnTo>
                <a:lnTo>
                  <a:pt x="313416" y="336924"/>
                </a:lnTo>
                <a:lnTo>
                  <a:pt x="313416" y="333798"/>
                </a:lnTo>
                <a:lnTo>
                  <a:pt x="309539" y="332756"/>
                </a:lnTo>
                <a:lnTo>
                  <a:pt x="306954" y="332235"/>
                </a:lnTo>
                <a:lnTo>
                  <a:pt x="306092" y="331714"/>
                </a:lnTo>
                <a:lnTo>
                  <a:pt x="305231" y="330672"/>
                </a:lnTo>
                <a:lnTo>
                  <a:pt x="304800" y="329630"/>
                </a:lnTo>
                <a:lnTo>
                  <a:pt x="304800" y="327546"/>
                </a:lnTo>
                <a:close/>
                <a:moveTo>
                  <a:pt x="299171" y="250825"/>
                </a:moveTo>
                <a:lnTo>
                  <a:pt x="300614" y="260043"/>
                </a:lnTo>
                <a:lnTo>
                  <a:pt x="301769" y="272948"/>
                </a:lnTo>
                <a:lnTo>
                  <a:pt x="302923" y="291383"/>
                </a:lnTo>
                <a:lnTo>
                  <a:pt x="303212" y="307975"/>
                </a:lnTo>
                <a:lnTo>
                  <a:pt x="301480" y="306132"/>
                </a:lnTo>
                <a:lnTo>
                  <a:pt x="300037" y="302444"/>
                </a:lnTo>
                <a:lnTo>
                  <a:pt x="298305" y="296914"/>
                </a:lnTo>
                <a:lnTo>
                  <a:pt x="296862" y="291383"/>
                </a:lnTo>
                <a:lnTo>
                  <a:pt x="294553" y="278478"/>
                </a:lnTo>
                <a:lnTo>
                  <a:pt x="293687" y="272948"/>
                </a:lnTo>
                <a:close/>
                <a:moveTo>
                  <a:pt x="701061" y="203656"/>
                </a:moveTo>
                <a:lnTo>
                  <a:pt x="698462" y="204181"/>
                </a:lnTo>
                <a:lnTo>
                  <a:pt x="692397" y="204705"/>
                </a:lnTo>
                <a:lnTo>
                  <a:pt x="686331" y="205230"/>
                </a:lnTo>
                <a:lnTo>
                  <a:pt x="686024" y="206366"/>
                </a:lnTo>
                <a:lnTo>
                  <a:pt x="689968" y="206034"/>
                </a:lnTo>
                <a:lnTo>
                  <a:pt x="696162" y="205511"/>
                </a:lnTo>
                <a:lnTo>
                  <a:pt x="698817" y="204989"/>
                </a:lnTo>
                <a:lnTo>
                  <a:pt x="701029" y="204989"/>
                </a:lnTo>
                <a:lnTo>
                  <a:pt x="702799" y="205511"/>
                </a:lnTo>
                <a:lnTo>
                  <a:pt x="704127" y="206556"/>
                </a:lnTo>
                <a:lnTo>
                  <a:pt x="704264" y="203970"/>
                </a:lnTo>
                <a:lnTo>
                  <a:pt x="703227" y="203656"/>
                </a:lnTo>
                <a:close/>
                <a:moveTo>
                  <a:pt x="47389" y="180976"/>
                </a:moveTo>
                <a:lnTo>
                  <a:pt x="68525" y="182952"/>
                </a:lnTo>
                <a:lnTo>
                  <a:pt x="87260" y="186905"/>
                </a:lnTo>
                <a:lnTo>
                  <a:pt x="96867" y="188881"/>
                </a:lnTo>
                <a:lnTo>
                  <a:pt x="105513" y="187893"/>
                </a:lnTo>
                <a:lnTo>
                  <a:pt x="109837" y="186905"/>
                </a:lnTo>
                <a:lnTo>
                  <a:pt x="113199" y="185917"/>
                </a:lnTo>
                <a:lnTo>
                  <a:pt x="117042" y="183940"/>
                </a:lnTo>
                <a:lnTo>
                  <a:pt x="120885" y="180976"/>
                </a:lnTo>
                <a:lnTo>
                  <a:pt x="120885" y="189869"/>
                </a:lnTo>
                <a:lnTo>
                  <a:pt x="120885" y="205679"/>
                </a:lnTo>
                <a:lnTo>
                  <a:pt x="116081" y="211608"/>
                </a:lnTo>
                <a:lnTo>
                  <a:pt x="111278" y="216548"/>
                </a:lnTo>
                <a:lnTo>
                  <a:pt x="106955" y="220501"/>
                </a:lnTo>
                <a:lnTo>
                  <a:pt x="102151" y="224453"/>
                </a:lnTo>
                <a:lnTo>
                  <a:pt x="98308" y="226430"/>
                </a:lnTo>
                <a:lnTo>
                  <a:pt x="94945" y="228406"/>
                </a:lnTo>
                <a:lnTo>
                  <a:pt x="91583" y="229394"/>
                </a:lnTo>
                <a:lnTo>
                  <a:pt x="89181" y="229394"/>
                </a:lnTo>
                <a:lnTo>
                  <a:pt x="81975" y="228406"/>
                </a:lnTo>
                <a:lnTo>
                  <a:pt x="76211" y="226430"/>
                </a:lnTo>
                <a:lnTo>
                  <a:pt x="71407" y="223465"/>
                </a:lnTo>
                <a:lnTo>
                  <a:pt x="67084" y="218525"/>
                </a:lnTo>
                <a:lnTo>
                  <a:pt x="57957" y="209632"/>
                </a:lnTo>
                <a:lnTo>
                  <a:pt x="47389" y="199750"/>
                </a:lnTo>
                <a:close/>
                <a:moveTo>
                  <a:pt x="946659" y="0"/>
                </a:moveTo>
                <a:lnTo>
                  <a:pt x="960955" y="0"/>
                </a:lnTo>
                <a:lnTo>
                  <a:pt x="961388" y="2661"/>
                </a:lnTo>
                <a:lnTo>
                  <a:pt x="962688" y="4790"/>
                </a:lnTo>
                <a:lnTo>
                  <a:pt x="964854" y="5854"/>
                </a:lnTo>
                <a:lnTo>
                  <a:pt x="966587" y="6387"/>
                </a:lnTo>
                <a:lnTo>
                  <a:pt x="968753" y="5854"/>
                </a:lnTo>
                <a:lnTo>
                  <a:pt x="971785" y="4790"/>
                </a:lnTo>
                <a:lnTo>
                  <a:pt x="973085" y="3726"/>
                </a:lnTo>
                <a:lnTo>
                  <a:pt x="974385" y="2661"/>
                </a:lnTo>
                <a:lnTo>
                  <a:pt x="975251" y="1597"/>
                </a:lnTo>
                <a:lnTo>
                  <a:pt x="975251" y="0"/>
                </a:lnTo>
                <a:lnTo>
                  <a:pt x="977417" y="1597"/>
                </a:lnTo>
                <a:lnTo>
                  <a:pt x="979583" y="3193"/>
                </a:lnTo>
                <a:lnTo>
                  <a:pt x="981316" y="3726"/>
                </a:lnTo>
                <a:lnTo>
                  <a:pt x="983049" y="4258"/>
                </a:lnTo>
                <a:lnTo>
                  <a:pt x="986948" y="4258"/>
                </a:lnTo>
                <a:lnTo>
                  <a:pt x="990847" y="3726"/>
                </a:lnTo>
                <a:lnTo>
                  <a:pt x="997345" y="1597"/>
                </a:lnTo>
                <a:lnTo>
                  <a:pt x="1004277" y="0"/>
                </a:lnTo>
                <a:lnTo>
                  <a:pt x="1011208" y="532"/>
                </a:lnTo>
                <a:lnTo>
                  <a:pt x="1018573" y="1064"/>
                </a:lnTo>
                <a:lnTo>
                  <a:pt x="1024638" y="2129"/>
                </a:lnTo>
                <a:lnTo>
                  <a:pt x="1031136" y="3193"/>
                </a:lnTo>
                <a:lnTo>
                  <a:pt x="1038068" y="4790"/>
                </a:lnTo>
                <a:lnTo>
                  <a:pt x="1044566" y="5854"/>
                </a:lnTo>
                <a:lnTo>
                  <a:pt x="1051064" y="6387"/>
                </a:lnTo>
                <a:lnTo>
                  <a:pt x="1058862" y="6387"/>
                </a:lnTo>
                <a:lnTo>
                  <a:pt x="1058862" y="23418"/>
                </a:lnTo>
                <a:lnTo>
                  <a:pt x="1058429" y="26079"/>
                </a:lnTo>
                <a:lnTo>
                  <a:pt x="1057129" y="29272"/>
                </a:lnTo>
                <a:lnTo>
                  <a:pt x="1055830" y="30869"/>
                </a:lnTo>
                <a:lnTo>
                  <a:pt x="1054963" y="31933"/>
                </a:lnTo>
                <a:lnTo>
                  <a:pt x="1054097" y="32466"/>
                </a:lnTo>
                <a:lnTo>
                  <a:pt x="1053230" y="32998"/>
                </a:lnTo>
                <a:lnTo>
                  <a:pt x="1044566" y="32998"/>
                </a:lnTo>
                <a:lnTo>
                  <a:pt x="1038068" y="31933"/>
                </a:lnTo>
                <a:lnTo>
                  <a:pt x="1034602" y="30337"/>
                </a:lnTo>
                <a:lnTo>
                  <a:pt x="1031570" y="28740"/>
                </a:lnTo>
                <a:lnTo>
                  <a:pt x="1029403" y="26611"/>
                </a:lnTo>
                <a:lnTo>
                  <a:pt x="1026804" y="23418"/>
                </a:lnTo>
                <a:lnTo>
                  <a:pt x="1001244" y="23418"/>
                </a:lnTo>
                <a:lnTo>
                  <a:pt x="1004710" y="30869"/>
                </a:lnTo>
                <a:lnTo>
                  <a:pt x="1007743" y="37256"/>
                </a:lnTo>
                <a:lnTo>
                  <a:pt x="1012075" y="43110"/>
                </a:lnTo>
                <a:lnTo>
                  <a:pt x="1016407" y="47368"/>
                </a:lnTo>
                <a:lnTo>
                  <a:pt x="1021172" y="51094"/>
                </a:lnTo>
                <a:lnTo>
                  <a:pt x="1026371" y="54287"/>
                </a:lnTo>
                <a:lnTo>
                  <a:pt x="1032003" y="56948"/>
                </a:lnTo>
                <a:lnTo>
                  <a:pt x="1038501" y="59077"/>
                </a:lnTo>
                <a:lnTo>
                  <a:pt x="1035902" y="63335"/>
                </a:lnTo>
                <a:lnTo>
                  <a:pt x="1033736" y="67060"/>
                </a:lnTo>
                <a:lnTo>
                  <a:pt x="1030703" y="70254"/>
                </a:lnTo>
                <a:lnTo>
                  <a:pt x="1028104" y="72383"/>
                </a:lnTo>
                <a:lnTo>
                  <a:pt x="1024205" y="73979"/>
                </a:lnTo>
                <a:lnTo>
                  <a:pt x="1020739" y="75044"/>
                </a:lnTo>
                <a:lnTo>
                  <a:pt x="1016840" y="75576"/>
                </a:lnTo>
                <a:lnTo>
                  <a:pt x="1012508" y="75576"/>
                </a:lnTo>
                <a:lnTo>
                  <a:pt x="1009475" y="75576"/>
                </a:lnTo>
                <a:lnTo>
                  <a:pt x="1006876" y="75044"/>
                </a:lnTo>
                <a:lnTo>
                  <a:pt x="1004710" y="73979"/>
                </a:lnTo>
                <a:lnTo>
                  <a:pt x="1002544" y="72383"/>
                </a:lnTo>
                <a:lnTo>
                  <a:pt x="1000811" y="71318"/>
                </a:lnTo>
                <a:lnTo>
                  <a:pt x="999511" y="70254"/>
                </a:lnTo>
                <a:lnTo>
                  <a:pt x="997345" y="69721"/>
                </a:lnTo>
                <a:lnTo>
                  <a:pt x="995179" y="69189"/>
                </a:lnTo>
                <a:lnTo>
                  <a:pt x="993013" y="68125"/>
                </a:lnTo>
                <a:lnTo>
                  <a:pt x="991280" y="66528"/>
                </a:lnTo>
                <a:lnTo>
                  <a:pt x="989114" y="64399"/>
                </a:lnTo>
                <a:lnTo>
                  <a:pt x="987381" y="61738"/>
                </a:lnTo>
                <a:lnTo>
                  <a:pt x="986082" y="58545"/>
                </a:lnTo>
                <a:lnTo>
                  <a:pt x="984782" y="55351"/>
                </a:lnTo>
                <a:lnTo>
                  <a:pt x="984349" y="52158"/>
                </a:lnTo>
                <a:lnTo>
                  <a:pt x="983482" y="49497"/>
                </a:lnTo>
                <a:lnTo>
                  <a:pt x="980450" y="48965"/>
                </a:lnTo>
                <a:lnTo>
                  <a:pt x="977417" y="47900"/>
                </a:lnTo>
                <a:lnTo>
                  <a:pt x="976820" y="47586"/>
                </a:lnTo>
                <a:lnTo>
                  <a:pt x="976164" y="48909"/>
                </a:lnTo>
                <a:lnTo>
                  <a:pt x="974864" y="51008"/>
                </a:lnTo>
                <a:lnTo>
                  <a:pt x="973998" y="53630"/>
                </a:lnTo>
                <a:lnTo>
                  <a:pt x="973998" y="56253"/>
                </a:lnTo>
                <a:lnTo>
                  <a:pt x="968799" y="55729"/>
                </a:lnTo>
                <a:lnTo>
                  <a:pt x="963600" y="54155"/>
                </a:lnTo>
                <a:lnTo>
                  <a:pt x="958834" y="52057"/>
                </a:lnTo>
                <a:lnTo>
                  <a:pt x="956793" y="50933"/>
                </a:lnTo>
                <a:lnTo>
                  <a:pt x="959587" y="53308"/>
                </a:lnTo>
                <a:lnTo>
                  <a:pt x="963965" y="55393"/>
                </a:lnTo>
                <a:lnTo>
                  <a:pt x="967906" y="56956"/>
                </a:lnTo>
                <a:lnTo>
                  <a:pt x="972284" y="57477"/>
                </a:lnTo>
                <a:lnTo>
                  <a:pt x="963527" y="76757"/>
                </a:lnTo>
                <a:lnTo>
                  <a:pt x="965279" y="79363"/>
                </a:lnTo>
                <a:lnTo>
                  <a:pt x="967030" y="81968"/>
                </a:lnTo>
                <a:lnTo>
                  <a:pt x="969219" y="84574"/>
                </a:lnTo>
                <a:lnTo>
                  <a:pt x="971408" y="87179"/>
                </a:lnTo>
                <a:lnTo>
                  <a:pt x="976224" y="90306"/>
                </a:lnTo>
                <a:lnTo>
                  <a:pt x="981040" y="93432"/>
                </a:lnTo>
                <a:lnTo>
                  <a:pt x="990672" y="98122"/>
                </a:lnTo>
                <a:lnTo>
                  <a:pt x="998115" y="102291"/>
                </a:lnTo>
                <a:lnTo>
                  <a:pt x="997240" y="106459"/>
                </a:lnTo>
                <a:lnTo>
                  <a:pt x="995926" y="110107"/>
                </a:lnTo>
                <a:lnTo>
                  <a:pt x="994613" y="112712"/>
                </a:lnTo>
                <a:lnTo>
                  <a:pt x="992861" y="114797"/>
                </a:lnTo>
                <a:lnTo>
                  <a:pt x="991548" y="117923"/>
                </a:lnTo>
                <a:lnTo>
                  <a:pt x="990672" y="120529"/>
                </a:lnTo>
                <a:lnTo>
                  <a:pt x="990235" y="124176"/>
                </a:lnTo>
                <a:lnTo>
                  <a:pt x="989797" y="128345"/>
                </a:lnTo>
                <a:lnTo>
                  <a:pt x="990235" y="131993"/>
                </a:lnTo>
                <a:lnTo>
                  <a:pt x="991986" y="136161"/>
                </a:lnTo>
                <a:lnTo>
                  <a:pt x="994613" y="140330"/>
                </a:lnTo>
                <a:lnTo>
                  <a:pt x="997240" y="145020"/>
                </a:lnTo>
                <a:lnTo>
                  <a:pt x="1000304" y="148667"/>
                </a:lnTo>
                <a:lnTo>
                  <a:pt x="1002931" y="151273"/>
                </a:lnTo>
                <a:lnTo>
                  <a:pt x="1005558" y="153357"/>
                </a:lnTo>
                <a:lnTo>
                  <a:pt x="1006872" y="153878"/>
                </a:lnTo>
                <a:lnTo>
                  <a:pt x="1007310" y="162216"/>
                </a:lnTo>
                <a:lnTo>
                  <a:pt x="1008185" y="170032"/>
                </a:lnTo>
                <a:lnTo>
                  <a:pt x="1010374" y="177848"/>
                </a:lnTo>
                <a:lnTo>
                  <a:pt x="1012563" y="184102"/>
                </a:lnTo>
                <a:lnTo>
                  <a:pt x="1015190" y="189834"/>
                </a:lnTo>
                <a:lnTo>
                  <a:pt x="1018255" y="195044"/>
                </a:lnTo>
                <a:lnTo>
                  <a:pt x="1022195" y="199734"/>
                </a:lnTo>
                <a:lnTo>
                  <a:pt x="1026136" y="204424"/>
                </a:lnTo>
                <a:lnTo>
                  <a:pt x="1030514" y="208593"/>
                </a:lnTo>
                <a:lnTo>
                  <a:pt x="1034892" y="212240"/>
                </a:lnTo>
                <a:lnTo>
                  <a:pt x="1039271" y="215888"/>
                </a:lnTo>
                <a:lnTo>
                  <a:pt x="1044087" y="219014"/>
                </a:lnTo>
                <a:lnTo>
                  <a:pt x="1053719" y="224746"/>
                </a:lnTo>
                <a:lnTo>
                  <a:pt x="1062037" y="230478"/>
                </a:lnTo>
                <a:lnTo>
                  <a:pt x="1045400" y="247674"/>
                </a:lnTo>
                <a:lnTo>
                  <a:pt x="1029638" y="265391"/>
                </a:lnTo>
                <a:lnTo>
                  <a:pt x="1022195" y="273729"/>
                </a:lnTo>
                <a:lnTo>
                  <a:pt x="1015190" y="282587"/>
                </a:lnTo>
                <a:lnTo>
                  <a:pt x="1007747" y="292488"/>
                </a:lnTo>
                <a:lnTo>
                  <a:pt x="1001180" y="301346"/>
                </a:lnTo>
                <a:lnTo>
                  <a:pt x="996802" y="301346"/>
                </a:lnTo>
                <a:lnTo>
                  <a:pt x="992424" y="301346"/>
                </a:lnTo>
                <a:lnTo>
                  <a:pt x="957836" y="301346"/>
                </a:lnTo>
                <a:lnTo>
                  <a:pt x="956084" y="304994"/>
                </a:lnTo>
                <a:lnTo>
                  <a:pt x="953458" y="307599"/>
                </a:lnTo>
                <a:lnTo>
                  <a:pt x="950831" y="310205"/>
                </a:lnTo>
                <a:lnTo>
                  <a:pt x="947766" y="311768"/>
                </a:lnTo>
                <a:lnTo>
                  <a:pt x="944263" y="313852"/>
                </a:lnTo>
                <a:lnTo>
                  <a:pt x="941199" y="314895"/>
                </a:lnTo>
                <a:lnTo>
                  <a:pt x="937258" y="315937"/>
                </a:lnTo>
                <a:lnTo>
                  <a:pt x="933318" y="316458"/>
                </a:lnTo>
                <a:lnTo>
                  <a:pt x="924999" y="317500"/>
                </a:lnTo>
                <a:lnTo>
                  <a:pt x="917118" y="317500"/>
                </a:lnTo>
                <a:lnTo>
                  <a:pt x="909238" y="317500"/>
                </a:lnTo>
                <a:lnTo>
                  <a:pt x="902670" y="317500"/>
                </a:lnTo>
                <a:lnTo>
                  <a:pt x="894352" y="316979"/>
                </a:lnTo>
                <a:lnTo>
                  <a:pt x="887784" y="316458"/>
                </a:lnTo>
                <a:lnTo>
                  <a:pt x="885157" y="315937"/>
                </a:lnTo>
                <a:lnTo>
                  <a:pt x="883406" y="314895"/>
                </a:lnTo>
                <a:lnTo>
                  <a:pt x="882530" y="313331"/>
                </a:lnTo>
                <a:lnTo>
                  <a:pt x="882093" y="311247"/>
                </a:lnTo>
                <a:lnTo>
                  <a:pt x="877277" y="310726"/>
                </a:lnTo>
                <a:lnTo>
                  <a:pt x="872461" y="309684"/>
                </a:lnTo>
                <a:lnTo>
                  <a:pt x="867207" y="307599"/>
                </a:lnTo>
                <a:lnTo>
                  <a:pt x="861953" y="305515"/>
                </a:lnTo>
                <a:lnTo>
                  <a:pt x="857137" y="302910"/>
                </a:lnTo>
                <a:lnTo>
                  <a:pt x="853634" y="300304"/>
                </a:lnTo>
                <a:lnTo>
                  <a:pt x="852321" y="299262"/>
                </a:lnTo>
                <a:lnTo>
                  <a:pt x="851007" y="297699"/>
                </a:lnTo>
                <a:lnTo>
                  <a:pt x="850132" y="296657"/>
                </a:lnTo>
                <a:lnTo>
                  <a:pt x="850132" y="295093"/>
                </a:lnTo>
                <a:lnTo>
                  <a:pt x="850132" y="293009"/>
                </a:lnTo>
                <a:lnTo>
                  <a:pt x="851007" y="290404"/>
                </a:lnTo>
                <a:lnTo>
                  <a:pt x="852321" y="287798"/>
                </a:lnTo>
                <a:lnTo>
                  <a:pt x="853196" y="285714"/>
                </a:lnTo>
                <a:lnTo>
                  <a:pt x="854948" y="282066"/>
                </a:lnTo>
                <a:lnTo>
                  <a:pt x="855823" y="278940"/>
                </a:lnTo>
                <a:lnTo>
                  <a:pt x="855386" y="276334"/>
                </a:lnTo>
                <a:lnTo>
                  <a:pt x="854948" y="273729"/>
                </a:lnTo>
                <a:lnTo>
                  <a:pt x="854510" y="271644"/>
                </a:lnTo>
                <a:lnTo>
                  <a:pt x="853634" y="269560"/>
                </a:lnTo>
                <a:lnTo>
                  <a:pt x="851007" y="266433"/>
                </a:lnTo>
                <a:lnTo>
                  <a:pt x="848818" y="263828"/>
                </a:lnTo>
                <a:lnTo>
                  <a:pt x="845753" y="261744"/>
                </a:lnTo>
                <a:lnTo>
                  <a:pt x="843564" y="259138"/>
                </a:lnTo>
                <a:lnTo>
                  <a:pt x="842689" y="257575"/>
                </a:lnTo>
                <a:lnTo>
                  <a:pt x="841813" y="256533"/>
                </a:lnTo>
                <a:lnTo>
                  <a:pt x="841375" y="254970"/>
                </a:lnTo>
                <a:lnTo>
                  <a:pt x="841375" y="253406"/>
                </a:lnTo>
                <a:lnTo>
                  <a:pt x="841813" y="248195"/>
                </a:lnTo>
                <a:lnTo>
                  <a:pt x="843564" y="242985"/>
                </a:lnTo>
                <a:lnTo>
                  <a:pt x="845753" y="237774"/>
                </a:lnTo>
                <a:lnTo>
                  <a:pt x="848818" y="232042"/>
                </a:lnTo>
                <a:lnTo>
                  <a:pt x="852759" y="226310"/>
                </a:lnTo>
                <a:lnTo>
                  <a:pt x="857575" y="220578"/>
                </a:lnTo>
                <a:lnTo>
                  <a:pt x="862391" y="215367"/>
                </a:lnTo>
                <a:lnTo>
                  <a:pt x="867645" y="210156"/>
                </a:lnTo>
                <a:lnTo>
                  <a:pt x="873336" y="205466"/>
                </a:lnTo>
                <a:lnTo>
                  <a:pt x="879028" y="200255"/>
                </a:lnTo>
                <a:lnTo>
                  <a:pt x="884720" y="196087"/>
                </a:lnTo>
                <a:lnTo>
                  <a:pt x="890411" y="192960"/>
                </a:lnTo>
                <a:lnTo>
                  <a:pt x="895665" y="189834"/>
                </a:lnTo>
                <a:lnTo>
                  <a:pt x="901795" y="187749"/>
                </a:lnTo>
                <a:lnTo>
                  <a:pt x="906611" y="186186"/>
                </a:lnTo>
                <a:lnTo>
                  <a:pt x="911427" y="186186"/>
                </a:lnTo>
                <a:lnTo>
                  <a:pt x="914054" y="183059"/>
                </a:lnTo>
                <a:lnTo>
                  <a:pt x="911427" y="182538"/>
                </a:lnTo>
                <a:lnTo>
                  <a:pt x="909238" y="182017"/>
                </a:lnTo>
                <a:lnTo>
                  <a:pt x="907048" y="181496"/>
                </a:lnTo>
                <a:lnTo>
                  <a:pt x="904859" y="180454"/>
                </a:lnTo>
                <a:lnTo>
                  <a:pt x="903546" y="179412"/>
                </a:lnTo>
                <a:lnTo>
                  <a:pt x="902232" y="178369"/>
                </a:lnTo>
                <a:lnTo>
                  <a:pt x="900481" y="176806"/>
                </a:lnTo>
                <a:lnTo>
                  <a:pt x="899605" y="175243"/>
                </a:lnTo>
                <a:lnTo>
                  <a:pt x="898292" y="171595"/>
                </a:lnTo>
                <a:lnTo>
                  <a:pt x="897416" y="167427"/>
                </a:lnTo>
                <a:lnTo>
                  <a:pt x="896979" y="163779"/>
                </a:lnTo>
                <a:lnTo>
                  <a:pt x="896979" y="160131"/>
                </a:lnTo>
                <a:lnTo>
                  <a:pt x="896541" y="152836"/>
                </a:lnTo>
                <a:lnTo>
                  <a:pt x="895665" y="146062"/>
                </a:lnTo>
                <a:lnTo>
                  <a:pt x="894352" y="139288"/>
                </a:lnTo>
                <a:lnTo>
                  <a:pt x="893476" y="133556"/>
                </a:lnTo>
                <a:lnTo>
                  <a:pt x="891725" y="128345"/>
                </a:lnTo>
                <a:lnTo>
                  <a:pt x="889536" y="123655"/>
                </a:lnTo>
                <a:lnTo>
                  <a:pt x="887784" y="118965"/>
                </a:lnTo>
                <a:lnTo>
                  <a:pt x="885157" y="114276"/>
                </a:lnTo>
                <a:lnTo>
                  <a:pt x="880341" y="106459"/>
                </a:lnTo>
                <a:lnTo>
                  <a:pt x="875525" y="98643"/>
                </a:lnTo>
                <a:lnTo>
                  <a:pt x="871147" y="91348"/>
                </a:lnTo>
                <a:lnTo>
                  <a:pt x="867645" y="83010"/>
                </a:lnTo>
                <a:lnTo>
                  <a:pt x="873774" y="78842"/>
                </a:lnTo>
                <a:lnTo>
                  <a:pt x="879028" y="75715"/>
                </a:lnTo>
                <a:lnTo>
                  <a:pt x="882093" y="74673"/>
                </a:lnTo>
                <a:lnTo>
                  <a:pt x="884720" y="74152"/>
                </a:lnTo>
                <a:lnTo>
                  <a:pt x="885793" y="73969"/>
                </a:lnTo>
                <a:lnTo>
                  <a:pt x="884672" y="72529"/>
                </a:lnTo>
                <a:lnTo>
                  <a:pt x="881719" y="73039"/>
                </a:lnTo>
                <a:lnTo>
                  <a:pt x="879120" y="73564"/>
                </a:lnTo>
                <a:lnTo>
                  <a:pt x="875654" y="74613"/>
                </a:lnTo>
                <a:lnTo>
                  <a:pt x="869589" y="77760"/>
                </a:lnTo>
                <a:lnTo>
                  <a:pt x="861790" y="81957"/>
                </a:lnTo>
                <a:lnTo>
                  <a:pt x="858325" y="81957"/>
                </a:lnTo>
                <a:lnTo>
                  <a:pt x="856158" y="81432"/>
                </a:lnTo>
                <a:lnTo>
                  <a:pt x="853126" y="80383"/>
                </a:lnTo>
                <a:lnTo>
                  <a:pt x="851393" y="79334"/>
                </a:lnTo>
                <a:lnTo>
                  <a:pt x="847060" y="76711"/>
                </a:lnTo>
                <a:lnTo>
                  <a:pt x="843595" y="73039"/>
                </a:lnTo>
                <a:lnTo>
                  <a:pt x="840562" y="69367"/>
                </a:lnTo>
                <a:lnTo>
                  <a:pt x="837529" y="65695"/>
                </a:lnTo>
                <a:lnTo>
                  <a:pt x="834064" y="62548"/>
                </a:lnTo>
                <a:lnTo>
                  <a:pt x="830164" y="59925"/>
                </a:lnTo>
                <a:lnTo>
                  <a:pt x="826699" y="62548"/>
                </a:lnTo>
                <a:lnTo>
                  <a:pt x="823233" y="64646"/>
                </a:lnTo>
                <a:lnTo>
                  <a:pt x="819767" y="66744"/>
                </a:lnTo>
                <a:lnTo>
                  <a:pt x="816734" y="68318"/>
                </a:lnTo>
                <a:lnTo>
                  <a:pt x="809369" y="71466"/>
                </a:lnTo>
                <a:lnTo>
                  <a:pt x="802004" y="73039"/>
                </a:lnTo>
                <a:lnTo>
                  <a:pt x="794206" y="75138"/>
                </a:lnTo>
                <a:lnTo>
                  <a:pt x="786408" y="76711"/>
                </a:lnTo>
                <a:lnTo>
                  <a:pt x="778177" y="78809"/>
                </a:lnTo>
                <a:lnTo>
                  <a:pt x="769512" y="81957"/>
                </a:lnTo>
                <a:lnTo>
                  <a:pt x="768212" y="82481"/>
                </a:lnTo>
                <a:lnTo>
                  <a:pt x="766046" y="83006"/>
                </a:lnTo>
                <a:lnTo>
                  <a:pt x="764746" y="84580"/>
                </a:lnTo>
                <a:lnTo>
                  <a:pt x="763013" y="86678"/>
                </a:lnTo>
                <a:lnTo>
                  <a:pt x="759114" y="91399"/>
                </a:lnTo>
                <a:lnTo>
                  <a:pt x="755648" y="97169"/>
                </a:lnTo>
                <a:lnTo>
                  <a:pt x="755503" y="97470"/>
                </a:lnTo>
                <a:lnTo>
                  <a:pt x="758108" y="93243"/>
                </a:lnTo>
                <a:lnTo>
                  <a:pt x="762090" y="88544"/>
                </a:lnTo>
                <a:lnTo>
                  <a:pt x="763860" y="86455"/>
                </a:lnTo>
                <a:lnTo>
                  <a:pt x="765187" y="84889"/>
                </a:lnTo>
                <a:lnTo>
                  <a:pt x="767400" y="84366"/>
                </a:lnTo>
                <a:lnTo>
                  <a:pt x="768727" y="83844"/>
                </a:lnTo>
                <a:lnTo>
                  <a:pt x="777576" y="80711"/>
                </a:lnTo>
                <a:lnTo>
                  <a:pt x="785983" y="78623"/>
                </a:lnTo>
                <a:lnTo>
                  <a:pt x="793948" y="77056"/>
                </a:lnTo>
                <a:lnTo>
                  <a:pt x="801912" y="74967"/>
                </a:lnTo>
                <a:lnTo>
                  <a:pt x="809434" y="73401"/>
                </a:lnTo>
                <a:lnTo>
                  <a:pt x="816956" y="70268"/>
                </a:lnTo>
                <a:lnTo>
                  <a:pt x="820053" y="68701"/>
                </a:lnTo>
                <a:lnTo>
                  <a:pt x="823593" y="66613"/>
                </a:lnTo>
                <a:lnTo>
                  <a:pt x="827133" y="64524"/>
                </a:lnTo>
                <a:lnTo>
                  <a:pt x="830672" y="61913"/>
                </a:lnTo>
                <a:lnTo>
                  <a:pt x="834655" y="64524"/>
                </a:lnTo>
                <a:lnTo>
                  <a:pt x="838194" y="67657"/>
                </a:lnTo>
                <a:lnTo>
                  <a:pt x="841292" y="71312"/>
                </a:lnTo>
                <a:lnTo>
                  <a:pt x="844389" y="74967"/>
                </a:lnTo>
                <a:lnTo>
                  <a:pt x="847929" y="78623"/>
                </a:lnTo>
                <a:lnTo>
                  <a:pt x="852353" y="81233"/>
                </a:lnTo>
                <a:lnTo>
                  <a:pt x="854123" y="82278"/>
                </a:lnTo>
                <a:lnTo>
                  <a:pt x="857220" y="83322"/>
                </a:lnTo>
                <a:lnTo>
                  <a:pt x="859433" y="83844"/>
                </a:lnTo>
                <a:lnTo>
                  <a:pt x="862972" y="83844"/>
                </a:lnTo>
                <a:lnTo>
                  <a:pt x="872707" y="99510"/>
                </a:lnTo>
                <a:lnTo>
                  <a:pt x="881999" y="115175"/>
                </a:lnTo>
                <a:lnTo>
                  <a:pt x="884211" y="119874"/>
                </a:lnTo>
                <a:lnTo>
                  <a:pt x="886423" y="124574"/>
                </a:lnTo>
                <a:lnTo>
                  <a:pt x="887751" y="129274"/>
                </a:lnTo>
                <a:lnTo>
                  <a:pt x="889078" y="134495"/>
                </a:lnTo>
                <a:lnTo>
                  <a:pt x="890848" y="140239"/>
                </a:lnTo>
                <a:lnTo>
                  <a:pt x="891733" y="147028"/>
                </a:lnTo>
                <a:lnTo>
                  <a:pt x="892175" y="153816"/>
                </a:lnTo>
                <a:lnTo>
                  <a:pt x="892175" y="161126"/>
                </a:lnTo>
                <a:lnTo>
                  <a:pt x="848371" y="161126"/>
                </a:lnTo>
                <a:lnTo>
                  <a:pt x="846601" y="163215"/>
                </a:lnTo>
                <a:lnTo>
                  <a:pt x="842619" y="167915"/>
                </a:lnTo>
                <a:lnTo>
                  <a:pt x="839964" y="170525"/>
                </a:lnTo>
                <a:lnTo>
                  <a:pt x="838194" y="173136"/>
                </a:lnTo>
                <a:lnTo>
                  <a:pt x="837309" y="175747"/>
                </a:lnTo>
                <a:lnTo>
                  <a:pt x="836867" y="177314"/>
                </a:lnTo>
                <a:lnTo>
                  <a:pt x="835982" y="179925"/>
                </a:lnTo>
                <a:lnTo>
                  <a:pt x="835539" y="182013"/>
                </a:lnTo>
                <a:lnTo>
                  <a:pt x="835539" y="183580"/>
                </a:lnTo>
                <a:lnTo>
                  <a:pt x="835982" y="185669"/>
                </a:lnTo>
                <a:lnTo>
                  <a:pt x="837309" y="189324"/>
                </a:lnTo>
                <a:lnTo>
                  <a:pt x="839522" y="193501"/>
                </a:lnTo>
                <a:lnTo>
                  <a:pt x="832885" y="199767"/>
                </a:lnTo>
                <a:lnTo>
                  <a:pt x="826248" y="205511"/>
                </a:lnTo>
                <a:lnTo>
                  <a:pt x="819611" y="210211"/>
                </a:lnTo>
                <a:lnTo>
                  <a:pt x="813416" y="213866"/>
                </a:lnTo>
                <a:lnTo>
                  <a:pt x="807222" y="218044"/>
                </a:lnTo>
                <a:lnTo>
                  <a:pt x="801027" y="221699"/>
                </a:lnTo>
                <a:lnTo>
                  <a:pt x="794832" y="226398"/>
                </a:lnTo>
                <a:lnTo>
                  <a:pt x="789523" y="231620"/>
                </a:lnTo>
                <a:lnTo>
                  <a:pt x="779789" y="238408"/>
                </a:lnTo>
                <a:lnTo>
                  <a:pt x="768727" y="246763"/>
                </a:lnTo>
                <a:lnTo>
                  <a:pt x="766957" y="248852"/>
                </a:lnTo>
                <a:lnTo>
                  <a:pt x="764302" y="250418"/>
                </a:lnTo>
                <a:lnTo>
                  <a:pt x="762975" y="252507"/>
                </a:lnTo>
                <a:lnTo>
                  <a:pt x="762090" y="254596"/>
                </a:lnTo>
                <a:lnTo>
                  <a:pt x="762090" y="256162"/>
                </a:lnTo>
                <a:lnTo>
                  <a:pt x="762532" y="257729"/>
                </a:lnTo>
                <a:lnTo>
                  <a:pt x="763860" y="259295"/>
                </a:lnTo>
                <a:lnTo>
                  <a:pt x="765630" y="260862"/>
                </a:lnTo>
                <a:lnTo>
                  <a:pt x="765630" y="266084"/>
                </a:lnTo>
                <a:lnTo>
                  <a:pt x="765630" y="270783"/>
                </a:lnTo>
                <a:lnTo>
                  <a:pt x="764745" y="277572"/>
                </a:lnTo>
                <a:lnTo>
                  <a:pt x="763417" y="283316"/>
                </a:lnTo>
                <a:lnTo>
                  <a:pt x="762532" y="286449"/>
                </a:lnTo>
                <a:lnTo>
                  <a:pt x="762532" y="289582"/>
                </a:lnTo>
                <a:lnTo>
                  <a:pt x="762532" y="293237"/>
                </a:lnTo>
                <a:lnTo>
                  <a:pt x="762975" y="296370"/>
                </a:lnTo>
                <a:lnTo>
                  <a:pt x="764745" y="300025"/>
                </a:lnTo>
                <a:lnTo>
                  <a:pt x="767400" y="302636"/>
                </a:lnTo>
                <a:lnTo>
                  <a:pt x="770054" y="304725"/>
                </a:lnTo>
                <a:lnTo>
                  <a:pt x="773152" y="306291"/>
                </a:lnTo>
                <a:lnTo>
                  <a:pt x="779789" y="308902"/>
                </a:lnTo>
                <a:lnTo>
                  <a:pt x="786868" y="310991"/>
                </a:lnTo>
                <a:lnTo>
                  <a:pt x="793505" y="312557"/>
                </a:lnTo>
                <a:lnTo>
                  <a:pt x="798815" y="315168"/>
                </a:lnTo>
                <a:lnTo>
                  <a:pt x="801469" y="316735"/>
                </a:lnTo>
                <a:lnTo>
                  <a:pt x="802797" y="318824"/>
                </a:lnTo>
                <a:lnTo>
                  <a:pt x="803682" y="322479"/>
                </a:lnTo>
                <a:lnTo>
                  <a:pt x="804124" y="325612"/>
                </a:lnTo>
                <a:lnTo>
                  <a:pt x="804124" y="331878"/>
                </a:lnTo>
                <a:lnTo>
                  <a:pt x="804124" y="338144"/>
                </a:lnTo>
                <a:lnTo>
                  <a:pt x="799257" y="338666"/>
                </a:lnTo>
                <a:lnTo>
                  <a:pt x="794390" y="339188"/>
                </a:lnTo>
                <a:lnTo>
                  <a:pt x="789523" y="340755"/>
                </a:lnTo>
                <a:lnTo>
                  <a:pt x="785098" y="342321"/>
                </a:lnTo>
                <a:lnTo>
                  <a:pt x="781116" y="344932"/>
                </a:lnTo>
                <a:lnTo>
                  <a:pt x="777576" y="347543"/>
                </a:lnTo>
                <a:lnTo>
                  <a:pt x="776691" y="349632"/>
                </a:lnTo>
                <a:lnTo>
                  <a:pt x="775364" y="351198"/>
                </a:lnTo>
                <a:lnTo>
                  <a:pt x="774921" y="352765"/>
                </a:lnTo>
                <a:lnTo>
                  <a:pt x="774479" y="354331"/>
                </a:lnTo>
                <a:lnTo>
                  <a:pt x="774037" y="362686"/>
                </a:lnTo>
                <a:lnTo>
                  <a:pt x="773152" y="371563"/>
                </a:lnTo>
                <a:lnTo>
                  <a:pt x="771382" y="381485"/>
                </a:lnTo>
                <a:lnTo>
                  <a:pt x="768727" y="391406"/>
                </a:lnTo>
                <a:lnTo>
                  <a:pt x="766957" y="401849"/>
                </a:lnTo>
                <a:lnTo>
                  <a:pt x="764745" y="413337"/>
                </a:lnTo>
                <a:lnTo>
                  <a:pt x="763417" y="424825"/>
                </a:lnTo>
                <a:lnTo>
                  <a:pt x="762975" y="438402"/>
                </a:lnTo>
                <a:lnTo>
                  <a:pt x="756338" y="438402"/>
                </a:lnTo>
                <a:lnTo>
                  <a:pt x="748373" y="438924"/>
                </a:lnTo>
                <a:lnTo>
                  <a:pt x="740852" y="439968"/>
                </a:lnTo>
                <a:lnTo>
                  <a:pt x="733772" y="441535"/>
                </a:lnTo>
                <a:lnTo>
                  <a:pt x="730675" y="443101"/>
                </a:lnTo>
                <a:lnTo>
                  <a:pt x="728462" y="444146"/>
                </a:lnTo>
                <a:lnTo>
                  <a:pt x="725808" y="445712"/>
                </a:lnTo>
                <a:lnTo>
                  <a:pt x="724480" y="447279"/>
                </a:lnTo>
                <a:lnTo>
                  <a:pt x="723595" y="449367"/>
                </a:lnTo>
                <a:lnTo>
                  <a:pt x="723153" y="451978"/>
                </a:lnTo>
                <a:lnTo>
                  <a:pt x="723595" y="454067"/>
                </a:lnTo>
                <a:lnTo>
                  <a:pt x="724923" y="457200"/>
                </a:lnTo>
                <a:lnTo>
                  <a:pt x="720056" y="457200"/>
                </a:lnTo>
                <a:lnTo>
                  <a:pt x="713419" y="457200"/>
                </a:lnTo>
                <a:lnTo>
                  <a:pt x="707224" y="457200"/>
                </a:lnTo>
                <a:lnTo>
                  <a:pt x="704127" y="457200"/>
                </a:lnTo>
                <a:lnTo>
                  <a:pt x="703242" y="457200"/>
                </a:lnTo>
                <a:lnTo>
                  <a:pt x="701914" y="456678"/>
                </a:lnTo>
                <a:lnTo>
                  <a:pt x="700587" y="455634"/>
                </a:lnTo>
                <a:lnTo>
                  <a:pt x="699260" y="454589"/>
                </a:lnTo>
                <a:lnTo>
                  <a:pt x="697047" y="451456"/>
                </a:lnTo>
                <a:lnTo>
                  <a:pt x="694392" y="447279"/>
                </a:lnTo>
                <a:lnTo>
                  <a:pt x="691295" y="442579"/>
                </a:lnTo>
                <a:lnTo>
                  <a:pt x="688640" y="436835"/>
                </a:lnTo>
                <a:lnTo>
                  <a:pt x="685986" y="430569"/>
                </a:lnTo>
                <a:lnTo>
                  <a:pt x="683773" y="423781"/>
                </a:lnTo>
                <a:lnTo>
                  <a:pt x="678906" y="410204"/>
                </a:lnTo>
                <a:lnTo>
                  <a:pt x="675366" y="396106"/>
                </a:lnTo>
                <a:lnTo>
                  <a:pt x="674039" y="389839"/>
                </a:lnTo>
                <a:lnTo>
                  <a:pt x="672712" y="383573"/>
                </a:lnTo>
                <a:lnTo>
                  <a:pt x="672269" y="378352"/>
                </a:lnTo>
                <a:lnTo>
                  <a:pt x="672269" y="373652"/>
                </a:lnTo>
                <a:lnTo>
                  <a:pt x="669172" y="373130"/>
                </a:lnTo>
                <a:lnTo>
                  <a:pt x="666960" y="372085"/>
                </a:lnTo>
                <a:lnTo>
                  <a:pt x="664747" y="369997"/>
                </a:lnTo>
                <a:lnTo>
                  <a:pt x="663420" y="367908"/>
                </a:lnTo>
                <a:lnTo>
                  <a:pt x="660765" y="362686"/>
                </a:lnTo>
                <a:lnTo>
                  <a:pt x="657225" y="357465"/>
                </a:lnTo>
                <a:lnTo>
                  <a:pt x="661207" y="355898"/>
                </a:lnTo>
                <a:lnTo>
                  <a:pt x="665632" y="354854"/>
                </a:lnTo>
                <a:lnTo>
                  <a:pt x="669172" y="354331"/>
                </a:lnTo>
                <a:lnTo>
                  <a:pt x="672269" y="354331"/>
                </a:lnTo>
                <a:lnTo>
                  <a:pt x="672269" y="353305"/>
                </a:lnTo>
                <a:lnTo>
                  <a:pt x="671168" y="353157"/>
                </a:lnTo>
                <a:lnTo>
                  <a:pt x="665969" y="352633"/>
                </a:lnTo>
                <a:lnTo>
                  <a:pt x="663370" y="352633"/>
                </a:lnTo>
                <a:lnTo>
                  <a:pt x="661204" y="352633"/>
                </a:lnTo>
                <a:lnTo>
                  <a:pt x="658604" y="353157"/>
                </a:lnTo>
                <a:lnTo>
                  <a:pt x="657305" y="353682"/>
                </a:lnTo>
                <a:lnTo>
                  <a:pt x="651673" y="345289"/>
                </a:lnTo>
                <a:lnTo>
                  <a:pt x="646907" y="340043"/>
                </a:lnTo>
                <a:lnTo>
                  <a:pt x="643008" y="335322"/>
                </a:lnTo>
                <a:lnTo>
                  <a:pt x="639975" y="331125"/>
                </a:lnTo>
                <a:lnTo>
                  <a:pt x="638676" y="335847"/>
                </a:lnTo>
                <a:lnTo>
                  <a:pt x="637376" y="340568"/>
                </a:lnTo>
                <a:lnTo>
                  <a:pt x="636943" y="343190"/>
                </a:lnTo>
                <a:lnTo>
                  <a:pt x="635210" y="345813"/>
                </a:lnTo>
                <a:lnTo>
                  <a:pt x="633477" y="348961"/>
                </a:lnTo>
                <a:lnTo>
                  <a:pt x="630444" y="352108"/>
                </a:lnTo>
                <a:lnTo>
                  <a:pt x="623512" y="357878"/>
                </a:lnTo>
                <a:lnTo>
                  <a:pt x="615714" y="363124"/>
                </a:lnTo>
                <a:lnTo>
                  <a:pt x="600551" y="372566"/>
                </a:lnTo>
                <a:lnTo>
                  <a:pt x="594053" y="376238"/>
                </a:lnTo>
                <a:lnTo>
                  <a:pt x="579756" y="376238"/>
                </a:lnTo>
                <a:lnTo>
                  <a:pt x="570658" y="372566"/>
                </a:lnTo>
                <a:lnTo>
                  <a:pt x="559394" y="366796"/>
                </a:lnTo>
                <a:lnTo>
                  <a:pt x="554195" y="363649"/>
                </a:lnTo>
                <a:lnTo>
                  <a:pt x="549430" y="359452"/>
                </a:lnTo>
                <a:lnTo>
                  <a:pt x="547264" y="357354"/>
                </a:lnTo>
                <a:lnTo>
                  <a:pt x="546397" y="355255"/>
                </a:lnTo>
                <a:lnTo>
                  <a:pt x="545531" y="353157"/>
                </a:lnTo>
                <a:lnTo>
                  <a:pt x="545097" y="350534"/>
                </a:lnTo>
                <a:lnTo>
                  <a:pt x="550729" y="350534"/>
                </a:lnTo>
                <a:lnTo>
                  <a:pt x="555062" y="350010"/>
                </a:lnTo>
                <a:lnTo>
                  <a:pt x="558528" y="349485"/>
                </a:lnTo>
                <a:lnTo>
                  <a:pt x="562427" y="346862"/>
                </a:lnTo>
                <a:lnTo>
                  <a:pt x="558961" y="343190"/>
                </a:lnTo>
                <a:lnTo>
                  <a:pt x="554629" y="339519"/>
                </a:lnTo>
                <a:lnTo>
                  <a:pt x="549863" y="335847"/>
                </a:lnTo>
                <a:lnTo>
                  <a:pt x="545097" y="332175"/>
                </a:lnTo>
                <a:lnTo>
                  <a:pt x="536866" y="326929"/>
                </a:lnTo>
                <a:lnTo>
                  <a:pt x="533400" y="324831"/>
                </a:lnTo>
                <a:lnTo>
                  <a:pt x="541198" y="326929"/>
                </a:lnTo>
                <a:lnTo>
                  <a:pt x="547264" y="328503"/>
                </a:lnTo>
                <a:lnTo>
                  <a:pt x="549863" y="329027"/>
                </a:lnTo>
                <a:lnTo>
                  <a:pt x="552029" y="329027"/>
                </a:lnTo>
                <a:lnTo>
                  <a:pt x="554629" y="329027"/>
                </a:lnTo>
                <a:lnTo>
                  <a:pt x="556795" y="327978"/>
                </a:lnTo>
                <a:lnTo>
                  <a:pt x="554629" y="327454"/>
                </a:lnTo>
                <a:lnTo>
                  <a:pt x="552462" y="326404"/>
                </a:lnTo>
                <a:lnTo>
                  <a:pt x="550729" y="324306"/>
                </a:lnTo>
                <a:lnTo>
                  <a:pt x="548996" y="322208"/>
                </a:lnTo>
                <a:lnTo>
                  <a:pt x="547264" y="320110"/>
                </a:lnTo>
                <a:lnTo>
                  <a:pt x="545964" y="316438"/>
                </a:lnTo>
                <a:lnTo>
                  <a:pt x="545531" y="313815"/>
                </a:lnTo>
                <a:lnTo>
                  <a:pt x="545097" y="311717"/>
                </a:lnTo>
                <a:lnTo>
                  <a:pt x="562427" y="311717"/>
                </a:lnTo>
                <a:lnTo>
                  <a:pt x="557661" y="311192"/>
                </a:lnTo>
                <a:lnTo>
                  <a:pt x="552896" y="310143"/>
                </a:lnTo>
                <a:lnTo>
                  <a:pt x="548563" y="309094"/>
                </a:lnTo>
                <a:lnTo>
                  <a:pt x="544231" y="306995"/>
                </a:lnTo>
                <a:lnTo>
                  <a:pt x="540332" y="304897"/>
                </a:lnTo>
                <a:lnTo>
                  <a:pt x="537732" y="302274"/>
                </a:lnTo>
                <a:lnTo>
                  <a:pt x="536866" y="300701"/>
                </a:lnTo>
                <a:lnTo>
                  <a:pt x="536433" y="299127"/>
                </a:lnTo>
                <a:lnTo>
                  <a:pt x="536433" y="297553"/>
                </a:lnTo>
                <a:lnTo>
                  <a:pt x="536433" y="295455"/>
                </a:lnTo>
                <a:lnTo>
                  <a:pt x="533400" y="288636"/>
                </a:lnTo>
                <a:lnTo>
                  <a:pt x="545964" y="288636"/>
                </a:lnTo>
                <a:lnTo>
                  <a:pt x="556795" y="288636"/>
                </a:lnTo>
                <a:lnTo>
                  <a:pt x="565459" y="288636"/>
                </a:lnTo>
                <a:lnTo>
                  <a:pt x="571091" y="288636"/>
                </a:lnTo>
                <a:lnTo>
                  <a:pt x="564593" y="286537"/>
                </a:lnTo>
                <a:lnTo>
                  <a:pt x="550296" y="282341"/>
                </a:lnTo>
                <a:lnTo>
                  <a:pt x="542931" y="280243"/>
                </a:lnTo>
                <a:lnTo>
                  <a:pt x="536866" y="278144"/>
                </a:lnTo>
                <a:lnTo>
                  <a:pt x="533400" y="276571"/>
                </a:lnTo>
                <a:lnTo>
                  <a:pt x="533400" y="276046"/>
                </a:lnTo>
                <a:lnTo>
                  <a:pt x="534267" y="268702"/>
                </a:lnTo>
                <a:lnTo>
                  <a:pt x="534700" y="263981"/>
                </a:lnTo>
                <a:lnTo>
                  <a:pt x="535133" y="261883"/>
                </a:lnTo>
                <a:lnTo>
                  <a:pt x="535133" y="259260"/>
                </a:lnTo>
                <a:lnTo>
                  <a:pt x="534700" y="256637"/>
                </a:lnTo>
                <a:lnTo>
                  <a:pt x="533400" y="253490"/>
                </a:lnTo>
                <a:lnTo>
                  <a:pt x="542065" y="253490"/>
                </a:lnTo>
                <a:lnTo>
                  <a:pt x="542498" y="255588"/>
                </a:lnTo>
                <a:lnTo>
                  <a:pt x="543798" y="257162"/>
                </a:lnTo>
                <a:lnTo>
                  <a:pt x="544231" y="257686"/>
                </a:lnTo>
                <a:lnTo>
                  <a:pt x="544664" y="257686"/>
                </a:lnTo>
                <a:lnTo>
                  <a:pt x="545097" y="257162"/>
                </a:lnTo>
                <a:lnTo>
                  <a:pt x="545097" y="256637"/>
                </a:lnTo>
                <a:lnTo>
                  <a:pt x="549430" y="256113"/>
                </a:lnTo>
                <a:lnTo>
                  <a:pt x="555495" y="255064"/>
                </a:lnTo>
                <a:lnTo>
                  <a:pt x="562427" y="254014"/>
                </a:lnTo>
                <a:lnTo>
                  <a:pt x="568492" y="253490"/>
                </a:lnTo>
                <a:lnTo>
                  <a:pt x="567192" y="252965"/>
                </a:lnTo>
                <a:lnTo>
                  <a:pt x="566759" y="252441"/>
                </a:lnTo>
                <a:lnTo>
                  <a:pt x="566759" y="251392"/>
                </a:lnTo>
                <a:lnTo>
                  <a:pt x="566759" y="249818"/>
                </a:lnTo>
                <a:lnTo>
                  <a:pt x="568059" y="246670"/>
                </a:lnTo>
                <a:lnTo>
                  <a:pt x="568492" y="243523"/>
                </a:lnTo>
                <a:lnTo>
                  <a:pt x="572824" y="243523"/>
                </a:lnTo>
                <a:lnTo>
                  <a:pt x="576723" y="243523"/>
                </a:lnTo>
                <a:lnTo>
                  <a:pt x="576290" y="241425"/>
                </a:lnTo>
                <a:lnTo>
                  <a:pt x="574990" y="238802"/>
                </a:lnTo>
                <a:lnTo>
                  <a:pt x="573258" y="236704"/>
                </a:lnTo>
                <a:lnTo>
                  <a:pt x="571091" y="234081"/>
                </a:lnTo>
                <a:lnTo>
                  <a:pt x="575424" y="232507"/>
                </a:lnTo>
                <a:lnTo>
                  <a:pt x="579756" y="230934"/>
                </a:lnTo>
                <a:lnTo>
                  <a:pt x="584088" y="230409"/>
                </a:lnTo>
                <a:lnTo>
                  <a:pt x="588421" y="230409"/>
                </a:lnTo>
                <a:lnTo>
                  <a:pt x="589287" y="230409"/>
                </a:lnTo>
                <a:lnTo>
                  <a:pt x="589720" y="228835"/>
                </a:lnTo>
                <a:lnTo>
                  <a:pt x="589720" y="227262"/>
                </a:lnTo>
                <a:lnTo>
                  <a:pt x="589287" y="225163"/>
                </a:lnTo>
                <a:lnTo>
                  <a:pt x="588854" y="220967"/>
                </a:lnTo>
                <a:lnTo>
                  <a:pt x="588421" y="217819"/>
                </a:lnTo>
                <a:lnTo>
                  <a:pt x="597085" y="217819"/>
                </a:lnTo>
                <a:lnTo>
                  <a:pt x="591020" y="214672"/>
                </a:lnTo>
                <a:lnTo>
                  <a:pt x="628711" y="214672"/>
                </a:lnTo>
                <a:lnTo>
                  <a:pt x="623079" y="211525"/>
                </a:lnTo>
                <a:lnTo>
                  <a:pt x="625679" y="209951"/>
                </a:lnTo>
                <a:lnTo>
                  <a:pt x="627845" y="208377"/>
                </a:lnTo>
                <a:lnTo>
                  <a:pt x="629145" y="206804"/>
                </a:lnTo>
                <a:lnTo>
                  <a:pt x="630444" y="204181"/>
                </a:lnTo>
                <a:lnTo>
                  <a:pt x="631744" y="198410"/>
                </a:lnTo>
                <a:lnTo>
                  <a:pt x="631744" y="192116"/>
                </a:lnTo>
                <a:lnTo>
                  <a:pt x="638676" y="192116"/>
                </a:lnTo>
                <a:lnTo>
                  <a:pt x="643875" y="192116"/>
                </a:lnTo>
                <a:lnTo>
                  <a:pt x="648640" y="192116"/>
                </a:lnTo>
                <a:lnTo>
                  <a:pt x="654272" y="192116"/>
                </a:lnTo>
                <a:lnTo>
                  <a:pt x="654272" y="188968"/>
                </a:lnTo>
                <a:lnTo>
                  <a:pt x="655572" y="185821"/>
                </a:lnTo>
                <a:lnTo>
                  <a:pt x="656005" y="184772"/>
                </a:lnTo>
                <a:lnTo>
                  <a:pt x="656871" y="183723"/>
                </a:lnTo>
                <a:lnTo>
                  <a:pt x="658171" y="182674"/>
                </a:lnTo>
                <a:lnTo>
                  <a:pt x="660337" y="182674"/>
                </a:lnTo>
                <a:lnTo>
                  <a:pt x="657305" y="181100"/>
                </a:lnTo>
                <a:lnTo>
                  <a:pt x="654272" y="179001"/>
                </a:lnTo>
                <a:lnTo>
                  <a:pt x="654705" y="177952"/>
                </a:lnTo>
                <a:lnTo>
                  <a:pt x="655572" y="176903"/>
                </a:lnTo>
                <a:lnTo>
                  <a:pt x="656438" y="175854"/>
                </a:lnTo>
                <a:lnTo>
                  <a:pt x="657738" y="174280"/>
                </a:lnTo>
                <a:lnTo>
                  <a:pt x="660771" y="171657"/>
                </a:lnTo>
                <a:lnTo>
                  <a:pt x="662937" y="169035"/>
                </a:lnTo>
                <a:lnTo>
                  <a:pt x="662504" y="167461"/>
                </a:lnTo>
                <a:lnTo>
                  <a:pt x="662070" y="165363"/>
                </a:lnTo>
                <a:lnTo>
                  <a:pt x="662504" y="163789"/>
                </a:lnTo>
                <a:lnTo>
                  <a:pt x="662937" y="161691"/>
                </a:lnTo>
                <a:lnTo>
                  <a:pt x="665536" y="158019"/>
                </a:lnTo>
                <a:lnTo>
                  <a:pt x="668136" y="154347"/>
                </a:lnTo>
                <a:lnTo>
                  <a:pt x="674201" y="147527"/>
                </a:lnTo>
                <a:lnTo>
                  <a:pt x="677667" y="143331"/>
                </a:lnTo>
                <a:lnTo>
                  <a:pt x="677667" y="142282"/>
                </a:lnTo>
                <a:lnTo>
                  <a:pt x="678533" y="141757"/>
                </a:lnTo>
                <a:lnTo>
                  <a:pt x="679833" y="141757"/>
                </a:lnTo>
                <a:lnTo>
                  <a:pt x="680699" y="142282"/>
                </a:lnTo>
                <a:lnTo>
                  <a:pt x="682432" y="142806"/>
                </a:lnTo>
                <a:lnTo>
                  <a:pt x="683299" y="143331"/>
                </a:lnTo>
                <a:lnTo>
                  <a:pt x="682432" y="139659"/>
                </a:lnTo>
                <a:lnTo>
                  <a:pt x="681999" y="136512"/>
                </a:lnTo>
                <a:lnTo>
                  <a:pt x="681999" y="132840"/>
                </a:lnTo>
                <a:lnTo>
                  <a:pt x="682432" y="129692"/>
                </a:lnTo>
                <a:lnTo>
                  <a:pt x="682865" y="124447"/>
                </a:lnTo>
                <a:lnTo>
                  <a:pt x="683299" y="121299"/>
                </a:lnTo>
                <a:lnTo>
                  <a:pt x="693696" y="121299"/>
                </a:lnTo>
                <a:lnTo>
                  <a:pt x="700195" y="120775"/>
                </a:lnTo>
                <a:lnTo>
                  <a:pt x="701494" y="120250"/>
                </a:lnTo>
                <a:lnTo>
                  <a:pt x="702361" y="119201"/>
                </a:lnTo>
                <a:lnTo>
                  <a:pt x="703227" y="118152"/>
                </a:lnTo>
                <a:lnTo>
                  <a:pt x="704094" y="117103"/>
                </a:lnTo>
                <a:lnTo>
                  <a:pt x="705394" y="112906"/>
                </a:lnTo>
                <a:lnTo>
                  <a:pt x="706260" y="107661"/>
                </a:lnTo>
                <a:lnTo>
                  <a:pt x="704527" y="105038"/>
                </a:lnTo>
                <a:lnTo>
                  <a:pt x="702361" y="101366"/>
                </a:lnTo>
                <a:lnTo>
                  <a:pt x="701061" y="96645"/>
                </a:lnTo>
                <a:lnTo>
                  <a:pt x="700628" y="91924"/>
                </a:lnTo>
                <a:lnTo>
                  <a:pt x="699761" y="91924"/>
                </a:lnTo>
                <a:lnTo>
                  <a:pt x="697595" y="91399"/>
                </a:lnTo>
                <a:lnTo>
                  <a:pt x="696729" y="91399"/>
                </a:lnTo>
                <a:lnTo>
                  <a:pt x="695862" y="90874"/>
                </a:lnTo>
                <a:lnTo>
                  <a:pt x="694996" y="89825"/>
                </a:lnTo>
                <a:lnTo>
                  <a:pt x="694996" y="88776"/>
                </a:lnTo>
                <a:lnTo>
                  <a:pt x="690664" y="92973"/>
                </a:lnTo>
                <a:lnTo>
                  <a:pt x="686331" y="96120"/>
                </a:lnTo>
                <a:lnTo>
                  <a:pt x="683732" y="97169"/>
                </a:lnTo>
                <a:lnTo>
                  <a:pt x="681999" y="97694"/>
                </a:lnTo>
                <a:lnTo>
                  <a:pt x="679833" y="98218"/>
                </a:lnTo>
                <a:lnTo>
                  <a:pt x="677667" y="98218"/>
                </a:lnTo>
                <a:lnTo>
                  <a:pt x="678100" y="95071"/>
                </a:lnTo>
                <a:lnTo>
                  <a:pt x="679833" y="91924"/>
                </a:lnTo>
                <a:lnTo>
                  <a:pt x="681132" y="89301"/>
                </a:lnTo>
                <a:lnTo>
                  <a:pt x="682865" y="86678"/>
                </a:lnTo>
                <a:lnTo>
                  <a:pt x="687198" y="81432"/>
                </a:lnTo>
                <a:lnTo>
                  <a:pt x="692397" y="77236"/>
                </a:lnTo>
                <a:lnTo>
                  <a:pt x="697162" y="73039"/>
                </a:lnTo>
                <a:lnTo>
                  <a:pt x="702361" y="68318"/>
                </a:lnTo>
                <a:lnTo>
                  <a:pt x="704527" y="65695"/>
                </a:lnTo>
                <a:lnTo>
                  <a:pt x="706260" y="63073"/>
                </a:lnTo>
                <a:lnTo>
                  <a:pt x="707993" y="59925"/>
                </a:lnTo>
                <a:lnTo>
                  <a:pt x="709293" y="56253"/>
                </a:lnTo>
                <a:lnTo>
                  <a:pt x="709726" y="57827"/>
                </a:lnTo>
                <a:lnTo>
                  <a:pt x="710592" y="60450"/>
                </a:lnTo>
                <a:lnTo>
                  <a:pt x="711459" y="64646"/>
                </a:lnTo>
                <a:lnTo>
                  <a:pt x="711892" y="69367"/>
                </a:lnTo>
                <a:lnTo>
                  <a:pt x="712758" y="70416"/>
                </a:lnTo>
                <a:lnTo>
                  <a:pt x="715358" y="72515"/>
                </a:lnTo>
                <a:lnTo>
                  <a:pt x="717957" y="74613"/>
                </a:lnTo>
                <a:lnTo>
                  <a:pt x="720557" y="75662"/>
                </a:lnTo>
                <a:lnTo>
                  <a:pt x="728355" y="75138"/>
                </a:lnTo>
                <a:lnTo>
                  <a:pt x="733987" y="74088"/>
                </a:lnTo>
                <a:lnTo>
                  <a:pt x="738319" y="73039"/>
                </a:lnTo>
                <a:lnTo>
                  <a:pt x="740919" y="72515"/>
                </a:lnTo>
                <a:lnTo>
                  <a:pt x="738752" y="69892"/>
                </a:lnTo>
                <a:lnTo>
                  <a:pt x="736586" y="67269"/>
                </a:lnTo>
                <a:lnTo>
                  <a:pt x="736153" y="65695"/>
                </a:lnTo>
                <a:lnTo>
                  <a:pt x="735720" y="64122"/>
                </a:lnTo>
                <a:lnTo>
                  <a:pt x="735287" y="62023"/>
                </a:lnTo>
                <a:lnTo>
                  <a:pt x="735287" y="59925"/>
                </a:lnTo>
                <a:lnTo>
                  <a:pt x="743518" y="57827"/>
                </a:lnTo>
                <a:lnTo>
                  <a:pt x="754349" y="55204"/>
                </a:lnTo>
                <a:lnTo>
                  <a:pt x="759981" y="53630"/>
                </a:lnTo>
                <a:lnTo>
                  <a:pt x="765613" y="52057"/>
                </a:lnTo>
                <a:lnTo>
                  <a:pt x="770812" y="49434"/>
                </a:lnTo>
                <a:lnTo>
                  <a:pt x="775144" y="46286"/>
                </a:lnTo>
                <a:lnTo>
                  <a:pt x="778177" y="44188"/>
                </a:lnTo>
                <a:lnTo>
                  <a:pt x="781642" y="42090"/>
                </a:lnTo>
                <a:lnTo>
                  <a:pt x="784242" y="40516"/>
                </a:lnTo>
                <a:lnTo>
                  <a:pt x="787274" y="39992"/>
                </a:lnTo>
                <a:lnTo>
                  <a:pt x="787708" y="43139"/>
                </a:lnTo>
                <a:lnTo>
                  <a:pt x="788574" y="46286"/>
                </a:lnTo>
                <a:lnTo>
                  <a:pt x="789441" y="47336"/>
                </a:lnTo>
                <a:lnTo>
                  <a:pt x="790307" y="48385"/>
                </a:lnTo>
                <a:lnTo>
                  <a:pt x="791607" y="49434"/>
                </a:lnTo>
                <a:lnTo>
                  <a:pt x="792906" y="49434"/>
                </a:lnTo>
                <a:lnTo>
                  <a:pt x="797239" y="48909"/>
                </a:lnTo>
                <a:lnTo>
                  <a:pt x="803737" y="46286"/>
                </a:lnTo>
                <a:lnTo>
                  <a:pt x="809803" y="44188"/>
                </a:lnTo>
                <a:lnTo>
                  <a:pt x="812835" y="43139"/>
                </a:lnTo>
                <a:lnTo>
                  <a:pt x="811969" y="42090"/>
                </a:lnTo>
                <a:lnTo>
                  <a:pt x="811102" y="41041"/>
                </a:lnTo>
                <a:lnTo>
                  <a:pt x="809803" y="39467"/>
                </a:lnTo>
                <a:lnTo>
                  <a:pt x="809803" y="38418"/>
                </a:lnTo>
                <a:lnTo>
                  <a:pt x="809803" y="36320"/>
                </a:lnTo>
                <a:lnTo>
                  <a:pt x="811102" y="33697"/>
                </a:lnTo>
                <a:lnTo>
                  <a:pt x="812835" y="31599"/>
                </a:lnTo>
                <a:lnTo>
                  <a:pt x="815001" y="28976"/>
                </a:lnTo>
                <a:lnTo>
                  <a:pt x="818034" y="26878"/>
                </a:lnTo>
                <a:lnTo>
                  <a:pt x="821500" y="24779"/>
                </a:lnTo>
                <a:lnTo>
                  <a:pt x="823830" y="23839"/>
                </a:lnTo>
                <a:lnTo>
                  <a:pt x="824925" y="21821"/>
                </a:lnTo>
                <a:lnTo>
                  <a:pt x="827091" y="18096"/>
                </a:lnTo>
                <a:lnTo>
                  <a:pt x="829257" y="14902"/>
                </a:lnTo>
                <a:lnTo>
                  <a:pt x="831423" y="11709"/>
                </a:lnTo>
                <a:lnTo>
                  <a:pt x="834455" y="10112"/>
                </a:lnTo>
                <a:lnTo>
                  <a:pt x="836621" y="7983"/>
                </a:lnTo>
                <a:lnTo>
                  <a:pt x="839654" y="6919"/>
                </a:lnTo>
                <a:lnTo>
                  <a:pt x="842686" y="6387"/>
                </a:lnTo>
                <a:lnTo>
                  <a:pt x="848752" y="7983"/>
                </a:lnTo>
                <a:lnTo>
                  <a:pt x="854383" y="10112"/>
                </a:lnTo>
                <a:lnTo>
                  <a:pt x="848752" y="20225"/>
                </a:lnTo>
                <a:lnTo>
                  <a:pt x="860015" y="20225"/>
                </a:lnTo>
                <a:lnTo>
                  <a:pt x="861790" y="18978"/>
                </a:lnTo>
                <a:lnTo>
                  <a:pt x="861790" y="14288"/>
                </a:lnTo>
                <a:lnTo>
                  <a:pt x="870013" y="14288"/>
                </a:lnTo>
                <a:lnTo>
                  <a:pt x="870846" y="12241"/>
                </a:lnTo>
                <a:lnTo>
                  <a:pt x="871279" y="10112"/>
                </a:lnTo>
                <a:lnTo>
                  <a:pt x="879510" y="14370"/>
                </a:lnTo>
                <a:lnTo>
                  <a:pt x="880350" y="14886"/>
                </a:lnTo>
                <a:lnTo>
                  <a:pt x="882586" y="15337"/>
                </a:lnTo>
                <a:lnTo>
                  <a:pt x="885618" y="16386"/>
                </a:lnTo>
                <a:lnTo>
                  <a:pt x="887351" y="17435"/>
                </a:lnTo>
                <a:lnTo>
                  <a:pt x="886392" y="18597"/>
                </a:lnTo>
                <a:lnTo>
                  <a:pt x="887308" y="19160"/>
                </a:lnTo>
                <a:lnTo>
                  <a:pt x="891275" y="22705"/>
                </a:lnTo>
                <a:lnTo>
                  <a:pt x="892073" y="22185"/>
                </a:lnTo>
                <a:lnTo>
                  <a:pt x="892073" y="10112"/>
                </a:lnTo>
                <a:lnTo>
                  <a:pt x="903770" y="10112"/>
                </a:lnTo>
                <a:lnTo>
                  <a:pt x="912868" y="10112"/>
                </a:lnTo>
                <a:lnTo>
                  <a:pt x="919366" y="10112"/>
                </a:lnTo>
                <a:lnTo>
                  <a:pt x="923265" y="10112"/>
                </a:lnTo>
                <a:lnTo>
                  <a:pt x="927597" y="10112"/>
                </a:lnTo>
                <a:lnTo>
                  <a:pt x="931929" y="10112"/>
                </a:lnTo>
                <a:lnTo>
                  <a:pt x="933229" y="9048"/>
                </a:lnTo>
                <a:lnTo>
                  <a:pt x="934962" y="8516"/>
                </a:lnTo>
                <a:lnTo>
                  <a:pt x="936695" y="7451"/>
                </a:lnTo>
                <a:lnTo>
                  <a:pt x="937561" y="6387"/>
                </a:lnTo>
                <a:lnTo>
                  <a:pt x="938861" y="7451"/>
                </a:lnTo>
                <a:lnTo>
                  <a:pt x="940594" y="7451"/>
                </a:lnTo>
                <a:lnTo>
                  <a:pt x="941893" y="6919"/>
                </a:lnTo>
                <a:lnTo>
                  <a:pt x="943193" y="5854"/>
                </a:lnTo>
                <a:lnTo>
                  <a:pt x="944059" y="4258"/>
                </a:lnTo>
                <a:lnTo>
                  <a:pt x="945792" y="3193"/>
                </a:lnTo>
                <a:lnTo>
                  <a:pt x="946226" y="1597"/>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oAutofit/>
          </a:bodyPr>
          <a:lstStyle/>
          <a:p>
            <a:endParaRPr lang="it-IT"/>
          </a:p>
        </p:txBody>
      </p:sp>
      <p:sp>
        <p:nvSpPr>
          <p:cNvPr id="5" name="CasellaDiTesto 4">
            <a:extLst>
              <a:ext uri="{FF2B5EF4-FFF2-40B4-BE49-F238E27FC236}">
                <a16:creationId xmlns:a16="http://schemas.microsoft.com/office/drawing/2014/main" id="{8F6B1D39-7892-7946-B34B-1A79D9FB3CB6}"/>
              </a:ext>
            </a:extLst>
          </p:cNvPr>
          <p:cNvSpPr txBox="1"/>
          <p:nvPr/>
        </p:nvSpPr>
        <p:spPr>
          <a:xfrm>
            <a:off x="3474241" y="530157"/>
            <a:ext cx="5243513" cy="584775"/>
          </a:xfrm>
          <a:prstGeom prst="rect">
            <a:avLst/>
          </a:prstGeom>
          <a:noFill/>
        </p:spPr>
        <p:txBody>
          <a:bodyPr wrap="square" rtlCol="0">
            <a:spAutoFit/>
          </a:bodyPr>
          <a:lstStyle/>
          <a:p>
            <a:pPr algn="ctr"/>
            <a:r>
              <a:rPr lang="it-IT" sz="3200" b="1" dirty="0">
                <a:solidFill>
                  <a:srgbClr val="19436B"/>
                </a:solidFill>
                <a:latin typeface="Times New Roman" panose="02020603050405020304" pitchFamily="18" charset="0"/>
                <a:cs typeface="Times New Roman" panose="02020603050405020304" pitchFamily="18" charset="0"/>
              </a:rPr>
              <a:t>REVOCA della PROPOSTA</a:t>
            </a:r>
          </a:p>
        </p:txBody>
      </p:sp>
      <p:sp>
        <p:nvSpPr>
          <p:cNvPr id="7" name="Goccia 6">
            <a:extLst>
              <a:ext uri="{FF2B5EF4-FFF2-40B4-BE49-F238E27FC236}">
                <a16:creationId xmlns:a16="http://schemas.microsoft.com/office/drawing/2014/main" id="{1B80C994-6FEE-7044-A495-7DC457F4CD8D}"/>
              </a:ext>
            </a:extLst>
          </p:cNvPr>
          <p:cNvSpPr/>
          <p:nvPr/>
        </p:nvSpPr>
        <p:spPr>
          <a:xfrm rot="8092593">
            <a:off x="5544370" y="3635115"/>
            <a:ext cx="184339" cy="190789"/>
          </a:xfrm>
          <a:prstGeom prst="teardrop">
            <a:avLst/>
          </a:prstGeom>
          <a:solidFill>
            <a:srgbClr val="1943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3" name="Goccia 32">
            <a:extLst>
              <a:ext uri="{FF2B5EF4-FFF2-40B4-BE49-F238E27FC236}">
                <a16:creationId xmlns:a16="http://schemas.microsoft.com/office/drawing/2014/main" id="{46682E4B-0A65-2E4F-81B8-D122F27AC02C}"/>
              </a:ext>
            </a:extLst>
          </p:cNvPr>
          <p:cNvSpPr/>
          <p:nvPr/>
        </p:nvSpPr>
        <p:spPr>
          <a:xfrm rot="8092593">
            <a:off x="5683103" y="4060402"/>
            <a:ext cx="184339" cy="181097"/>
          </a:xfrm>
          <a:prstGeom prst="teardrop">
            <a:avLst/>
          </a:prstGeom>
          <a:solidFill>
            <a:srgbClr val="1943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4" name="Goccia 33">
            <a:extLst>
              <a:ext uri="{FF2B5EF4-FFF2-40B4-BE49-F238E27FC236}">
                <a16:creationId xmlns:a16="http://schemas.microsoft.com/office/drawing/2014/main" id="{F220E18A-B777-CA40-9CFD-63505CCB592B}"/>
              </a:ext>
            </a:extLst>
          </p:cNvPr>
          <p:cNvSpPr/>
          <p:nvPr/>
        </p:nvSpPr>
        <p:spPr>
          <a:xfrm rot="8092593">
            <a:off x="5354924" y="4129000"/>
            <a:ext cx="184339" cy="190789"/>
          </a:xfrm>
          <a:prstGeom prst="teardrop">
            <a:avLst/>
          </a:prstGeom>
          <a:solidFill>
            <a:srgbClr val="1943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5" name="Goccia 34">
            <a:extLst>
              <a:ext uri="{FF2B5EF4-FFF2-40B4-BE49-F238E27FC236}">
                <a16:creationId xmlns:a16="http://schemas.microsoft.com/office/drawing/2014/main" id="{719589C9-33FB-C24E-8F90-1924CAB01BB4}"/>
              </a:ext>
            </a:extLst>
          </p:cNvPr>
          <p:cNvSpPr/>
          <p:nvPr/>
        </p:nvSpPr>
        <p:spPr>
          <a:xfrm rot="8092593">
            <a:off x="5809634" y="4581512"/>
            <a:ext cx="184339" cy="190789"/>
          </a:xfrm>
          <a:prstGeom prst="teardrop">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6" name="Goccia 35">
            <a:extLst>
              <a:ext uri="{FF2B5EF4-FFF2-40B4-BE49-F238E27FC236}">
                <a16:creationId xmlns:a16="http://schemas.microsoft.com/office/drawing/2014/main" id="{C85AC2C4-CAC2-5C43-BAE6-811F296F70CD}"/>
              </a:ext>
            </a:extLst>
          </p:cNvPr>
          <p:cNvSpPr/>
          <p:nvPr/>
        </p:nvSpPr>
        <p:spPr>
          <a:xfrm rot="8092593">
            <a:off x="5867693" y="4101255"/>
            <a:ext cx="184339" cy="190789"/>
          </a:xfrm>
          <a:prstGeom prst="teardrop">
            <a:avLst/>
          </a:prstGeom>
          <a:solidFill>
            <a:srgbClr val="497D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708FE5"/>
              </a:solidFill>
            </a:endParaRPr>
          </a:p>
        </p:txBody>
      </p:sp>
      <p:grpSp>
        <p:nvGrpSpPr>
          <p:cNvPr id="12" name="Gruppo 11">
            <a:extLst>
              <a:ext uri="{FF2B5EF4-FFF2-40B4-BE49-F238E27FC236}">
                <a16:creationId xmlns:a16="http://schemas.microsoft.com/office/drawing/2014/main" id="{5F00567C-C54A-5C4D-9E3B-4544595B57F4}"/>
              </a:ext>
            </a:extLst>
          </p:cNvPr>
          <p:cNvGrpSpPr/>
          <p:nvPr/>
        </p:nvGrpSpPr>
        <p:grpSpPr>
          <a:xfrm>
            <a:off x="3098800" y="2654300"/>
            <a:ext cx="2537741" cy="1076209"/>
            <a:chOff x="3098800" y="2654300"/>
            <a:chExt cx="2537741" cy="1076209"/>
          </a:xfrm>
        </p:grpSpPr>
        <p:cxnSp>
          <p:nvCxnSpPr>
            <p:cNvPr id="3" name="Connettore 1 2">
              <a:extLst>
                <a:ext uri="{FF2B5EF4-FFF2-40B4-BE49-F238E27FC236}">
                  <a16:creationId xmlns:a16="http://schemas.microsoft.com/office/drawing/2014/main" id="{B75CF7AB-82C2-CD48-8C47-D1AC779D12EE}"/>
                </a:ext>
              </a:extLst>
            </p:cNvPr>
            <p:cNvCxnSpPr>
              <a:cxnSpLocks/>
            </p:cNvCxnSpPr>
            <p:nvPr/>
          </p:nvCxnSpPr>
          <p:spPr>
            <a:xfrm flipH="1" flipV="1">
              <a:off x="4203700" y="2654300"/>
              <a:ext cx="1432841" cy="1076209"/>
            </a:xfrm>
            <a:prstGeom prst="line">
              <a:avLst/>
            </a:prstGeom>
            <a:ln>
              <a:solidFill>
                <a:srgbClr val="19436B"/>
              </a:solidFill>
            </a:ln>
          </p:spPr>
          <p:style>
            <a:lnRef idx="3">
              <a:schemeClr val="accent1"/>
            </a:lnRef>
            <a:fillRef idx="0">
              <a:schemeClr val="accent1"/>
            </a:fillRef>
            <a:effectRef idx="2">
              <a:schemeClr val="accent1"/>
            </a:effectRef>
            <a:fontRef idx="minor">
              <a:schemeClr val="tx1"/>
            </a:fontRef>
          </p:style>
        </p:cxnSp>
        <p:cxnSp>
          <p:nvCxnSpPr>
            <p:cNvPr id="11" name="Connettore 1 10">
              <a:extLst>
                <a:ext uri="{FF2B5EF4-FFF2-40B4-BE49-F238E27FC236}">
                  <a16:creationId xmlns:a16="http://schemas.microsoft.com/office/drawing/2014/main" id="{AC305778-4C15-F44E-9070-5C8A9A104EFE}"/>
                </a:ext>
              </a:extLst>
            </p:cNvPr>
            <p:cNvCxnSpPr/>
            <p:nvPr/>
          </p:nvCxnSpPr>
          <p:spPr>
            <a:xfrm flipH="1">
              <a:off x="3098800" y="2656928"/>
              <a:ext cx="1104900" cy="0"/>
            </a:xfrm>
            <a:prstGeom prst="line">
              <a:avLst/>
            </a:prstGeom>
            <a:ln>
              <a:solidFill>
                <a:srgbClr val="19436B"/>
              </a:solidFill>
            </a:ln>
          </p:spPr>
          <p:style>
            <a:lnRef idx="3">
              <a:schemeClr val="accent1"/>
            </a:lnRef>
            <a:fillRef idx="0">
              <a:schemeClr val="accent1"/>
            </a:fillRef>
            <a:effectRef idx="2">
              <a:schemeClr val="accent1"/>
            </a:effectRef>
            <a:fontRef idx="minor">
              <a:schemeClr val="tx1"/>
            </a:fontRef>
          </p:style>
        </p:cxnSp>
      </p:grpSp>
      <p:grpSp>
        <p:nvGrpSpPr>
          <p:cNvPr id="17" name="Gruppo 16">
            <a:extLst>
              <a:ext uri="{FF2B5EF4-FFF2-40B4-BE49-F238E27FC236}">
                <a16:creationId xmlns:a16="http://schemas.microsoft.com/office/drawing/2014/main" id="{50199A6A-BAB5-414F-B8CB-19FFD4B6D085}"/>
              </a:ext>
            </a:extLst>
          </p:cNvPr>
          <p:cNvGrpSpPr/>
          <p:nvPr/>
        </p:nvGrpSpPr>
        <p:grpSpPr>
          <a:xfrm>
            <a:off x="3098800" y="3148185"/>
            <a:ext cx="2310073" cy="1076209"/>
            <a:chOff x="3326468" y="2654300"/>
            <a:chExt cx="2310073" cy="1076209"/>
          </a:xfrm>
        </p:grpSpPr>
        <p:cxnSp>
          <p:nvCxnSpPr>
            <p:cNvPr id="18" name="Connettore 1 17">
              <a:extLst>
                <a:ext uri="{FF2B5EF4-FFF2-40B4-BE49-F238E27FC236}">
                  <a16:creationId xmlns:a16="http://schemas.microsoft.com/office/drawing/2014/main" id="{D6D5EC18-2C85-6442-8A27-9F00FD30CDCF}"/>
                </a:ext>
              </a:extLst>
            </p:cNvPr>
            <p:cNvCxnSpPr>
              <a:cxnSpLocks/>
            </p:cNvCxnSpPr>
            <p:nvPr/>
          </p:nvCxnSpPr>
          <p:spPr>
            <a:xfrm flipH="1" flipV="1">
              <a:off x="4203700" y="2654300"/>
              <a:ext cx="1432841" cy="1076209"/>
            </a:xfrm>
            <a:prstGeom prst="line">
              <a:avLst/>
            </a:prstGeom>
            <a:ln>
              <a:solidFill>
                <a:srgbClr val="19436B"/>
              </a:solidFill>
            </a:ln>
          </p:spPr>
          <p:style>
            <a:lnRef idx="3">
              <a:schemeClr val="accent1"/>
            </a:lnRef>
            <a:fillRef idx="0">
              <a:schemeClr val="accent1"/>
            </a:fillRef>
            <a:effectRef idx="2">
              <a:schemeClr val="accent1"/>
            </a:effectRef>
            <a:fontRef idx="minor">
              <a:schemeClr val="tx1"/>
            </a:fontRef>
          </p:style>
        </p:cxnSp>
        <p:cxnSp>
          <p:nvCxnSpPr>
            <p:cNvPr id="19" name="Connettore 1 18">
              <a:extLst>
                <a:ext uri="{FF2B5EF4-FFF2-40B4-BE49-F238E27FC236}">
                  <a16:creationId xmlns:a16="http://schemas.microsoft.com/office/drawing/2014/main" id="{2CA329C9-862C-F74B-8556-3BD519CC6516}"/>
                </a:ext>
              </a:extLst>
            </p:cNvPr>
            <p:cNvCxnSpPr>
              <a:cxnSpLocks/>
            </p:cNvCxnSpPr>
            <p:nvPr/>
          </p:nvCxnSpPr>
          <p:spPr>
            <a:xfrm flipH="1" flipV="1">
              <a:off x="3326468" y="2654300"/>
              <a:ext cx="877232" cy="2628"/>
            </a:xfrm>
            <a:prstGeom prst="line">
              <a:avLst/>
            </a:prstGeom>
            <a:ln>
              <a:solidFill>
                <a:srgbClr val="19436B"/>
              </a:solidFill>
            </a:ln>
          </p:spPr>
          <p:style>
            <a:lnRef idx="3">
              <a:schemeClr val="accent1"/>
            </a:lnRef>
            <a:fillRef idx="0">
              <a:schemeClr val="accent1"/>
            </a:fillRef>
            <a:effectRef idx="2">
              <a:schemeClr val="accent1"/>
            </a:effectRef>
            <a:fontRef idx="minor">
              <a:schemeClr val="tx1"/>
            </a:fontRef>
          </p:style>
        </p:cxnSp>
      </p:grpSp>
      <p:grpSp>
        <p:nvGrpSpPr>
          <p:cNvPr id="25" name="Gruppo 24">
            <a:extLst>
              <a:ext uri="{FF2B5EF4-FFF2-40B4-BE49-F238E27FC236}">
                <a16:creationId xmlns:a16="http://schemas.microsoft.com/office/drawing/2014/main" id="{F01A9EF4-01D3-D448-A12F-7A1458AA1E0C}"/>
              </a:ext>
            </a:extLst>
          </p:cNvPr>
          <p:cNvGrpSpPr/>
          <p:nvPr/>
        </p:nvGrpSpPr>
        <p:grpSpPr>
          <a:xfrm>
            <a:off x="3098800" y="2923655"/>
            <a:ext cx="2603391" cy="1172278"/>
            <a:chOff x="3193834" y="2656928"/>
            <a:chExt cx="2603391" cy="1172278"/>
          </a:xfrm>
        </p:grpSpPr>
        <p:cxnSp>
          <p:nvCxnSpPr>
            <p:cNvPr id="26" name="Connettore 1 25">
              <a:extLst>
                <a:ext uri="{FF2B5EF4-FFF2-40B4-BE49-F238E27FC236}">
                  <a16:creationId xmlns:a16="http://schemas.microsoft.com/office/drawing/2014/main" id="{42664E21-19EF-A24A-8673-FECCCD6E53B5}"/>
                </a:ext>
              </a:extLst>
            </p:cNvPr>
            <p:cNvCxnSpPr>
              <a:cxnSpLocks/>
            </p:cNvCxnSpPr>
            <p:nvPr/>
          </p:nvCxnSpPr>
          <p:spPr>
            <a:xfrm flipH="1" flipV="1">
              <a:off x="4203700" y="2656928"/>
              <a:ext cx="1593525" cy="1172278"/>
            </a:xfrm>
            <a:prstGeom prst="line">
              <a:avLst/>
            </a:prstGeom>
            <a:ln>
              <a:solidFill>
                <a:srgbClr val="19436B"/>
              </a:solidFill>
            </a:ln>
          </p:spPr>
          <p:style>
            <a:lnRef idx="3">
              <a:schemeClr val="accent1"/>
            </a:lnRef>
            <a:fillRef idx="0">
              <a:schemeClr val="accent1"/>
            </a:fillRef>
            <a:effectRef idx="2">
              <a:schemeClr val="accent1"/>
            </a:effectRef>
            <a:fontRef idx="minor">
              <a:schemeClr val="tx1"/>
            </a:fontRef>
          </p:style>
        </p:cxnSp>
        <p:cxnSp>
          <p:nvCxnSpPr>
            <p:cNvPr id="27" name="Connettore 1 26">
              <a:extLst>
                <a:ext uri="{FF2B5EF4-FFF2-40B4-BE49-F238E27FC236}">
                  <a16:creationId xmlns:a16="http://schemas.microsoft.com/office/drawing/2014/main" id="{15BAA037-DD54-2A4D-A088-CB8E59F1812A}"/>
                </a:ext>
              </a:extLst>
            </p:cNvPr>
            <p:cNvCxnSpPr>
              <a:cxnSpLocks/>
            </p:cNvCxnSpPr>
            <p:nvPr/>
          </p:nvCxnSpPr>
          <p:spPr>
            <a:xfrm flipH="1">
              <a:off x="3193834" y="2656928"/>
              <a:ext cx="1009866" cy="0"/>
            </a:xfrm>
            <a:prstGeom prst="line">
              <a:avLst/>
            </a:prstGeom>
            <a:ln>
              <a:solidFill>
                <a:srgbClr val="19436B"/>
              </a:solidFill>
            </a:ln>
          </p:spPr>
          <p:style>
            <a:lnRef idx="3">
              <a:schemeClr val="accent1"/>
            </a:lnRef>
            <a:fillRef idx="0">
              <a:schemeClr val="accent1"/>
            </a:fillRef>
            <a:effectRef idx="2">
              <a:schemeClr val="accent1"/>
            </a:effectRef>
            <a:fontRef idx="minor">
              <a:schemeClr val="tx1"/>
            </a:fontRef>
          </p:style>
        </p:cxnSp>
      </p:grpSp>
      <p:grpSp>
        <p:nvGrpSpPr>
          <p:cNvPr id="37" name="Gruppo 36">
            <a:extLst>
              <a:ext uri="{FF2B5EF4-FFF2-40B4-BE49-F238E27FC236}">
                <a16:creationId xmlns:a16="http://schemas.microsoft.com/office/drawing/2014/main" id="{6B411E14-13D8-0F47-AFE4-7B4447A2CFDD}"/>
              </a:ext>
            </a:extLst>
          </p:cNvPr>
          <p:cNvGrpSpPr/>
          <p:nvPr/>
        </p:nvGrpSpPr>
        <p:grpSpPr>
          <a:xfrm flipV="1">
            <a:off x="3180080" y="4718280"/>
            <a:ext cx="2634390" cy="1282390"/>
            <a:chOff x="3002152" y="2448119"/>
            <a:chExt cx="2634390" cy="1282390"/>
          </a:xfrm>
        </p:grpSpPr>
        <p:cxnSp>
          <p:nvCxnSpPr>
            <p:cNvPr id="38" name="Connettore 1 37">
              <a:extLst>
                <a:ext uri="{FF2B5EF4-FFF2-40B4-BE49-F238E27FC236}">
                  <a16:creationId xmlns:a16="http://schemas.microsoft.com/office/drawing/2014/main" id="{69712AA3-1F6B-484B-A869-C06C8AFB942E}"/>
                </a:ext>
              </a:extLst>
            </p:cNvPr>
            <p:cNvCxnSpPr>
              <a:cxnSpLocks/>
            </p:cNvCxnSpPr>
            <p:nvPr/>
          </p:nvCxnSpPr>
          <p:spPr>
            <a:xfrm flipH="1" flipV="1">
              <a:off x="3930738" y="2448119"/>
              <a:ext cx="1705804" cy="1282390"/>
            </a:xfrm>
            <a:prstGeom prst="line">
              <a:avLst/>
            </a:prstGeom>
            <a:ln>
              <a:solidFill>
                <a:srgbClr val="19436B"/>
              </a:solidFill>
            </a:ln>
          </p:spPr>
          <p:style>
            <a:lnRef idx="3">
              <a:schemeClr val="accent1"/>
            </a:lnRef>
            <a:fillRef idx="0">
              <a:schemeClr val="accent1"/>
            </a:fillRef>
            <a:effectRef idx="2">
              <a:schemeClr val="accent1"/>
            </a:effectRef>
            <a:fontRef idx="minor">
              <a:schemeClr val="tx1"/>
            </a:fontRef>
          </p:style>
        </p:cxnSp>
        <p:cxnSp>
          <p:nvCxnSpPr>
            <p:cNvPr id="39" name="Connettore 1 38">
              <a:extLst>
                <a:ext uri="{FF2B5EF4-FFF2-40B4-BE49-F238E27FC236}">
                  <a16:creationId xmlns:a16="http://schemas.microsoft.com/office/drawing/2014/main" id="{ABD977F5-0F2A-CA4F-B504-318E90EA21FF}"/>
                </a:ext>
              </a:extLst>
            </p:cNvPr>
            <p:cNvCxnSpPr>
              <a:cxnSpLocks/>
            </p:cNvCxnSpPr>
            <p:nvPr/>
          </p:nvCxnSpPr>
          <p:spPr>
            <a:xfrm flipH="1" flipV="1">
              <a:off x="3002152" y="2448119"/>
              <a:ext cx="928586" cy="2628"/>
            </a:xfrm>
            <a:prstGeom prst="line">
              <a:avLst/>
            </a:prstGeom>
            <a:ln>
              <a:solidFill>
                <a:srgbClr val="19436B"/>
              </a:solidFill>
            </a:ln>
          </p:spPr>
          <p:style>
            <a:lnRef idx="3">
              <a:schemeClr val="accent1"/>
            </a:lnRef>
            <a:fillRef idx="0">
              <a:schemeClr val="accent1"/>
            </a:fillRef>
            <a:effectRef idx="2">
              <a:schemeClr val="accent1"/>
            </a:effectRef>
            <a:fontRef idx="minor">
              <a:schemeClr val="tx1"/>
            </a:fontRef>
          </p:style>
        </p:cxnSp>
      </p:grpSp>
      <p:grpSp>
        <p:nvGrpSpPr>
          <p:cNvPr id="41" name="Gruppo 40">
            <a:extLst>
              <a:ext uri="{FF2B5EF4-FFF2-40B4-BE49-F238E27FC236}">
                <a16:creationId xmlns:a16="http://schemas.microsoft.com/office/drawing/2014/main" id="{FA5B8A3C-9482-584D-B4CC-7633848D5981}"/>
              </a:ext>
            </a:extLst>
          </p:cNvPr>
          <p:cNvGrpSpPr/>
          <p:nvPr/>
        </p:nvGrpSpPr>
        <p:grpSpPr>
          <a:xfrm flipH="1">
            <a:off x="6016676" y="2852388"/>
            <a:ext cx="2922859" cy="1297729"/>
            <a:chOff x="2713682" y="2432781"/>
            <a:chExt cx="2922859" cy="1297729"/>
          </a:xfrm>
        </p:grpSpPr>
        <p:cxnSp>
          <p:nvCxnSpPr>
            <p:cNvPr id="42" name="Connettore 1 41">
              <a:extLst>
                <a:ext uri="{FF2B5EF4-FFF2-40B4-BE49-F238E27FC236}">
                  <a16:creationId xmlns:a16="http://schemas.microsoft.com/office/drawing/2014/main" id="{7C50A3F6-103F-D24F-B06D-F04C1DE2967A}"/>
                </a:ext>
              </a:extLst>
            </p:cNvPr>
            <p:cNvCxnSpPr>
              <a:cxnSpLocks/>
            </p:cNvCxnSpPr>
            <p:nvPr/>
          </p:nvCxnSpPr>
          <p:spPr>
            <a:xfrm flipH="1" flipV="1">
              <a:off x="3872796" y="2432781"/>
              <a:ext cx="1763745" cy="1297729"/>
            </a:xfrm>
            <a:prstGeom prst="line">
              <a:avLst/>
            </a:prstGeom>
            <a:ln>
              <a:solidFill>
                <a:srgbClr val="19436B"/>
              </a:solidFill>
            </a:ln>
          </p:spPr>
          <p:style>
            <a:lnRef idx="3">
              <a:schemeClr val="accent1"/>
            </a:lnRef>
            <a:fillRef idx="0">
              <a:schemeClr val="accent1"/>
            </a:fillRef>
            <a:effectRef idx="2">
              <a:schemeClr val="accent1"/>
            </a:effectRef>
            <a:fontRef idx="minor">
              <a:schemeClr val="tx1"/>
            </a:fontRef>
          </p:style>
        </p:cxnSp>
        <p:cxnSp>
          <p:nvCxnSpPr>
            <p:cNvPr id="43" name="Connettore 1 42">
              <a:extLst>
                <a:ext uri="{FF2B5EF4-FFF2-40B4-BE49-F238E27FC236}">
                  <a16:creationId xmlns:a16="http://schemas.microsoft.com/office/drawing/2014/main" id="{A4E11723-7D53-9244-8366-660EAA257550}"/>
                </a:ext>
              </a:extLst>
            </p:cNvPr>
            <p:cNvCxnSpPr>
              <a:cxnSpLocks/>
            </p:cNvCxnSpPr>
            <p:nvPr/>
          </p:nvCxnSpPr>
          <p:spPr>
            <a:xfrm flipH="1">
              <a:off x="2713682" y="2435409"/>
              <a:ext cx="1170444" cy="0"/>
            </a:xfrm>
            <a:prstGeom prst="line">
              <a:avLst/>
            </a:prstGeom>
            <a:ln>
              <a:solidFill>
                <a:srgbClr val="19436B"/>
              </a:solidFill>
            </a:ln>
          </p:spPr>
          <p:style>
            <a:lnRef idx="3">
              <a:schemeClr val="accent1"/>
            </a:lnRef>
            <a:fillRef idx="0">
              <a:schemeClr val="accent1"/>
            </a:fillRef>
            <a:effectRef idx="2">
              <a:schemeClr val="accent1"/>
            </a:effectRef>
            <a:fontRef idx="minor">
              <a:schemeClr val="tx1"/>
            </a:fontRef>
          </p:style>
        </p:cxnSp>
      </p:grpSp>
      <p:sp>
        <p:nvSpPr>
          <p:cNvPr id="48" name="CasellaDiTesto 47">
            <a:extLst>
              <a:ext uri="{FF2B5EF4-FFF2-40B4-BE49-F238E27FC236}">
                <a16:creationId xmlns:a16="http://schemas.microsoft.com/office/drawing/2014/main" id="{A2CDA35B-58D3-A94E-8F17-FF721E2B4AB6}"/>
              </a:ext>
            </a:extLst>
          </p:cNvPr>
          <p:cNvSpPr txBox="1"/>
          <p:nvPr/>
        </p:nvSpPr>
        <p:spPr>
          <a:xfrm>
            <a:off x="1218416" y="2363938"/>
            <a:ext cx="1885361" cy="1119433"/>
          </a:xfrm>
          <a:prstGeom prst="rect">
            <a:avLst/>
          </a:prstGeom>
          <a:solidFill>
            <a:schemeClr val="bg1"/>
          </a:solidFill>
        </p:spPr>
        <p:txBody>
          <a:bodyPr wrap="square" rtlCol="0">
            <a:spAutoFit/>
          </a:bodyPr>
          <a:lstStyle/>
          <a:p>
            <a:endParaRPr lang="it-IT" dirty="0"/>
          </a:p>
        </p:txBody>
      </p:sp>
      <p:sp>
        <p:nvSpPr>
          <p:cNvPr id="49" name="CasellaDiTesto 48">
            <a:extLst>
              <a:ext uri="{FF2B5EF4-FFF2-40B4-BE49-F238E27FC236}">
                <a16:creationId xmlns:a16="http://schemas.microsoft.com/office/drawing/2014/main" id="{38157541-A62C-D146-AC3A-ED04808A8BE3}"/>
              </a:ext>
            </a:extLst>
          </p:cNvPr>
          <p:cNvSpPr txBox="1"/>
          <p:nvPr/>
        </p:nvSpPr>
        <p:spPr>
          <a:xfrm>
            <a:off x="1218416" y="2418426"/>
            <a:ext cx="1875407" cy="323165"/>
          </a:xfrm>
          <a:prstGeom prst="rect">
            <a:avLst/>
          </a:prstGeom>
          <a:noFill/>
        </p:spPr>
        <p:txBody>
          <a:bodyPr wrap="square" rtlCol="0">
            <a:spAutoFit/>
          </a:bodyPr>
          <a:lstStyle/>
          <a:p>
            <a:pPr algn="ctr"/>
            <a:r>
              <a:rPr lang="it-IT" sz="1500" b="1" dirty="0">
                <a:solidFill>
                  <a:srgbClr val="19436B"/>
                </a:solidFill>
                <a:latin typeface="Times New Roman" panose="02020603050405020304" pitchFamily="18" charset="0"/>
                <a:cs typeface="Times New Roman" panose="02020603050405020304" pitchFamily="18" charset="0"/>
              </a:rPr>
              <a:t>GERMANIA</a:t>
            </a:r>
          </a:p>
        </p:txBody>
      </p:sp>
      <p:sp>
        <p:nvSpPr>
          <p:cNvPr id="50" name="CasellaDiTesto 49">
            <a:extLst>
              <a:ext uri="{FF2B5EF4-FFF2-40B4-BE49-F238E27FC236}">
                <a16:creationId xmlns:a16="http://schemas.microsoft.com/office/drawing/2014/main" id="{A3C5CDD0-F941-9F47-8139-F9DA7F2E4EAC}"/>
              </a:ext>
            </a:extLst>
          </p:cNvPr>
          <p:cNvSpPr txBox="1"/>
          <p:nvPr/>
        </p:nvSpPr>
        <p:spPr>
          <a:xfrm>
            <a:off x="1222655" y="2895431"/>
            <a:ext cx="1880384" cy="553998"/>
          </a:xfrm>
          <a:prstGeom prst="rect">
            <a:avLst/>
          </a:prstGeom>
          <a:noFill/>
        </p:spPr>
        <p:txBody>
          <a:bodyPr wrap="square" lIns="0" rIns="0" rtlCol="0">
            <a:spAutoFit/>
          </a:bodyPr>
          <a:lstStyle/>
          <a:p>
            <a:pPr algn="ctr"/>
            <a:r>
              <a:rPr lang="it-IT" sz="1500" dirty="0">
                <a:solidFill>
                  <a:schemeClr val="bg2">
                    <a:lumMod val="25000"/>
                  </a:schemeClr>
                </a:solidFill>
                <a:latin typeface="Times New Roman" panose="02020603050405020304" pitchFamily="18" charset="0"/>
                <a:cs typeface="Times New Roman" panose="02020603050405020304" pitchFamily="18" charset="0"/>
              </a:rPr>
              <a:t>Proposta strettamente vincolante</a:t>
            </a:r>
          </a:p>
        </p:txBody>
      </p:sp>
      <p:sp>
        <p:nvSpPr>
          <p:cNvPr id="51" name="CasellaDiTesto 50">
            <a:extLst>
              <a:ext uri="{FF2B5EF4-FFF2-40B4-BE49-F238E27FC236}">
                <a16:creationId xmlns:a16="http://schemas.microsoft.com/office/drawing/2014/main" id="{E67180B4-7D52-204E-AF82-EDDA64A0D7C8}"/>
              </a:ext>
            </a:extLst>
          </p:cNvPr>
          <p:cNvSpPr txBox="1"/>
          <p:nvPr/>
        </p:nvSpPr>
        <p:spPr>
          <a:xfrm>
            <a:off x="1294719" y="5584042"/>
            <a:ext cx="1885361" cy="828000"/>
          </a:xfrm>
          <a:prstGeom prst="rect">
            <a:avLst/>
          </a:prstGeom>
          <a:solidFill>
            <a:schemeClr val="bg1"/>
          </a:solidFill>
        </p:spPr>
        <p:txBody>
          <a:bodyPr wrap="square" rtlCol="0">
            <a:spAutoFit/>
          </a:bodyPr>
          <a:lstStyle/>
          <a:p>
            <a:endParaRPr lang="it-IT" dirty="0"/>
          </a:p>
        </p:txBody>
      </p:sp>
      <p:sp>
        <p:nvSpPr>
          <p:cNvPr id="52" name="CasellaDiTesto 51">
            <a:extLst>
              <a:ext uri="{FF2B5EF4-FFF2-40B4-BE49-F238E27FC236}">
                <a16:creationId xmlns:a16="http://schemas.microsoft.com/office/drawing/2014/main" id="{14049F12-FD4B-EF4E-BE86-20FA7DC02732}"/>
              </a:ext>
            </a:extLst>
          </p:cNvPr>
          <p:cNvSpPr txBox="1"/>
          <p:nvPr/>
        </p:nvSpPr>
        <p:spPr>
          <a:xfrm>
            <a:off x="1299696" y="5674877"/>
            <a:ext cx="1880384" cy="323165"/>
          </a:xfrm>
          <a:prstGeom prst="rect">
            <a:avLst/>
          </a:prstGeom>
          <a:noFill/>
        </p:spPr>
        <p:txBody>
          <a:bodyPr wrap="square" rtlCol="0">
            <a:spAutoFit/>
          </a:bodyPr>
          <a:lstStyle/>
          <a:p>
            <a:pPr algn="ctr"/>
            <a:r>
              <a:rPr lang="it-IT" sz="1500" b="1" dirty="0">
                <a:solidFill>
                  <a:srgbClr val="19436B"/>
                </a:solidFill>
                <a:latin typeface="Times New Roman" panose="02020603050405020304" pitchFamily="18" charset="0"/>
                <a:cs typeface="Times New Roman" panose="02020603050405020304" pitchFamily="18" charset="0"/>
              </a:rPr>
              <a:t>ITALIA</a:t>
            </a:r>
          </a:p>
        </p:txBody>
      </p:sp>
      <p:sp>
        <p:nvSpPr>
          <p:cNvPr id="53" name="CasellaDiTesto 52">
            <a:extLst>
              <a:ext uri="{FF2B5EF4-FFF2-40B4-BE49-F238E27FC236}">
                <a16:creationId xmlns:a16="http://schemas.microsoft.com/office/drawing/2014/main" id="{6E101248-C735-8E4F-ADFB-DE46EFF5FCFD}"/>
              </a:ext>
            </a:extLst>
          </p:cNvPr>
          <p:cNvSpPr txBox="1"/>
          <p:nvPr/>
        </p:nvSpPr>
        <p:spPr>
          <a:xfrm>
            <a:off x="1299696" y="5998042"/>
            <a:ext cx="1880384" cy="323165"/>
          </a:xfrm>
          <a:prstGeom prst="rect">
            <a:avLst/>
          </a:prstGeom>
          <a:noFill/>
        </p:spPr>
        <p:txBody>
          <a:bodyPr wrap="square" lIns="0" rIns="0" rtlCol="0">
            <a:spAutoFit/>
          </a:bodyPr>
          <a:lstStyle/>
          <a:p>
            <a:pPr algn="ctr"/>
            <a:r>
              <a:rPr lang="it-IT" sz="1500" dirty="0">
                <a:solidFill>
                  <a:schemeClr val="bg2">
                    <a:lumMod val="25000"/>
                  </a:schemeClr>
                </a:solidFill>
                <a:latin typeface="Times New Roman" panose="02020603050405020304" pitchFamily="18" charset="0"/>
                <a:cs typeface="Times New Roman" panose="02020603050405020304" pitchFamily="18" charset="0"/>
              </a:rPr>
              <a:t>Teoria della cognizione</a:t>
            </a:r>
          </a:p>
        </p:txBody>
      </p:sp>
      <p:sp>
        <p:nvSpPr>
          <p:cNvPr id="54" name="CasellaDiTesto 53">
            <a:extLst>
              <a:ext uri="{FF2B5EF4-FFF2-40B4-BE49-F238E27FC236}">
                <a16:creationId xmlns:a16="http://schemas.microsoft.com/office/drawing/2014/main" id="{F4506F19-9272-4541-8D45-2F8790E6A32B}"/>
              </a:ext>
            </a:extLst>
          </p:cNvPr>
          <p:cNvSpPr txBox="1"/>
          <p:nvPr/>
        </p:nvSpPr>
        <p:spPr>
          <a:xfrm>
            <a:off x="8939535" y="2363938"/>
            <a:ext cx="1885361" cy="972000"/>
          </a:xfrm>
          <a:prstGeom prst="rect">
            <a:avLst/>
          </a:prstGeom>
          <a:solidFill>
            <a:schemeClr val="bg1"/>
          </a:solidFill>
        </p:spPr>
        <p:txBody>
          <a:bodyPr wrap="square" rtlCol="0">
            <a:spAutoFit/>
          </a:bodyPr>
          <a:lstStyle/>
          <a:p>
            <a:endParaRPr lang="it-IT" dirty="0"/>
          </a:p>
        </p:txBody>
      </p:sp>
      <p:sp>
        <p:nvSpPr>
          <p:cNvPr id="55" name="CasellaDiTesto 54">
            <a:extLst>
              <a:ext uri="{FF2B5EF4-FFF2-40B4-BE49-F238E27FC236}">
                <a16:creationId xmlns:a16="http://schemas.microsoft.com/office/drawing/2014/main" id="{11D0A8D0-0EDF-684C-B650-7A045C188895}"/>
              </a:ext>
            </a:extLst>
          </p:cNvPr>
          <p:cNvSpPr txBox="1"/>
          <p:nvPr/>
        </p:nvSpPr>
        <p:spPr>
          <a:xfrm>
            <a:off x="8934557" y="2418426"/>
            <a:ext cx="1885361" cy="553998"/>
          </a:xfrm>
          <a:prstGeom prst="rect">
            <a:avLst/>
          </a:prstGeom>
          <a:noFill/>
        </p:spPr>
        <p:txBody>
          <a:bodyPr wrap="square" rtlCol="0">
            <a:spAutoFit/>
          </a:bodyPr>
          <a:lstStyle/>
          <a:p>
            <a:pPr algn="ctr"/>
            <a:r>
              <a:rPr lang="it-IT" sz="1500" b="1" dirty="0">
                <a:solidFill>
                  <a:srgbClr val="19436B"/>
                </a:solidFill>
                <a:latin typeface="Times New Roman" panose="02020603050405020304" pitchFamily="18" charset="0"/>
                <a:cs typeface="Times New Roman" panose="02020603050405020304" pitchFamily="18" charset="0"/>
              </a:rPr>
              <a:t>CONVENZIONE di VIENNA</a:t>
            </a:r>
          </a:p>
        </p:txBody>
      </p:sp>
      <p:sp>
        <p:nvSpPr>
          <p:cNvPr id="56" name="CasellaDiTesto 55">
            <a:extLst>
              <a:ext uri="{FF2B5EF4-FFF2-40B4-BE49-F238E27FC236}">
                <a16:creationId xmlns:a16="http://schemas.microsoft.com/office/drawing/2014/main" id="{51637C48-47FC-6B4B-A996-ABEDEE14BE49}"/>
              </a:ext>
            </a:extLst>
          </p:cNvPr>
          <p:cNvSpPr txBox="1"/>
          <p:nvPr/>
        </p:nvSpPr>
        <p:spPr>
          <a:xfrm>
            <a:off x="8947001" y="2946232"/>
            <a:ext cx="1880384" cy="323165"/>
          </a:xfrm>
          <a:prstGeom prst="rect">
            <a:avLst/>
          </a:prstGeom>
          <a:noFill/>
        </p:spPr>
        <p:txBody>
          <a:bodyPr wrap="square" lIns="0" rIns="0" rtlCol="0">
            <a:spAutoFit/>
          </a:bodyPr>
          <a:lstStyle/>
          <a:p>
            <a:pPr algn="ctr"/>
            <a:r>
              <a:rPr lang="it-IT" sz="1500" dirty="0">
                <a:solidFill>
                  <a:schemeClr val="bg2">
                    <a:lumMod val="25000"/>
                  </a:schemeClr>
                </a:solidFill>
                <a:latin typeface="Times New Roman" panose="02020603050405020304" pitchFamily="18" charset="0"/>
                <a:cs typeface="Times New Roman" panose="02020603050405020304" pitchFamily="18" charset="0"/>
              </a:rPr>
              <a:t>Peculiarità</a:t>
            </a:r>
          </a:p>
        </p:txBody>
      </p:sp>
      <p:sp>
        <p:nvSpPr>
          <p:cNvPr id="57" name="CasellaDiTesto 56">
            <a:extLst>
              <a:ext uri="{FF2B5EF4-FFF2-40B4-BE49-F238E27FC236}">
                <a16:creationId xmlns:a16="http://schemas.microsoft.com/office/drawing/2014/main" id="{B73B9A08-3C56-1444-BB22-4A60E4CA6D73}"/>
              </a:ext>
            </a:extLst>
          </p:cNvPr>
          <p:cNvSpPr txBox="1"/>
          <p:nvPr/>
        </p:nvSpPr>
        <p:spPr>
          <a:xfrm>
            <a:off x="1213439" y="2634496"/>
            <a:ext cx="1889600" cy="323165"/>
          </a:xfrm>
          <a:prstGeom prst="rect">
            <a:avLst/>
          </a:prstGeom>
          <a:noFill/>
        </p:spPr>
        <p:txBody>
          <a:bodyPr wrap="square" rtlCol="0">
            <a:spAutoFit/>
          </a:bodyPr>
          <a:lstStyle/>
          <a:p>
            <a:pPr algn="ctr"/>
            <a:r>
              <a:rPr lang="it-IT" sz="1500" b="1" dirty="0">
                <a:solidFill>
                  <a:srgbClr val="19436B"/>
                </a:solidFill>
                <a:latin typeface="Times New Roman" panose="02020603050405020304" pitchFamily="18" charset="0"/>
                <a:cs typeface="Times New Roman" panose="02020603050405020304" pitchFamily="18" charset="0"/>
              </a:rPr>
              <a:t>(Svizzera, Austria)</a:t>
            </a:r>
            <a:endParaRPr lang="it-IT" sz="1500" b="1" dirty="0"/>
          </a:p>
        </p:txBody>
      </p:sp>
    </p:spTree>
    <p:extLst>
      <p:ext uri="{BB962C8B-B14F-4D97-AF65-F5344CB8AC3E}">
        <p14:creationId xmlns:p14="http://schemas.microsoft.com/office/powerpoint/2010/main" val="1892965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p:cTn id="7" dur="750" fill="hold"/>
                                        <p:tgtEl>
                                          <p:spTgt spid="40"/>
                                        </p:tgtEl>
                                        <p:attrNameLst>
                                          <p:attrName>ppt_w</p:attrName>
                                        </p:attrNameLst>
                                      </p:cBhvr>
                                      <p:tavLst>
                                        <p:tav tm="0">
                                          <p:val>
                                            <p:fltVal val="0"/>
                                          </p:val>
                                        </p:tav>
                                        <p:tav tm="100000">
                                          <p:val>
                                            <p:strVal val="#ppt_w"/>
                                          </p:val>
                                        </p:tav>
                                      </p:tavLst>
                                    </p:anim>
                                    <p:anim calcmode="lin" valueType="num">
                                      <p:cBhvr>
                                        <p:cTn id="8" dur="750" fill="hold"/>
                                        <p:tgtEl>
                                          <p:spTgt spid="40"/>
                                        </p:tgtEl>
                                        <p:attrNameLst>
                                          <p:attrName>ppt_h</p:attrName>
                                        </p:attrNameLst>
                                      </p:cBhvr>
                                      <p:tavLst>
                                        <p:tav tm="0">
                                          <p:val>
                                            <p:fltVal val="0"/>
                                          </p:val>
                                        </p:tav>
                                        <p:tav tm="100000">
                                          <p:val>
                                            <p:strVal val="#ppt_h"/>
                                          </p:val>
                                        </p:tav>
                                      </p:tavLst>
                                    </p:anim>
                                    <p:animEffect transition="in" filter="fade">
                                      <p:cBhvr>
                                        <p:cTn id="9" dur="750"/>
                                        <p:tgtEl>
                                          <p:spTgt spid="40"/>
                                        </p:tgtEl>
                                      </p:cBhvr>
                                    </p:animEffect>
                                  </p:childTnLst>
                                </p:cTn>
                              </p:par>
                            </p:childTnLst>
                          </p:cTn>
                        </p:par>
                      </p:childTnLst>
                    </p:cTn>
                  </p:par>
                  <p:par>
                    <p:cTn id="10" fill="hold">
                      <p:stCondLst>
                        <p:cond delay="indefinite"/>
                      </p:stCondLst>
                      <p:childTnLst>
                        <p:par>
                          <p:cTn id="11" fill="hold">
                            <p:stCondLst>
                              <p:cond delay="0"/>
                            </p:stCondLst>
                            <p:childTnLst>
                              <p:par>
                                <p:cTn id="12" presetID="2" presetClass="entr" presetSubtype="1"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additive="base">
                                        <p:cTn id="14" dur="500" fill="hold"/>
                                        <p:tgtEl>
                                          <p:spTgt spid="7"/>
                                        </p:tgtEl>
                                        <p:attrNameLst>
                                          <p:attrName>ppt_x</p:attrName>
                                        </p:attrNameLst>
                                      </p:cBhvr>
                                      <p:tavLst>
                                        <p:tav tm="0">
                                          <p:val>
                                            <p:strVal val="#ppt_x"/>
                                          </p:val>
                                        </p:tav>
                                        <p:tav tm="100000">
                                          <p:val>
                                            <p:strVal val="#ppt_x"/>
                                          </p:val>
                                        </p:tav>
                                      </p:tavLst>
                                    </p:anim>
                                    <p:anim calcmode="lin" valueType="num">
                                      <p:cBhvr additive="base">
                                        <p:cTn id="15" dur="500" fill="hold"/>
                                        <p:tgtEl>
                                          <p:spTgt spid="7"/>
                                        </p:tgtEl>
                                        <p:attrNameLst>
                                          <p:attrName>ppt_y</p:attrName>
                                        </p:attrNameLst>
                                      </p:cBhvr>
                                      <p:tavLst>
                                        <p:tav tm="0">
                                          <p:val>
                                            <p:strVal val="0-#ppt_h/2"/>
                                          </p:val>
                                        </p:tav>
                                        <p:tav tm="100000">
                                          <p:val>
                                            <p:strVal val="#ppt_y"/>
                                          </p:val>
                                        </p:tav>
                                      </p:tavLst>
                                    </p:anim>
                                  </p:childTnLst>
                                </p:cTn>
                              </p:par>
                            </p:childTnLst>
                          </p:cTn>
                        </p:par>
                        <p:par>
                          <p:cTn id="16" fill="hold">
                            <p:stCondLst>
                              <p:cond delay="500"/>
                            </p:stCondLst>
                            <p:childTnLst>
                              <p:par>
                                <p:cTn id="17" presetID="18" presetClass="entr" presetSubtype="9" fill="hold"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strips(upLeft)">
                                      <p:cBhvr>
                                        <p:cTn id="19" dur="500"/>
                                        <p:tgtEl>
                                          <p:spTgt spid="12"/>
                                        </p:tgtEl>
                                      </p:cBhvr>
                                    </p:animEffect>
                                  </p:childTnLst>
                                </p:cTn>
                              </p:par>
                            </p:childTnLst>
                          </p:cTn>
                        </p:par>
                        <p:par>
                          <p:cTn id="20" fill="hold">
                            <p:stCondLst>
                              <p:cond delay="1000"/>
                            </p:stCondLst>
                            <p:childTnLst>
                              <p:par>
                                <p:cTn id="21" presetID="53" presetClass="entr" presetSubtype="16"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 calcmode="lin" valueType="num">
                                      <p:cBhvr>
                                        <p:cTn id="23" dur="500" fill="hold"/>
                                        <p:tgtEl>
                                          <p:spTgt spid="48"/>
                                        </p:tgtEl>
                                        <p:attrNameLst>
                                          <p:attrName>ppt_w</p:attrName>
                                        </p:attrNameLst>
                                      </p:cBhvr>
                                      <p:tavLst>
                                        <p:tav tm="0">
                                          <p:val>
                                            <p:fltVal val="0"/>
                                          </p:val>
                                        </p:tav>
                                        <p:tav tm="100000">
                                          <p:val>
                                            <p:strVal val="#ppt_w"/>
                                          </p:val>
                                        </p:tav>
                                      </p:tavLst>
                                    </p:anim>
                                    <p:anim calcmode="lin" valueType="num">
                                      <p:cBhvr>
                                        <p:cTn id="24" dur="500" fill="hold"/>
                                        <p:tgtEl>
                                          <p:spTgt spid="48"/>
                                        </p:tgtEl>
                                        <p:attrNameLst>
                                          <p:attrName>ppt_h</p:attrName>
                                        </p:attrNameLst>
                                      </p:cBhvr>
                                      <p:tavLst>
                                        <p:tav tm="0">
                                          <p:val>
                                            <p:fltVal val="0"/>
                                          </p:val>
                                        </p:tav>
                                        <p:tav tm="100000">
                                          <p:val>
                                            <p:strVal val="#ppt_h"/>
                                          </p:val>
                                        </p:tav>
                                      </p:tavLst>
                                    </p:anim>
                                    <p:animEffect transition="in" filter="fade">
                                      <p:cBhvr>
                                        <p:cTn id="25" dur="500"/>
                                        <p:tgtEl>
                                          <p:spTgt spid="48"/>
                                        </p:tgtEl>
                                      </p:cBhvr>
                                    </p:animEffect>
                                  </p:childTnLst>
                                </p:cTn>
                              </p:par>
                              <p:par>
                                <p:cTn id="26" presetID="53" presetClass="entr" presetSubtype="16" fill="hold" nodeType="withEffect">
                                  <p:stCondLst>
                                    <p:cond delay="0"/>
                                  </p:stCondLst>
                                  <p:childTnLst>
                                    <p:set>
                                      <p:cBhvr>
                                        <p:cTn id="27" dur="1" fill="hold">
                                          <p:stCondLst>
                                            <p:cond delay="0"/>
                                          </p:stCondLst>
                                        </p:cTn>
                                        <p:tgtEl>
                                          <p:spTgt spid="49">
                                            <p:txEl>
                                              <p:pRg st="0" end="0"/>
                                            </p:txEl>
                                          </p:spTgt>
                                        </p:tgtEl>
                                        <p:attrNameLst>
                                          <p:attrName>style.visibility</p:attrName>
                                        </p:attrNameLst>
                                      </p:cBhvr>
                                      <p:to>
                                        <p:strVal val="visible"/>
                                      </p:to>
                                    </p:set>
                                    <p:anim calcmode="lin" valueType="num">
                                      <p:cBhvr>
                                        <p:cTn id="28" dur="500" fill="hold"/>
                                        <p:tgtEl>
                                          <p:spTgt spid="49">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49">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49">
                                            <p:txEl>
                                              <p:pRg st="0" end="0"/>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2" presetClass="entr" presetSubtype="1" fill="hold" grpId="0" nodeType="clickEffect">
                                  <p:stCondLst>
                                    <p:cond delay="0"/>
                                  </p:stCondLst>
                                  <p:childTnLst>
                                    <p:set>
                                      <p:cBhvr>
                                        <p:cTn id="34" dur="1" fill="hold">
                                          <p:stCondLst>
                                            <p:cond delay="0"/>
                                          </p:stCondLst>
                                        </p:cTn>
                                        <p:tgtEl>
                                          <p:spTgt spid="33"/>
                                        </p:tgtEl>
                                        <p:attrNameLst>
                                          <p:attrName>style.visibility</p:attrName>
                                        </p:attrNameLst>
                                      </p:cBhvr>
                                      <p:to>
                                        <p:strVal val="visible"/>
                                      </p:to>
                                    </p:set>
                                    <p:anim calcmode="lin" valueType="num">
                                      <p:cBhvr additive="base">
                                        <p:cTn id="35" dur="500" fill="hold"/>
                                        <p:tgtEl>
                                          <p:spTgt spid="33"/>
                                        </p:tgtEl>
                                        <p:attrNameLst>
                                          <p:attrName>ppt_x</p:attrName>
                                        </p:attrNameLst>
                                      </p:cBhvr>
                                      <p:tavLst>
                                        <p:tav tm="0">
                                          <p:val>
                                            <p:strVal val="#ppt_x"/>
                                          </p:val>
                                        </p:tav>
                                        <p:tav tm="100000">
                                          <p:val>
                                            <p:strVal val="#ppt_x"/>
                                          </p:val>
                                        </p:tav>
                                      </p:tavLst>
                                    </p:anim>
                                    <p:anim calcmode="lin" valueType="num">
                                      <p:cBhvr additive="base">
                                        <p:cTn id="36" dur="500" fill="hold"/>
                                        <p:tgtEl>
                                          <p:spTgt spid="33"/>
                                        </p:tgtEl>
                                        <p:attrNameLst>
                                          <p:attrName>ppt_y</p:attrName>
                                        </p:attrNameLst>
                                      </p:cBhvr>
                                      <p:tavLst>
                                        <p:tav tm="0">
                                          <p:val>
                                            <p:strVal val="0-#ppt_h/2"/>
                                          </p:val>
                                        </p:tav>
                                        <p:tav tm="100000">
                                          <p:val>
                                            <p:strVal val="#ppt_y"/>
                                          </p:val>
                                        </p:tav>
                                      </p:tavLst>
                                    </p:anim>
                                  </p:childTnLst>
                                </p:cTn>
                              </p:par>
                            </p:childTnLst>
                          </p:cTn>
                        </p:par>
                        <p:par>
                          <p:cTn id="37" fill="hold">
                            <p:stCondLst>
                              <p:cond delay="500"/>
                            </p:stCondLst>
                            <p:childTnLst>
                              <p:par>
                                <p:cTn id="38" presetID="18" presetClass="entr" presetSubtype="9" fill="hold" nodeType="afterEffect">
                                  <p:stCondLst>
                                    <p:cond delay="0"/>
                                  </p:stCondLst>
                                  <p:childTnLst>
                                    <p:set>
                                      <p:cBhvr>
                                        <p:cTn id="39" dur="1" fill="hold">
                                          <p:stCondLst>
                                            <p:cond delay="0"/>
                                          </p:stCondLst>
                                        </p:cTn>
                                        <p:tgtEl>
                                          <p:spTgt spid="25"/>
                                        </p:tgtEl>
                                        <p:attrNameLst>
                                          <p:attrName>style.visibility</p:attrName>
                                        </p:attrNameLst>
                                      </p:cBhvr>
                                      <p:to>
                                        <p:strVal val="visible"/>
                                      </p:to>
                                    </p:set>
                                    <p:animEffect transition="in" filter="strips(upLeft)">
                                      <p:cBhvr>
                                        <p:cTn id="40" dur="500"/>
                                        <p:tgtEl>
                                          <p:spTgt spid="25"/>
                                        </p:tgtEl>
                                      </p:cBhvr>
                                    </p:animEffect>
                                  </p:childTnLst>
                                </p:cTn>
                              </p:par>
                            </p:childTnLst>
                          </p:cTn>
                        </p:par>
                        <p:par>
                          <p:cTn id="41" fill="hold">
                            <p:stCondLst>
                              <p:cond delay="1000"/>
                            </p:stCondLst>
                            <p:childTnLst>
                              <p:par>
                                <p:cTn id="42" presetID="2" presetClass="entr" presetSubtype="1" fill="hold" grpId="0" nodeType="afterEffect">
                                  <p:stCondLst>
                                    <p:cond delay="0"/>
                                  </p:stCondLst>
                                  <p:childTnLst>
                                    <p:set>
                                      <p:cBhvr>
                                        <p:cTn id="43" dur="1" fill="hold">
                                          <p:stCondLst>
                                            <p:cond delay="0"/>
                                          </p:stCondLst>
                                        </p:cTn>
                                        <p:tgtEl>
                                          <p:spTgt spid="34"/>
                                        </p:tgtEl>
                                        <p:attrNameLst>
                                          <p:attrName>style.visibility</p:attrName>
                                        </p:attrNameLst>
                                      </p:cBhvr>
                                      <p:to>
                                        <p:strVal val="visible"/>
                                      </p:to>
                                    </p:set>
                                    <p:anim calcmode="lin" valueType="num">
                                      <p:cBhvr additive="base">
                                        <p:cTn id="44" dur="500" fill="hold"/>
                                        <p:tgtEl>
                                          <p:spTgt spid="34"/>
                                        </p:tgtEl>
                                        <p:attrNameLst>
                                          <p:attrName>ppt_x</p:attrName>
                                        </p:attrNameLst>
                                      </p:cBhvr>
                                      <p:tavLst>
                                        <p:tav tm="0">
                                          <p:val>
                                            <p:strVal val="#ppt_x"/>
                                          </p:val>
                                        </p:tav>
                                        <p:tav tm="100000">
                                          <p:val>
                                            <p:strVal val="#ppt_x"/>
                                          </p:val>
                                        </p:tav>
                                      </p:tavLst>
                                    </p:anim>
                                    <p:anim calcmode="lin" valueType="num">
                                      <p:cBhvr additive="base">
                                        <p:cTn id="45" dur="500" fill="hold"/>
                                        <p:tgtEl>
                                          <p:spTgt spid="34"/>
                                        </p:tgtEl>
                                        <p:attrNameLst>
                                          <p:attrName>ppt_y</p:attrName>
                                        </p:attrNameLst>
                                      </p:cBhvr>
                                      <p:tavLst>
                                        <p:tav tm="0">
                                          <p:val>
                                            <p:strVal val="0-#ppt_h/2"/>
                                          </p:val>
                                        </p:tav>
                                        <p:tav tm="100000">
                                          <p:val>
                                            <p:strVal val="#ppt_y"/>
                                          </p:val>
                                        </p:tav>
                                      </p:tavLst>
                                    </p:anim>
                                  </p:childTnLst>
                                </p:cTn>
                              </p:par>
                            </p:childTnLst>
                          </p:cTn>
                        </p:par>
                        <p:par>
                          <p:cTn id="46" fill="hold">
                            <p:stCondLst>
                              <p:cond delay="1500"/>
                            </p:stCondLst>
                            <p:childTnLst>
                              <p:par>
                                <p:cTn id="47" presetID="18" presetClass="entr" presetSubtype="9" fill="hold" nodeType="afterEffect">
                                  <p:stCondLst>
                                    <p:cond delay="0"/>
                                  </p:stCondLst>
                                  <p:childTnLst>
                                    <p:set>
                                      <p:cBhvr>
                                        <p:cTn id="48" dur="1" fill="hold">
                                          <p:stCondLst>
                                            <p:cond delay="0"/>
                                          </p:stCondLst>
                                        </p:cTn>
                                        <p:tgtEl>
                                          <p:spTgt spid="17"/>
                                        </p:tgtEl>
                                        <p:attrNameLst>
                                          <p:attrName>style.visibility</p:attrName>
                                        </p:attrNameLst>
                                      </p:cBhvr>
                                      <p:to>
                                        <p:strVal val="visible"/>
                                      </p:to>
                                    </p:set>
                                    <p:animEffect transition="in" filter="strips(upLeft)">
                                      <p:cBhvr>
                                        <p:cTn id="49" dur="500"/>
                                        <p:tgtEl>
                                          <p:spTgt spid="17"/>
                                        </p:tgtEl>
                                      </p:cBhvr>
                                    </p:animEffect>
                                  </p:childTnLst>
                                </p:cTn>
                              </p:par>
                              <p:par>
                                <p:cTn id="50" presetID="9" presetClass="entr" presetSubtype="0" fill="hold" grpId="0" nodeType="withEffect">
                                  <p:stCondLst>
                                    <p:cond delay="0"/>
                                  </p:stCondLst>
                                  <p:childTnLst>
                                    <p:set>
                                      <p:cBhvr>
                                        <p:cTn id="51" dur="1" fill="hold">
                                          <p:stCondLst>
                                            <p:cond delay="0"/>
                                          </p:stCondLst>
                                        </p:cTn>
                                        <p:tgtEl>
                                          <p:spTgt spid="57"/>
                                        </p:tgtEl>
                                        <p:attrNameLst>
                                          <p:attrName>style.visibility</p:attrName>
                                        </p:attrNameLst>
                                      </p:cBhvr>
                                      <p:to>
                                        <p:strVal val="visible"/>
                                      </p:to>
                                    </p:set>
                                    <p:animEffect transition="in" filter="dissolve">
                                      <p:cBhvr>
                                        <p:cTn id="52" dur="500"/>
                                        <p:tgtEl>
                                          <p:spTgt spid="57"/>
                                        </p:tgtEl>
                                      </p:cBhvr>
                                    </p:animEffect>
                                  </p:childTnLst>
                                </p:cTn>
                              </p:par>
                            </p:childTnLst>
                          </p:cTn>
                        </p:par>
                      </p:childTnLst>
                    </p:cTn>
                  </p:par>
                  <p:par>
                    <p:cTn id="53" fill="hold">
                      <p:stCondLst>
                        <p:cond delay="indefinite"/>
                      </p:stCondLst>
                      <p:childTnLst>
                        <p:par>
                          <p:cTn id="54" fill="hold">
                            <p:stCondLst>
                              <p:cond delay="0"/>
                            </p:stCondLst>
                            <p:childTnLst>
                              <p:par>
                                <p:cTn id="55" presetID="9" presetClass="entr" presetSubtype="0" fill="hold" grpId="0" nodeType="clickEffect">
                                  <p:stCondLst>
                                    <p:cond delay="0"/>
                                  </p:stCondLst>
                                  <p:childTnLst>
                                    <p:set>
                                      <p:cBhvr>
                                        <p:cTn id="56" dur="1" fill="hold">
                                          <p:stCondLst>
                                            <p:cond delay="0"/>
                                          </p:stCondLst>
                                        </p:cTn>
                                        <p:tgtEl>
                                          <p:spTgt spid="50"/>
                                        </p:tgtEl>
                                        <p:attrNameLst>
                                          <p:attrName>style.visibility</p:attrName>
                                        </p:attrNameLst>
                                      </p:cBhvr>
                                      <p:to>
                                        <p:strVal val="visible"/>
                                      </p:to>
                                    </p:set>
                                    <p:animEffect transition="in" filter="dissolve">
                                      <p:cBhvr>
                                        <p:cTn id="57" dur="500"/>
                                        <p:tgtEl>
                                          <p:spTgt spid="50"/>
                                        </p:tgtEl>
                                      </p:cBhvr>
                                    </p:animEffect>
                                  </p:childTnLst>
                                </p:cTn>
                              </p:par>
                            </p:childTnLst>
                          </p:cTn>
                        </p:par>
                      </p:childTnLst>
                    </p:cTn>
                  </p:par>
                  <p:par>
                    <p:cTn id="58" fill="hold">
                      <p:stCondLst>
                        <p:cond delay="indefinite"/>
                      </p:stCondLst>
                      <p:childTnLst>
                        <p:par>
                          <p:cTn id="59" fill="hold">
                            <p:stCondLst>
                              <p:cond delay="0"/>
                            </p:stCondLst>
                            <p:childTnLst>
                              <p:par>
                                <p:cTn id="60" presetID="2" presetClass="entr" presetSubtype="1" fill="hold" grpId="0" nodeType="clickEffect">
                                  <p:stCondLst>
                                    <p:cond delay="0"/>
                                  </p:stCondLst>
                                  <p:childTnLst>
                                    <p:set>
                                      <p:cBhvr>
                                        <p:cTn id="61" dur="1" fill="hold">
                                          <p:stCondLst>
                                            <p:cond delay="0"/>
                                          </p:stCondLst>
                                        </p:cTn>
                                        <p:tgtEl>
                                          <p:spTgt spid="35"/>
                                        </p:tgtEl>
                                        <p:attrNameLst>
                                          <p:attrName>style.visibility</p:attrName>
                                        </p:attrNameLst>
                                      </p:cBhvr>
                                      <p:to>
                                        <p:strVal val="visible"/>
                                      </p:to>
                                    </p:set>
                                    <p:anim calcmode="lin" valueType="num">
                                      <p:cBhvr additive="base">
                                        <p:cTn id="62" dur="500" fill="hold"/>
                                        <p:tgtEl>
                                          <p:spTgt spid="35"/>
                                        </p:tgtEl>
                                        <p:attrNameLst>
                                          <p:attrName>ppt_x</p:attrName>
                                        </p:attrNameLst>
                                      </p:cBhvr>
                                      <p:tavLst>
                                        <p:tav tm="0">
                                          <p:val>
                                            <p:strVal val="#ppt_x"/>
                                          </p:val>
                                        </p:tav>
                                        <p:tav tm="100000">
                                          <p:val>
                                            <p:strVal val="#ppt_x"/>
                                          </p:val>
                                        </p:tav>
                                      </p:tavLst>
                                    </p:anim>
                                    <p:anim calcmode="lin" valueType="num">
                                      <p:cBhvr additive="base">
                                        <p:cTn id="63" dur="500" fill="hold"/>
                                        <p:tgtEl>
                                          <p:spTgt spid="35"/>
                                        </p:tgtEl>
                                        <p:attrNameLst>
                                          <p:attrName>ppt_y</p:attrName>
                                        </p:attrNameLst>
                                      </p:cBhvr>
                                      <p:tavLst>
                                        <p:tav tm="0">
                                          <p:val>
                                            <p:strVal val="0-#ppt_h/2"/>
                                          </p:val>
                                        </p:tav>
                                        <p:tav tm="100000">
                                          <p:val>
                                            <p:strVal val="#ppt_y"/>
                                          </p:val>
                                        </p:tav>
                                      </p:tavLst>
                                    </p:anim>
                                  </p:childTnLst>
                                </p:cTn>
                              </p:par>
                            </p:childTnLst>
                          </p:cTn>
                        </p:par>
                        <p:par>
                          <p:cTn id="64" fill="hold">
                            <p:stCondLst>
                              <p:cond delay="500"/>
                            </p:stCondLst>
                            <p:childTnLst>
                              <p:par>
                                <p:cTn id="65" presetID="18" presetClass="entr" presetSubtype="12" fill="hold" nodeType="afterEffect">
                                  <p:stCondLst>
                                    <p:cond delay="0"/>
                                  </p:stCondLst>
                                  <p:childTnLst>
                                    <p:set>
                                      <p:cBhvr>
                                        <p:cTn id="66" dur="1" fill="hold">
                                          <p:stCondLst>
                                            <p:cond delay="0"/>
                                          </p:stCondLst>
                                        </p:cTn>
                                        <p:tgtEl>
                                          <p:spTgt spid="37"/>
                                        </p:tgtEl>
                                        <p:attrNameLst>
                                          <p:attrName>style.visibility</p:attrName>
                                        </p:attrNameLst>
                                      </p:cBhvr>
                                      <p:to>
                                        <p:strVal val="visible"/>
                                      </p:to>
                                    </p:set>
                                    <p:animEffect transition="in" filter="strips(downLeft)">
                                      <p:cBhvr>
                                        <p:cTn id="67" dur="500"/>
                                        <p:tgtEl>
                                          <p:spTgt spid="37"/>
                                        </p:tgtEl>
                                      </p:cBhvr>
                                    </p:animEffect>
                                  </p:childTnLst>
                                </p:cTn>
                              </p:par>
                            </p:childTnLst>
                          </p:cTn>
                        </p:par>
                        <p:par>
                          <p:cTn id="68" fill="hold">
                            <p:stCondLst>
                              <p:cond delay="1000"/>
                            </p:stCondLst>
                            <p:childTnLst>
                              <p:par>
                                <p:cTn id="69" presetID="9" presetClass="entr" presetSubtype="0" fill="hold" grpId="0" nodeType="afterEffect">
                                  <p:stCondLst>
                                    <p:cond delay="0"/>
                                  </p:stCondLst>
                                  <p:childTnLst>
                                    <p:set>
                                      <p:cBhvr>
                                        <p:cTn id="70" dur="1" fill="hold">
                                          <p:stCondLst>
                                            <p:cond delay="0"/>
                                          </p:stCondLst>
                                        </p:cTn>
                                        <p:tgtEl>
                                          <p:spTgt spid="51"/>
                                        </p:tgtEl>
                                        <p:attrNameLst>
                                          <p:attrName>style.visibility</p:attrName>
                                        </p:attrNameLst>
                                      </p:cBhvr>
                                      <p:to>
                                        <p:strVal val="visible"/>
                                      </p:to>
                                    </p:set>
                                    <p:animEffect transition="in" filter="dissolve">
                                      <p:cBhvr>
                                        <p:cTn id="71" dur="500"/>
                                        <p:tgtEl>
                                          <p:spTgt spid="51"/>
                                        </p:tgtEl>
                                      </p:cBhvr>
                                    </p:animEffect>
                                  </p:childTnLst>
                                </p:cTn>
                              </p:par>
                              <p:par>
                                <p:cTn id="72" presetID="9" presetClass="entr" presetSubtype="0" fill="hold" grpId="0" nodeType="withEffect">
                                  <p:stCondLst>
                                    <p:cond delay="0"/>
                                  </p:stCondLst>
                                  <p:childTnLst>
                                    <p:set>
                                      <p:cBhvr>
                                        <p:cTn id="73" dur="1" fill="hold">
                                          <p:stCondLst>
                                            <p:cond delay="0"/>
                                          </p:stCondLst>
                                        </p:cTn>
                                        <p:tgtEl>
                                          <p:spTgt spid="52"/>
                                        </p:tgtEl>
                                        <p:attrNameLst>
                                          <p:attrName>style.visibility</p:attrName>
                                        </p:attrNameLst>
                                      </p:cBhvr>
                                      <p:to>
                                        <p:strVal val="visible"/>
                                      </p:to>
                                    </p:set>
                                    <p:animEffect transition="in" filter="dissolve">
                                      <p:cBhvr>
                                        <p:cTn id="74" dur="500"/>
                                        <p:tgtEl>
                                          <p:spTgt spid="52"/>
                                        </p:tgtEl>
                                      </p:cBhvr>
                                    </p:animEffect>
                                  </p:childTnLst>
                                </p:cTn>
                              </p:par>
                            </p:childTnLst>
                          </p:cTn>
                        </p:par>
                      </p:childTnLst>
                    </p:cTn>
                  </p:par>
                  <p:par>
                    <p:cTn id="75" fill="hold">
                      <p:stCondLst>
                        <p:cond delay="indefinite"/>
                      </p:stCondLst>
                      <p:childTnLst>
                        <p:par>
                          <p:cTn id="76" fill="hold">
                            <p:stCondLst>
                              <p:cond delay="0"/>
                            </p:stCondLst>
                            <p:childTnLst>
                              <p:par>
                                <p:cTn id="77" presetID="9" presetClass="entr" presetSubtype="0" fill="hold" grpId="0" nodeType="clickEffect">
                                  <p:stCondLst>
                                    <p:cond delay="0"/>
                                  </p:stCondLst>
                                  <p:childTnLst>
                                    <p:set>
                                      <p:cBhvr>
                                        <p:cTn id="78" dur="1" fill="hold">
                                          <p:stCondLst>
                                            <p:cond delay="0"/>
                                          </p:stCondLst>
                                        </p:cTn>
                                        <p:tgtEl>
                                          <p:spTgt spid="53"/>
                                        </p:tgtEl>
                                        <p:attrNameLst>
                                          <p:attrName>style.visibility</p:attrName>
                                        </p:attrNameLst>
                                      </p:cBhvr>
                                      <p:to>
                                        <p:strVal val="visible"/>
                                      </p:to>
                                    </p:set>
                                    <p:animEffect transition="in" filter="dissolve">
                                      <p:cBhvr>
                                        <p:cTn id="79" dur="500"/>
                                        <p:tgtEl>
                                          <p:spTgt spid="53"/>
                                        </p:tgtEl>
                                      </p:cBhvr>
                                    </p:animEffect>
                                  </p:childTnLst>
                                </p:cTn>
                              </p:par>
                            </p:childTnLst>
                          </p:cTn>
                        </p:par>
                      </p:childTnLst>
                    </p:cTn>
                  </p:par>
                  <p:par>
                    <p:cTn id="80" fill="hold">
                      <p:stCondLst>
                        <p:cond delay="indefinite"/>
                      </p:stCondLst>
                      <p:childTnLst>
                        <p:par>
                          <p:cTn id="81" fill="hold">
                            <p:stCondLst>
                              <p:cond delay="0"/>
                            </p:stCondLst>
                            <p:childTnLst>
                              <p:par>
                                <p:cTn id="82" presetID="2" presetClass="entr" presetSubtype="1" fill="hold" grpId="0" nodeType="clickEffect">
                                  <p:stCondLst>
                                    <p:cond delay="0"/>
                                  </p:stCondLst>
                                  <p:childTnLst>
                                    <p:set>
                                      <p:cBhvr>
                                        <p:cTn id="83" dur="1" fill="hold">
                                          <p:stCondLst>
                                            <p:cond delay="0"/>
                                          </p:stCondLst>
                                        </p:cTn>
                                        <p:tgtEl>
                                          <p:spTgt spid="36"/>
                                        </p:tgtEl>
                                        <p:attrNameLst>
                                          <p:attrName>style.visibility</p:attrName>
                                        </p:attrNameLst>
                                      </p:cBhvr>
                                      <p:to>
                                        <p:strVal val="visible"/>
                                      </p:to>
                                    </p:set>
                                    <p:anim calcmode="lin" valueType="num">
                                      <p:cBhvr additive="base">
                                        <p:cTn id="84" dur="500" fill="hold"/>
                                        <p:tgtEl>
                                          <p:spTgt spid="36"/>
                                        </p:tgtEl>
                                        <p:attrNameLst>
                                          <p:attrName>ppt_x</p:attrName>
                                        </p:attrNameLst>
                                      </p:cBhvr>
                                      <p:tavLst>
                                        <p:tav tm="0">
                                          <p:val>
                                            <p:strVal val="#ppt_x"/>
                                          </p:val>
                                        </p:tav>
                                        <p:tav tm="100000">
                                          <p:val>
                                            <p:strVal val="#ppt_x"/>
                                          </p:val>
                                        </p:tav>
                                      </p:tavLst>
                                    </p:anim>
                                    <p:anim calcmode="lin" valueType="num">
                                      <p:cBhvr additive="base">
                                        <p:cTn id="85" dur="500" fill="hold"/>
                                        <p:tgtEl>
                                          <p:spTgt spid="36"/>
                                        </p:tgtEl>
                                        <p:attrNameLst>
                                          <p:attrName>ppt_y</p:attrName>
                                        </p:attrNameLst>
                                      </p:cBhvr>
                                      <p:tavLst>
                                        <p:tav tm="0">
                                          <p:val>
                                            <p:strVal val="0-#ppt_h/2"/>
                                          </p:val>
                                        </p:tav>
                                        <p:tav tm="100000">
                                          <p:val>
                                            <p:strVal val="#ppt_y"/>
                                          </p:val>
                                        </p:tav>
                                      </p:tavLst>
                                    </p:anim>
                                  </p:childTnLst>
                                </p:cTn>
                              </p:par>
                            </p:childTnLst>
                          </p:cTn>
                        </p:par>
                        <p:par>
                          <p:cTn id="86" fill="hold">
                            <p:stCondLst>
                              <p:cond delay="500"/>
                            </p:stCondLst>
                            <p:childTnLst>
                              <p:par>
                                <p:cTn id="87" presetID="18" presetClass="entr" presetSubtype="3" fill="hold" nodeType="afterEffect">
                                  <p:stCondLst>
                                    <p:cond delay="0"/>
                                  </p:stCondLst>
                                  <p:childTnLst>
                                    <p:set>
                                      <p:cBhvr>
                                        <p:cTn id="88" dur="1" fill="hold">
                                          <p:stCondLst>
                                            <p:cond delay="0"/>
                                          </p:stCondLst>
                                        </p:cTn>
                                        <p:tgtEl>
                                          <p:spTgt spid="41"/>
                                        </p:tgtEl>
                                        <p:attrNameLst>
                                          <p:attrName>style.visibility</p:attrName>
                                        </p:attrNameLst>
                                      </p:cBhvr>
                                      <p:to>
                                        <p:strVal val="visible"/>
                                      </p:to>
                                    </p:set>
                                    <p:animEffect transition="in" filter="strips(upRight)">
                                      <p:cBhvr>
                                        <p:cTn id="89" dur="500"/>
                                        <p:tgtEl>
                                          <p:spTgt spid="41"/>
                                        </p:tgtEl>
                                      </p:cBhvr>
                                    </p:animEffect>
                                  </p:childTnLst>
                                </p:cTn>
                              </p:par>
                            </p:childTnLst>
                          </p:cTn>
                        </p:par>
                        <p:par>
                          <p:cTn id="90" fill="hold">
                            <p:stCondLst>
                              <p:cond delay="1000"/>
                            </p:stCondLst>
                            <p:childTnLst>
                              <p:par>
                                <p:cTn id="91" presetID="9" presetClass="entr" presetSubtype="0" fill="hold" grpId="0" nodeType="afterEffect">
                                  <p:stCondLst>
                                    <p:cond delay="0"/>
                                  </p:stCondLst>
                                  <p:childTnLst>
                                    <p:set>
                                      <p:cBhvr>
                                        <p:cTn id="92" dur="1" fill="hold">
                                          <p:stCondLst>
                                            <p:cond delay="0"/>
                                          </p:stCondLst>
                                        </p:cTn>
                                        <p:tgtEl>
                                          <p:spTgt spid="54"/>
                                        </p:tgtEl>
                                        <p:attrNameLst>
                                          <p:attrName>style.visibility</p:attrName>
                                        </p:attrNameLst>
                                      </p:cBhvr>
                                      <p:to>
                                        <p:strVal val="visible"/>
                                      </p:to>
                                    </p:set>
                                    <p:animEffect transition="in" filter="dissolve">
                                      <p:cBhvr>
                                        <p:cTn id="93" dur="500"/>
                                        <p:tgtEl>
                                          <p:spTgt spid="54"/>
                                        </p:tgtEl>
                                      </p:cBhvr>
                                    </p:animEffect>
                                  </p:childTnLst>
                                </p:cTn>
                              </p:par>
                              <p:par>
                                <p:cTn id="94" presetID="9" presetClass="entr" presetSubtype="0" fill="hold" grpId="0" nodeType="withEffect">
                                  <p:stCondLst>
                                    <p:cond delay="0"/>
                                  </p:stCondLst>
                                  <p:childTnLst>
                                    <p:set>
                                      <p:cBhvr>
                                        <p:cTn id="95" dur="1" fill="hold">
                                          <p:stCondLst>
                                            <p:cond delay="0"/>
                                          </p:stCondLst>
                                        </p:cTn>
                                        <p:tgtEl>
                                          <p:spTgt spid="55"/>
                                        </p:tgtEl>
                                        <p:attrNameLst>
                                          <p:attrName>style.visibility</p:attrName>
                                        </p:attrNameLst>
                                      </p:cBhvr>
                                      <p:to>
                                        <p:strVal val="visible"/>
                                      </p:to>
                                    </p:set>
                                    <p:animEffect transition="in" filter="dissolve">
                                      <p:cBhvr>
                                        <p:cTn id="96" dur="500"/>
                                        <p:tgtEl>
                                          <p:spTgt spid="55"/>
                                        </p:tgtEl>
                                      </p:cBhvr>
                                    </p:animEffect>
                                  </p:childTnLst>
                                </p:cTn>
                              </p:par>
                            </p:childTnLst>
                          </p:cTn>
                        </p:par>
                      </p:childTnLst>
                    </p:cTn>
                  </p:par>
                  <p:par>
                    <p:cTn id="97" fill="hold">
                      <p:stCondLst>
                        <p:cond delay="indefinite"/>
                      </p:stCondLst>
                      <p:childTnLst>
                        <p:par>
                          <p:cTn id="98" fill="hold">
                            <p:stCondLst>
                              <p:cond delay="0"/>
                            </p:stCondLst>
                            <p:childTnLst>
                              <p:par>
                                <p:cTn id="99" presetID="9" presetClass="entr" presetSubtype="0" fill="hold" grpId="0" nodeType="clickEffect">
                                  <p:stCondLst>
                                    <p:cond delay="0"/>
                                  </p:stCondLst>
                                  <p:childTnLst>
                                    <p:set>
                                      <p:cBhvr>
                                        <p:cTn id="100" dur="1" fill="hold">
                                          <p:stCondLst>
                                            <p:cond delay="0"/>
                                          </p:stCondLst>
                                        </p:cTn>
                                        <p:tgtEl>
                                          <p:spTgt spid="56"/>
                                        </p:tgtEl>
                                        <p:attrNameLst>
                                          <p:attrName>style.visibility</p:attrName>
                                        </p:attrNameLst>
                                      </p:cBhvr>
                                      <p:to>
                                        <p:strVal val="visible"/>
                                      </p:to>
                                    </p:set>
                                    <p:animEffect transition="in" filter="dissolve">
                                      <p:cBhvr>
                                        <p:cTn id="101"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7" grpId="0" animBg="1"/>
      <p:bldP spid="33" grpId="0" animBg="1"/>
      <p:bldP spid="34" grpId="0" animBg="1"/>
      <p:bldP spid="35" grpId="0" animBg="1"/>
      <p:bldP spid="36" grpId="0" animBg="1"/>
      <p:bldP spid="48" grpId="0" animBg="1"/>
      <p:bldP spid="50" grpId="0"/>
      <p:bldP spid="51" grpId="0" animBg="1"/>
      <p:bldP spid="52" grpId="0"/>
      <p:bldP spid="53" grpId="0"/>
      <p:bldP spid="54" grpId="0" animBg="1"/>
      <p:bldP spid="55" grpId="0"/>
      <p:bldP spid="56" grpId="0"/>
      <p:bldP spid="5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asellaDiTesto 20">
            <a:extLst>
              <a:ext uri="{FF2B5EF4-FFF2-40B4-BE49-F238E27FC236}">
                <a16:creationId xmlns:a16="http://schemas.microsoft.com/office/drawing/2014/main" id="{6DE26AAB-3757-1C47-9F4A-28914839CA75}"/>
              </a:ext>
            </a:extLst>
          </p:cNvPr>
          <p:cNvSpPr txBox="1"/>
          <p:nvPr/>
        </p:nvSpPr>
        <p:spPr>
          <a:xfrm>
            <a:off x="1405046" y="1586854"/>
            <a:ext cx="9381905" cy="2154436"/>
          </a:xfrm>
          <a:prstGeom prst="rect">
            <a:avLst/>
          </a:prstGeom>
          <a:noFill/>
        </p:spPr>
        <p:txBody>
          <a:bodyPr wrap="square" rtlCol="0">
            <a:spAutoFit/>
          </a:bodyPr>
          <a:lstStyle/>
          <a:p>
            <a:r>
              <a:rPr lang="it-IT" sz="4000" b="1" dirty="0">
                <a:solidFill>
                  <a:srgbClr val="19436B"/>
                </a:solidFill>
                <a:latin typeface="Times New Roman" panose="02020603050405020304" pitchFamily="18" charset="0"/>
                <a:cs typeface="Times New Roman" panose="02020603050405020304" pitchFamily="18" charset="0"/>
              </a:rPr>
              <a:t>ACCEPTANCE</a:t>
            </a:r>
            <a:r>
              <a:rPr lang="it-IT" sz="2400" dirty="0">
                <a:latin typeface="Times New Roman" panose="02020603050405020304" pitchFamily="18" charset="0"/>
                <a:cs typeface="Times New Roman" panose="02020603050405020304" pitchFamily="18" charset="0"/>
              </a:rPr>
              <a:t> </a:t>
            </a:r>
            <a:r>
              <a:rPr lang="it-IT" sz="2400" b="1" dirty="0">
                <a:solidFill>
                  <a:schemeClr val="bg2">
                    <a:lumMod val="25000"/>
                  </a:schemeClr>
                </a:solidFill>
                <a:latin typeface="Times New Roman" panose="02020603050405020304" pitchFamily="18" charset="0"/>
                <a:cs typeface="Times New Roman" panose="02020603050405020304" pitchFamily="18" charset="0"/>
              </a:rPr>
              <a:t>– Art. 2:204</a:t>
            </a:r>
            <a:endParaRPr lang="it-IT" sz="2400" dirty="0">
              <a:latin typeface="Times New Roman" panose="02020603050405020304" pitchFamily="18" charset="0"/>
              <a:cs typeface="Times New Roman" panose="02020603050405020304" pitchFamily="18" charset="0"/>
            </a:endParaRPr>
          </a:p>
          <a:p>
            <a:endParaRPr lang="it-IT" sz="1400" dirty="0">
              <a:latin typeface="Times New Roman" panose="02020603050405020304" pitchFamily="18" charset="0"/>
              <a:cs typeface="Times New Roman" panose="02020603050405020304" pitchFamily="18" charset="0"/>
            </a:endParaRPr>
          </a:p>
          <a:p>
            <a:pPr marL="342900" indent="-342900">
              <a:buFont typeface="+mj-lt"/>
              <a:buAutoNum type="arabicPeriod"/>
            </a:pPr>
            <a:r>
              <a:rPr lang="it-IT" sz="2400" dirty="0" err="1">
                <a:latin typeface="Times New Roman" panose="02020603050405020304" pitchFamily="18" charset="0"/>
                <a:cs typeface="Times New Roman" panose="02020603050405020304" pitchFamily="18" charset="0"/>
              </a:rPr>
              <a:t>Any</a:t>
            </a:r>
            <a:r>
              <a:rPr lang="it-IT" sz="2400" dirty="0">
                <a:latin typeface="Times New Roman" panose="02020603050405020304" pitchFamily="18" charset="0"/>
                <a:cs typeface="Times New Roman" panose="02020603050405020304" pitchFamily="18" charset="0"/>
              </a:rPr>
              <a:t> </a:t>
            </a:r>
            <a:r>
              <a:rPr lang="it-IT" sz="2400" dirty="0" err="1">
                <a:latin typeface="Times New Roman" panose="02020603050405020304" pitchFamily="18" charset="0"/>
                <a:cs typeface="Times New Roman" panose="02020603050405020304" pitchFamily="18" charset="0"/>
              </a:rPr>
              <a:t>form</a:t>
            </a:r>
            <a:r>
              <a:rPr lang="it-IT" sz="2400" dirty="0">
                <a:latin typeface="Times New Roman" panose="02020603050405020304" pitchFamily="18" charset="0"/>
                <a:cs typeface="Times New Roman" panose="02020603050405020304" pitchFamily="18" charset="0"/>
              </a:rPr>
              <a:t> of statement or </a:t>
            </a:r>
            <a:r>
              <a:rPr lang="it-IT" sz="2400" dirty="0" err="1">
                <a:latin typeface="Times New Roman" panose="02020603050405020304" pitchFamily="18" charset="0"/>
                <a:cs typeface="Times New Roman" panose="02020603050405020304" pitchFamily="18" charset="0"/>
              </a:rPr>
              <a:t>conduct</a:t>
            </a:r>
            <a:r>
              <a:rPr lang="it-IT" sz="2400" dirty="0">
                <a:latin typeface="Times New Roman" panose="02020603050405020304" pitchFamily="18" charset="0"/>
                <a:cs typeface="Times New Roman" panose="02020603050405020304" pitchFamily="18" charset="0"/>
              </a:rPr>
              <a:t> by the </a:t>
            </a:r>
            <a:r>
              <a:rPr lang="it-IT" sz="2400" dirty="0" err="1">
                <a:latin typeface="Times New Roman" panose="02020603050405020304" pitchFamily="18" charset="0"/>
                <a:cs typeface="Times New Roman" panose="02020603050405020304" pitchFamily="18" charset="0"/>
              </a:rPr>
              <a:t>offeree</a:t>
            </a:r>
            <a:r>
              <a:rPr lang="it-IT" sz="2400" dirty="0">
                <a:latin typeface="Times New Roman" panose="02020603050405020304" pitchFamily="18" charset="0"/>
                <a:cs typeface="Times New Roman" panose="02020603050405020304" pitchFamily="18" charset="0"/>
              </a:rPr>
              <a:t> </a:t>
            </a:r>
            <a:r>
              <a:rPr lang="it-IT" sz="2400" dirty="0" err="1">
                <a:latin typeface="Times New Roman" panose="02020603050405020304" pitchFamily="18" charset="0"/>
                <a:cs typeface="Times New Roman" panose="02020603050405020304" pitchFamily="18" charset="0"/>
              </a:rPr>
              <a:t>is</a:t>
            </a:r>
            <a:r>
              <a:rPr lang="it-IT" sz="2400" dirty="0">
                <a:latin typeface="Times New Roman" panose="02020603050405020304" pitchFamily="18" charset="0"/>
                <a:cs typeface="Times New Roman" panose="02020603050405020304" pitchFamily="18" charset="0"/>
              </a:rPr>
              <a:t> an </a:t>
            </a:r>
            <a:r>
              <a:rPr lang="it-IT" sz="2400" dirty="0" err="1">
                <a:latin typeface="Times New Roman" panose="02020603050405020304" pitchFamily="18" charset="0"/>
                <a:cs typeface="Times New Roman" panose="02020603050405020304" pitchFamily="18" charset="0"/>
              </a:rPr>
              <a:t>acceptance</a:t>
            </a:r>
            <a:r>
              <a:rPr lang="it-IT" sz="2400" dirty="0">
                <a:latin typeface="Times New Roman" panose="02020603050405020304" pitchFamily="18" charset="0"/>
                <a:cs typeface="Times New Roman" panose="02020603050405020304" pitchFamily="18" charset="0"/>
              </a:rPr>
              <a:t> </a:t>
            </a:r>
            <a:r>
              <a:rPr lang="it-IT" sz="2400" dirty="0" err="1">
                <a:latin typeface="Times New Roman" panose="02020603050405020304" pitchFamily="18" charset="0"/>
                <a:cs typeface="Times New Roman" panose="02020603050405020304" pitchFamily="18" charset="0"/>
              </a:rPr>
              <a:t>if</a:t>
            </a:r>
            <a:r>
              <a:rPr lang="it-IT" sz="2400" dirty="0">
                <a:latin typeface="Times New Roman" panose="02020603050405020304" pitchFamily="18" charset="0"/>
                <a:cs typeface="Times New Roman" panose="02020603050405020304" pitchFamily="18" charset="0"/>
              </a:rPr>
              <a:t> </a:t>
            </a:r>
            <a:r>
              <a:rPr lang="it-IT" sz="2400" dirty="0" err="1">
                <a:latin typeface="Times New Roman" panose="02020603050405020304" pitchFamily="18" charset="0"/>
                <a:cs typeface="Times New Roman" panose="02020603050405020304" pitchFamily="18" charset="0"/>
              </a:rPr>
              <a:t>it</a:t>
            </a:r>
            <a:r>
              <a:rPr lang="it-IT" sz="2400" dirty="0">
                <a:latin typeface="Times New Roman" panose="02020603050405020304" pitchFamily="18" charset="0"/>
                <a:cs typeface="Times New Roman" panose="02020603050405020304" pitchFamily="18" charset="0"/>
              </a:rPr>
              <a:t> </a:t>
            </a:r>
            <a:r>
              <a:rPr lang="it-IT" sz="2400" dirty="0" err="1">
                <a:latin typeface="Times New Roman" panose="02020603050405020304" pitchFamily="18" charset="0"/>
                <a:cs typeface="Times New Roman" panose="02020603050405020304" pitchFamily="18" charset="0"/>
              </a:rPr>
              <a:t>indicates</a:t>
            </a:r>
            <a:r>
              <a:rPr lang="it-IT" sz="2400" dirty="0">
                <a:latin typeface="Times New Roman" panose="02020603050405020304" pitchFamily="18" charset="0"/>
                <a:cs typeface="Times New Roman" panose="02020603050405020304" pitchFamily="18" charset="0"/>
              </a:rPr>
              <a:t> </a:t>
            </a:r>
            <a:r>
              <a:rPr lang="it-IT" sz="2400" dirty="0" err="1">
                <a:latin typeface="Times New Roman" panose="02020603050405020304" pitchFamily="18" charset="0"/>
                <a:cs typeface="Times New Roman" panose="02020603050405020304" pitchFamily="18" charset="0"/>
              </a:rPr>
              <a:t>assent</a:t>
            </a:r>
            <a:r>
              <a:rPr lang="it-IT" sz="3200" dirty="0">
                <a:latin typeface="Times New Roman" panose="02020603050405020304" pitchFamily="18" charset="0"/>
                <a:cs typeface="Times New Roman" panose="02020603050405020304" pitchFamily="18" charset="0"/>
              </a:rPr>
              <a:t> </a:t>
            </a:r>
            <a:r>
              <a:rPr lang="it-IT" sz="2400" dirty="0">
                <a:latin typeface="Times New Roman" panose="02020603050405020304" pitchFamily="18" charset="0"/>
                <a:cs typeface="Times New Roman" panose="02020603050405020304" pitchFamily="18" charset="0"/>
              </a:rPr>
              <a:t>to the </a:t>
            </a:r>
            <a:r>
              <a:rPr lang="it-IT" sz="2400" dirty="0" err="1">
                <a:latin typeface="Times New Roman" panose="02020603050405020304" pitchFamily="18" charset="0"/>
                <a:cs typeface="Times New Roman" panose="02020603050405020304" pitchFamily="18" charset="0"/>
              </a:rPr>
              <a:t>offer</a:t>
            </a:r>
            <a:r>
              <a:rPr lang="it-IT" sz="2400" dirty="0">
                <a:latin typeface="Times New Roman" panose="02020603050405020304" pitchFamily="18" charset="0"/>
                <a:cs typeface="Times New Roman" panose="02020603050405020304" pitchFamily="18" charset="0"/>
              </a:rPr>
              <a:t>.</a:t>
            </a:r>
          </a:p>
          <a:p>
            <a:pPr marL="342900" indent="-342900">
              <a:buFont typeface="+mj-lt"/>
              <a:buAutoNum type="arabicPeriod"/>
            </a:pPr>
            <a:r>
              <a:rPr lang="it-IT" sz="2400" dirty="0" err="1">
                <a:latin typeface="Times New Roman" panose="02020603050405020304" pitchFamily="18" charset="0"/>
                <a:cs typeface="Times New Roman" panose="02020603050405020304" pitchFamily="18" charset="0"/>
              </a:rPr>
              <a:t>Silence</a:t>
            </a:r>
            <a:r>
              <a:rPr lang="it-IT" sz="2400" dirty="0">
                <a:latin typeface="Times New Roman" panose="02020603050405020304" pitchFamily="18" charset="0"/>
                <a:cs typeface="Times New Roman" panose="02020603050405020304" pitchFamily="18" charset="0"/>
              </a:rPr>
              <a:t> or </a:t>
            </a:r>
            <a:r>
              <a:rPr lang="it-IT" sz="2400" dirty="0" err="1">
                <a:latin typeface="Times New Roman" panose="02020603050405020304" pitchFamily="18" charset="0"/>
                <a:cs typeface="Times New Roman" panose="02020603050405020304" pitchFamily="18" charset="0"/>
              </a:rPr>
              <a:t>inactivity</a:t>
            </a:r>
            <a:r>
              <a:rPr lang="it-IT" sz="2400" dirty="0">
                <a:latin typeface="Times New Roman" panose="02020603050405020304" pitchFamily="18" charset="0"/>
                <a:cs typeface="Times New Roman" panose="02020603050405020304" pitchFamily="18" charset="0"/>
              </a:rPr>
              <a:t> </a:t>
            </a:r>
            <a:r>
              <a:rPr lang="it-IT" sz="2400" dirty="0" err="1">
                <a:latin typeface="Times New Roman" panose="02020603050405020304" pitchFamily="18" charset="0"/>
                <a:cs typeface="Times New Roman" panose="02020603050405020304" pitchFamily="18" charset="0"/>
              </a:rPr>
              <a:t>does</a:t>
            </a:r>
            <a:r>
              <a:rPr lang="it-IT" sz="2400" dirty="0">
                <a:latin typeface="Times New Roman" panose="02020603050405020304" pitchFamily="18" charset="0"/>
                <a:cs typeface="Times New Roman" panose="02020603050405020304" pitchFamily="18" charset="0"/>
              </a:rPr>
              <a:t> </a:t>
            </a:r>
            <a:r>
              <a:rPr lang="it-IT" sz="2400" dirty="0" err="1">
                <a:latin typeface="Times New Roman" panose="02020603050405020304" pitchFamily="18" charset="0"/>
                <a:cs typeface="Times New Roman" panose="02020603050405020304" pitchFamily="18" charset="0"/>
              </a:rPr>
              <a:t>not</a:t>
            </a:r>
            <a:r>
              <a:rPr lang="it-IT" sz="2400" dirty="0">
                <a:latin typeface="Times New Roman" panose="02020603050405020304" pitchFamily="18" charset="0"/>
                <a:cs typeface="Times New Roman" panose="02020603050405020304" pitchFamily="18" charset="0"/>
              </a:rPr>
              <a:t> in </a:t>
            </a:r>
            <a:r>
              <a:rPr lang="it-IT" sz="2400" dirty="0" err="1">
                <a:latin typeface="Times New Roman" panose="02020603050405020304" pitchFamily="18" charset="0"/>
                <a:cs typeface="Times New Roman" panose="02020603050405020304" pitchFamily="18" charset="0"/>
              </a:rPr>
              <a:t>itself</a:t>
            </a:r>
            <a:r>
              <a:rPr lang="it-IT" sz="2400" dirty="0">
                <a:latin typeface="Times New Roman" panose="02020603050405020304" pitchFamily="18" charset="0"/>
                <a:cs typeface="Times New Roman" panose="02020603050405020304" pitchFamily="18" charset="0"/>
              </a:rPr>
              <a:t> </a:t>
            </a:r>
            <a:r>
              <a:rPr lang="it-IT" sz="2400" dirty="0" err="1">
                <a:latin typeface="Times New Roman" panose="02020603050405020304" pitchFamily="18" charset="0"/>
                <a:cs typeface="Times New Roman" panose="02020603050405020304" pitchFamily="18" charset="0"/>
              </a:rPr>
              <a:t>amount</a:t>
            </a:r>
            <a:r>
              <a:rPr lang="it-IT" sz="2400" dirty="0">
                <a:latin typeface="Times New Roman" panose="02020603050405020304" pitchFamily="18" charset="0"/>
                <a:cs typeface="Times New Roman" panose="02020603050405020304" pitchFamily="18" charset="0"/>
              </a:rPr>
              <a:t> to </a:t>
            </a:r>
            <a:r>
              <a:rPr lang="it-IT" sz="2400" dirty="0" err="1">
                <a:latin typeface="Times New Roman" panose="02020603050405020304" pitchFamily="18" charset="0"/>
                <a:cs typeface="Times New Roman" panose="02020603050405020304" pitchFamily="18" charset="0"/>
              </a:rPr>
              <a:t>acceptance</a:t>
            </a:r>
            <a:r>
              <a:rPr lang="it-IT" sz="2400" dirty="0">
                <a:latin typeface="Times New Roman" panose="02020603050405020304" pitchFamily="18" charset="0"/>
                <a:cs typeface="Times New Roman" panose="02020603050405020304" pitchFamily="18" charset="0"/>
              </a:rPr>
              <a:t>. </a:t>
            </a:r>
            <a:endParaRPr lang="it-IT" sz="3200" dirty="0">
              <a:latin typeface="Times New Roman" panose="02020603050405020304" pitchFamily="18" charset="0"/>
              <a:cs typeface="Times New Roman" panose="02020603050405020304" pitchFamily="18" charset="0"/>
            </a:endParaRPr>
          </a:p>
        </p:txBody>
      </p:sp>
      <p:grpSp>
        <p:nvGrpSpPr>
          <p:cNvPr id="20" name="Gruppo 19">
            <a:extLst>
              <a:ext uri="{FF2B5EF4-FFF2-40B4-BE49-F238E27FC236}">
                <a16:creationId xmlns:a16="http://schemas.microsoft.com/office/drawing/2014/main" id="{A8D757D2-F583-ED4C-8ADE-27DFC4F45721}"/>
              </a:ext>
            </a:extLst>
          </p:cNvPr>
          <p:cNvGrpSpPr/>
          <p:nvPr/>
        </p:nvGrpSpPr>
        <p:grpSpPr>
          <a:xfrm>
            <a:off x="-72790" y="-6345528"/>
            <a:ext cx="12337576" cy="6748818"/>
            <a:chOff x="1245649" y="-3581121"/>
            <a:chExt cx="12337576" cy="6748818"/>
          </a:xfrm>
          <a:effectLst>
            <a:outerShdw blurRad="50800" dist="50800" dir="5400000" algn="t" rotWithShape="0">
              <a:prstClr val="black">
                <a:alpha val="40000"/>
              </a:prstClr>
            </a:outerShdw>
          </a:effectLst>
        </p:grpSpPr>
        <p:sp>
          <p:nvSpPr>
            <p:cNvPr id="15" name="Rettangolo 14">
              <a:extLst>
                <a:ext uri="{FF2B5EF4-FFF2-40B4-BE49-F238E27FC236}">
                  <a16:creationId xmlns:a16="http://schemas.microsoft.com/office/drawing/2014/main" id="{BDBBE6CF-3123-7549-9609-A0E286B57D95}"/>
                </a:ext>
              </a:extLst>
            </p:cNvPr>
            <p:cNvSpPr/>
            <p:nvPr/>
          </p:nvSpPr>
          <p:spPr>
            <a:xfrm>
              <a:off x="1289713" y="616311"/>
              <a:ext cx="4237823" cy="369332"/>
            </a:xfrm>
            <a:prstGeom prst="rect">
              <a:avLst/>
            </a:prstGeom>
          </p:spPr>
          <p:txBody>
            <a:bodyPr wrap="square">
              <a:spAutoFit/>
            </a:bodyPr>
            <a:lstStyle/>
            <a:p>
              <a:endParaRPr lang="it-IT" dirty="0"/>
            </a:p>
          </p:txBody>
        </p:sp>
        <p:sp>
          <p:nvSpPr>
            <p:cNvPr id="14" name="Figura a mano libera 13">
              <a:extLst>
                <a:ext uri="{FF2B5EF4-FFF2-40B4-BE49-F238E27FC236}">
                  <a16:creationId xmlns:a16="http://schemas.microsoft.com/office/drawing/2014/main" id="{0B87E656-1683-0248-BEE5-68AA76076D0E}"/>
                </a:ext>
              </a:extLst>
            </p:cNvPr>
            <p:cNvSpPr/>
            <p:nvPr/>
          </p:nvSpPr>
          <p:spPr>
            <a:xfrm rot="10800000">
              <a:off x="1245649" y="-3581121"/>
              <a:ext cx="12337576" cy="6748818"/>
            </a:xfrm>
            <a:custGeom>
              <a:avLst/>
              <a:gdLst>
                <a:gd name="connsiteX0" fmla="*/ 12337576 w 12337576"/>
                <a:gd name="connsiteY0" fmla="*/ 6748818 h 6748818"/>
                <a:gd name="connsiteX1" fmla="*/ 0 w 12337576"/>
                <a:gd name="connsiteY1" fmla="*/ 6748818 h 6748818"/>
                <a:gd name="connsiteX2" fmla="*/ 0 w 12337576"/>
                <a:gd name="connsiteY2" fmla="*/ 320722 h 6748818"/>
                <a:gd name="connsiteX3" fmla="*/ 5684293 w 12337576"/>
                <a:gd name="connsiteY3" fmla="*/ 320722 h 6748818"/>
                <a:gd name="connsiteX4" fmla="*/ 5684293 w 12337576"/>
                <a:gd name="connsiteY4" fmla="*/ 75064 h 6748818"/>
                <a:gd name="connsiteX5" fmla="*/ 5759357 w 12337576"/>
                <a:gd name="connsiteY5" fmla="*/ 0 h 6748818"/>
                <a:gd name="connsiteX6" fmla="*/ 6578220 w 12337576"/>
                <a:gd name="connsiteY6" fmla="*/ 0 h 6748818"/>
                <a:gd name="connsiteX7" fmla="*/ 6653284 w 12337576"/>
                <a:gd name="connsiteY7" fmla="*/ 75064 h 6748818"/>
                <a:gd name="connsiteX8" fmla="*/ 6653284 w 12337576"/>
                <a:gd name="connsiteY8" fmla="*/ 320722 h 6748818"/>
                <a:gd name="connsiteX9" fmla="*/ 12337576 w 12337576"/>
                <a:gd name="connsiteY9" fmla="*/ 320722 h 6748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37576" h="6748818">
                  <a:moveTo>
                    <a:pt x="12337576" y="6748818"/>
                  </a:moveTo>
                  <a:lnTo>
                    <a:pt x="0" y="6748818"/>
                  </a:lnTo>
                  <a:lnTo>
                    <a:pt x="0" y="320722"/>
                  </a:lnTo>
                  <a:lnTo>
                    <a:pt x="5684293" y="320722"/>
                  </a:lnTo>
                  <a:lnTo>
                    <a:pt x="5684293" y="75064"/>
                  </a:lnTo>
                  <a:cubicBezTo>
                    <a:pt x="5684293" y="33607"/>
                    <a:pt x="5717900" y="0"/>
                    <a:pt x="5759357" y="0"/>
                  </a:cubicBezTo>
                  <a:lnTo>
                    <a:pt x="6578220" y="0"/>
                  </a:lnTo>
                  <a:cubicBezTo>
                    <a:pt x="6619677" y="0"/>
                    <a:pt x="6653284" y="33607"/>
                    <a:pt x="6653284" y="75064"/>
                  </a:cubicBezTo>
                  <a:lnTo>
                    <a:pt x="6653284" y="320722"/>
                  </a:lnTo>
                  <a:lnTo>
                    <a:pt x="12337576" y="320722"/>
                  </a:lnTo>
                  <a:close/>
                </a:path>
              </a:pathLst>
            </a:custGeom>
            <a:solidFill>
              <a:srgbClr val="1B4A7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t-IT" dirty="0"/>
            </a:p>
          </p:txBody>
        </p:sp>
        <p:sp>
          <p:nvSpPr>
            <p:cNvPr id="18" name="Rettangolo 17">
              <a:extLst>
                <a:ext uri="{FF2B5EF4-FFF2-40B4-BE49-F238E27FC236}">
                  <a16:creationId xmlns:a16="http://schemas.microsoft.com/office/drawing/2014/main" id="{62FD9A41-FF42-7742-8694-141DCB4DA22B}"/>
                </a:ext>
              </a:extLst>
            </p:cNvPr>
            <p:cNvSpPr/>
            <p:nvPr/>
          </p:nvSpPr>
          <p:spPr>
            <a:xfrm>
              <a:off x="3126456" y="-1049353"/>
              <a:ext cx="8575962" cy="18620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CasellaDiTesto 18">
              <a:extLst>
                <a:ext uri="{FF2B5EF4-FFF2-40B4-BE49-F238E27FC236}">
                  <a16:creationId xmlns:a16="http://schemas.microsoft.com/office/drawing/2014/main" id="{76F9990A-9919-2746-B061-238F874B07B7}"/>
                </a:ext>
              </a:extLst>
            </p:cNvPr>
            <p:cNvSpPr txBox="1"/>
            <p:nvPr/>
          </p:nvSpPr>
          <p:spPr>
            <a:xfrm>
              <a:off x="3584488" y="-962879"/>
              <a:ext cx="7647709" cy="1862048"/>
            </a:xfrm>
            <a:prstGeom prst="rect">
              <a:avLst/>
            </a:prstGeom>
            <a:noFill/>
          </p:spPr>
          <p:txBody>
            <a:bodyPr wrap="square" rtlCol="0">
              <a:spAutoFit/>
            </a:bodyPr>
            <a:lstStyle/>
            <a:p>
              <a:r>
                <a:rPr lang="it-IT" sz="3200" b="1" dirty="0">
                  <a:solidFill>
                    <a:srgbClr val="19436B"/>
                  </a:solidFill>
                  <a:latin typeface="Times New Roman" panose="02020603050405020304" pitchFamily="18" charset="0"/>
                  <a:cs typeface="Times New Roman" panose="02020603050405020304" pitchFamily="18" charset="0"/>
                </a:rPr>
                <a:t>ACCETTAZIONE</a:t>
              </a:r>
              <a:r>
                <a:rPr lang="it-IT" dirty="0">
                  <a:latin typeface="Times New Roman" panose="02020603050405020304" pitchFamily="18" charset="0"/>
                  <a:cs typeface="Times New Roman" panose="02020603050405020304" pitchFamily="18" charset="0"/>
                </a:rPr>
                <a:t> </a:t>
              </a:r>
              <a:r>
                <a:rPr lang="it-IT" b="1" dirty="0">
                  <a:solidFill>
                    <a:schemeClr val="bg2">
                      <a:lumMod val="25000"/>
                    </a:schemeClr>
                  </a:solidFill>
                  <a:latin typeface="Times New Roman" panose="02020603050405020304" pitchFamily="18" charset="0"/>
                  <a:cs typeface="Times New Roman" panose="02020603050405020304" pitchFamily="18" charset="0"/>
                </a:rPr>
                <a:t>– Art. 2:204</a:t>
              </a:r>
              <a:endParaRPr lang="it-IT" dirty="0">
                <a:latin typeface="Times New Roman" panose="02020603050405020304" pitchFamily="18" charset="0"/>
                <a:cs typeface="Times New Roman" panose="02020603050405020304" pitchFamily="18" charset="0"/>
              </a:endParaRPr>
            </a:p>
            <a:p>
              <a:endParaRPr lang="it-IT" sz="1100" dirty="0">
                <a:latin typeface="Times New Roman" panose="02020603050405020304" pitchFamily="18" charset="0"/>
                <a:cs typeface="Times New Roman" panose="02020603050405020304" pitchFamily="18" charset="0"/>
              </a:endParaRPr>
            </a:p>
            <a:p>
              <a:pPr marL="342900" indent="-342900">
                <a:buFont typeface="+mj-lt"/>
                <a:buAutoNum type="arabicPeriod"/>
              </a:pPr>
              <a:r>
                <a:rPr lang="it-IT" dirty="0">
                  <a:latin typeface="Times New Roman" panose="02020603050405020304" pitchFamily="18" charset="0"/>
                  <a:cs typeface="Times New Roman" panose="02020603050405020304" pitchFamily="18" charset="0"/>
                </a:rPr>
                <a:t>Dichiarazioni di qualunque forma o comportamenti dell’oblato che indichino accoglimento della proposta costituiscono accettazione.</a:t>
              </a:r>
            </a:p>
            <a:p>
              <a:pPr marL="342900" indent="-342900">
                <a:buFont typeface="+mj-lt"/>
                <a:buAutoNum type="arabicPeriod"/>
              </a:pPr>
              <a:r>
                <a:rPr lang="it-IT" dirty="0">
                  <a:latin typeface="Times New Roman" panose="02020603050405020304" pitchFamily="18" charset="0"/>
                  <a:cs typeface="Times New Roman" panose="02020603050405020304" pitchFamily="18" charset="0"/>
                </a:rPr>
                <a:t>Il silenzio o la passività per sé sola non costituisce accettazione.</a:t>
              </a:r>
              <a:endParaRPr lang="it-IT" sz="2400" dirty="0">
                <a:latin typeface="Times New Roman" panose="02020603050405020304" pitchFamily="18" charset="0"/>
                <a:cs typeface="Times New Roman" panose="02020603050405020304" pitchFamily="18" charset="0"/>
              </a:endParaRPr>
            </a:p>
            <a:p>
              <a:endParaRPr lang="it-IT" dirty="0"/>
            </a:p>
          </p:txBody>
        </p:sp>
      </p:grpSp>
    </p:spTree>
    <p:extLst>
      <p:ext uri="{BB962C8B-B14F-4D97-AF65-F5344CB8AC3E}">
        <p14:creationId xmlns:p14="http://schemas.microsoft.com/office/powerpoint/2010/main" val="10997094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0 0.0081 L 0 0.85764 " pathEditMode="relative" rAng="0" ptsTypes="AA">
                                      <p:cBhvr>
                                        <p:cTn id="6" dur="2000" fill="hold"/>
                                        <p:tgtEl>
                                          <p:spTgt spid="20"/>
                                        </p:tgtEl>
                                        <p:attrNameLst>
                                          <p:attrName>ppt_x</p:attrName>
                                          <p:attrName>ppt_y</p:attrName>
                                        </p:attrNameLst>
                                      </p:cBhvr>
                                      <p:rCtr x="0" y="4247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sellaDiTesto 3">
            <a:extLst>
              <a:ext uri="{FF2B5EF4-FFF2-40B4-BE49-F238E27FC236}">
                <a16:creationId xmlns:a16="http://schemas.microsoft.com/office/drawing/2014/main" id="{93C685BD-3205-174E-92EA-0AA46D80C7AF}"/>
              </a:ext>
            </a:extLst>
          </p:cNvPr>
          <p:cNvSpPr txBox="1"/>
          <p:nvPr/>
        </p:nvSpPr>
        <p:spPr>
          <a:xfrm>
            <a:off x="314397" y="809254"/>
            <a:ext cx="7310293" cy="553998"/>
          </a:xfrm>
          <a:prstGeom prst="rect">
            <a:avLst/>
          </a:prstGeom>
          <a:noFill/>
        </p:spPr>
        <p:txBody>
          <a:bodyPr wrap="square" lIns="0" tIns="0" rIns="0" bIns="0" rtlCol="0">
            <a:spAutoFit/>
          </a:bodyPr>
          <a:lstStyle/>
          <a:p>
            <a:r>
              <a:rPr lang="it-IT" sz="3600" b="1" dirty="0">
                <a:solidFill>
                  <a:srgbClr val="19436B"/>
                </a:solidFill>
                <a:latin typeface="Times New Roman" panose="02020603050405020304" pitchFamily="18" charset="0"/>
                <a:cs typeface="Times New Roman" panose="02020603050405020304" pitchFamily="18" charset="0"/>
              </a:rPr>
              <a:t>CONCLUSIONE del CONTRATTO</a:t>
            </a:r>
          </a:p>
        </p:txBody>
      </p:sp>
      <p:sp>
        <p:nvSpPr>
          <p:cNvPr id="5" name="CasellaDiTesto 4">
            <a:extLst>
              <a:ext uri="{FF2B5EF4-FFF2-40B4-BE49-F238E27FC236}">
                <a16:creationId xmlns:a16="http://schemas.microsoft.com/office/drawing/2014/main" id="{4A35174A-C523-C54A-9900-C876B4336A83}"/>
              </a:ext>
            </a:extLst>
          </p:cNvPr>
          <p:cNvSpPr txBox="1"/>
          <p:nvPr/>
        </p:nvSpPr>
        <p:spPr>
          <a:xfrm>
            <a:off x="7494481" y="809254"/>
            <a:ext cx="3962816" cy="553998"/>
          </a:xfrm>
          <a:prstGeom prst="rect">
            <a:avLst/>
          </a:prstGeom>
          <a:noFill/>
        </p:spPr>
        <p:txBody>
          <a:bodyPr wrap="none" lIns="0" tIns="0" rIns="0" bIns="0" rtlCol="0">
            <a:spAutoFit/>
          </a:bodyPr>
          <a:lstStyle/>
          <a:p>
            <a:r>
              <a:rPr lang="it-IT" sz="3600" b="1" dirty="0">
                <a:solidFill>
                  <a:srgbClr val="19436B"/>
                </a:solidFill>
                <a:latin typeface="Times New Roman" panose="02020603050405020304" pitchFamily="18" charset="0"/>
                <a:cs typeface="Times New Roman" panose="02020603050405020304" pitchFamily="18" charset="0"/>
              </a:rPr>
              <a:t>INTER ABSENTES</a:t>
            </a:r>
          </a:p>
        </p:txBody>
      </p:sp>
      <p:grpSp>
        <p:nvGrpSpPr>
          <p:cNvPr id="13" name="Gruppo 12">
            <a:extLst>
              <a:ext uri="{FF2B5EF4-FFF2-40B4-BE49-F238E27FC236}">
                <a16:creationId xmlns:a16="http://schemas.microsoft.com/office/drawing/2014/main" id="{6F8B920A-928C-1A48-AB92-E1667AEA4241}"/>
              </a:ext>
            </a:extLst>
          </p:cNvPr>
          <p:cNvGrpSpPr/>
          <p:nvPr/>
        </p:nvGrpSpPr>
        <p:grpSpPr>
          <a:xfrm>
            <a:off x="2485245" y="1932893"/>
            <a:ext cx="1202835" cy="908466"/>
            <a:chOff x="1478315" y="2213682"/>
            <a:chExt cx="1202835" cy="908466"/>
          </a:xfrm>
        </p:grpSpPr>
        <p:cxnSp>
          <p:nvCxnSpPr>
            <p:cNvPr id="10" name="Connettore 1 9">
              <a:extLst>
                <a:ext uri="{FF2B5EF4-FFF2-40B4-BE49-F238E27FC236}">
                  <a16:creationId xmlns:a16="http://schemas.microsoft.com/office/drawing/2014/main" id="{DB88B7F1-8A2D-134F-A60E-0F705FDA8830}"/>
                </a:ext>
              </a:extLst>
            </p:cNvPr>
            <p:cNvCxnSpPr>
              <a:cxnSpLocks/>
            </p:cNvCxnSpPr>
            <p:nvPr/>
          </p:nvCxnSpPr>
          <p:spPr>
            <a:xfrm>
              <a:off x="1478315" y="2213682"/>
              <a:ext cx="0" cy="908466"/>
            </a:xfrm>
            <a:prstGeom prst="line">
              <a:avLst/>
            </a:prstGeom>
            <a:ln>
              <a:solidFill>
                <a:schemeClr val="bg2">
                  <a:lumMod val="25000"/>
                </a:schemeClr>
              </a:solidFill>
            </a:ln>
          </p:spPr>
          <p:style>
            <a:lnRef idx="3">
              <a:schemeClr val="accent3"/>
            </a:lnRef>
            <a:fillRef idx="0">
              <a:schemeClr val="accent3"/>
            </a:fillRef>
            <a:effectRef idx="2">
              <a:schemeClr val="accent3"/>
            </a:effectRef>
            <a:fontRef idx="minor">
              <a:schemeClr val="tx1"/>
            </a:fontRef>
          </p:style>
        </p:cxnSp>
        <p:cxnSp>
          <p:nvCxnSpPr>
            <p:cNvPr id="12" name="Connettore 2 11">
              <a:extLst>
                <a:ext uri="{FF2B5EF4-FFF2-40B4-BE49-F238E27FC236}">
                  <a16:creationId xmlns:a16="http://schemas.microsoft.com/office/drawing/2014/main" id="{9DD37FF9-13AD-8542-BAB6-88225C6763B0}"/>
                </a:ext>
              </a:extLst>
            </p:cNvPr>
            <p:cNvCxnSpPr>
              <a:cxnSpLocks/>
            </p:cNvCxnSpPr>
            <p:nvPr/>
          </p:nvCxnSpPr>
          <p:spPr>
            <a:xfrm>
              <a:off x="1478315" y="3122148"/>
              <a:ext cx="1202835" cy="0"/>
            </a:xfrm>
            <a:prstGeom prst="straightConnector1">
              <a:avLst/>
            </a:prstGeom>
            <a:ln>
              <a:solidFill>
                <a:schemeClr val="bg2">
                  <a:lumMod val="25000"/>
                </a:schemeClr>
              </a:solidFill>
              <a:tailEnd type="triangle"/>
            </a:ln>
          </p:spPr>
          <p:style>
            <a:lnRef idx="3">
              <a:schemeClr val="accent3"/>
            </a:lnRef>
            <a:fillRef idx="0">
              <a:schemeClr val="accent3"/>
            </a:fillRef>
            <a:effectRef idx="2">
              <a:schemeClr val="accent3"/>
            </a:effectRef>
            <a:fontRef idx="minor">
              <a:schemeClr val="tx1"/>
            </a:fontRef>
          </p:style>
        </p:cxnSp>
      </p:grpSp>
      <p:grpSp>
        <p:nvGrpSpPr>
          <p:cNvPr id="54" name="Gruppo 53">
            <a:extLst>
              <a:ext uri="{FF2B5EF4-FFF2-40B4-BE49-F238E27FC236}">
                <a16:creationId xmlns:a16="http://schemas.microsoft.com/office/drawing/2014/main" id="{8FA27C51-8E87-8649-80FC-A0E3A66273E4}"/>
              </a:ext>
            </a:extLst>
          </p:cNvPr>
          <p:cNvGrpSpPr/>
          <p:nvPr/>
        </p:nvGrpSpPr>
        <p:grpSpPr>
          <a:xfrm>
            <a:off x="5312523" y="4669506"/>
            <a:ext cx="3594683" cy="1243202"/>
            <a:chOff x="2524565" y="5102125"/>
            <a:chExt cx="3594683" cy="1243202"/>
          </a:xfrm>
          <a:effectLst>
            <a:outerShdw blurRad="50800" dist="38100" dir="13500000" algn="br" rotWithShape="0">
              <a:prstClr val="black">
                <a:alpha val="40000"/>
              </a:prstClr>
            </a:outerShdw>
          </a:effectLst>
        </p:grpSpPr>
        <p:sp>
          <p:nvSpPr>
            <p:cNvPr id="53" name="Rettangolo con angoli arrotondati 52">
              <a:extLst>
                <a:ext uri="{FF2B5EF4-FFF2-40B4-BE49-F238E27FC236}">
                  <a16:creationId xmlns:a16="http://schemas.microsoft.com/office/drawing/2014/main" id="{F5BB3C41-AD7A-ED4E-942B-D1C68C1B2D4E}"/>
                </a:ext>
              </a:extLst>
            </p:cNvPr>
            <p:cNvSpPr/>
            <p:nvPr/>
          </p:nvSpPr>
          <p:spPr>
            <a:xfrm>
              <a:off x="2524565" y="5102125"/>
              <a:ext cx="3594683" cy="1200329"/>
            </a:xfrm>
            <a:prstGeom prst="roundRect">
              <a:avLst/>
            </a:prstGeom>
            <a:ln>
              <a:noFill/>
            </a:ln>
            <a:effectLst>
              <a:outerShdw blurRad="50800" dist="38100" dir="5400000" algn="t"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endParaRPr lang="it-IT"/>
            </a:p>
          </p:txBody>
        </p:sp>
        <p:sp>
          <p:nvSpPr>
            <p:cNvPr id="29" name="CasellaDiTesto 28">
              <a:extLst>
                <a:ext uri="{FF2B5EF4-FFF2-40B4-BE49-F238E27FC236}">
                  <a16:creationId xmlns:a16="http://schemas.microsoft.com/office/drawing/2014/main" id="{FF479B35-2305-4A4A-A107-69CFC37AC8AC}"/>
                </a:ext>
              </a:extLst>
            </p:cNvPr>
            <p:cNvSpPr txBox="1"/>
            <p:nvPr/>
          </p:nvSpPr>
          <p:spPr>
            <a:xfrm>
              <a:off x="2659519" y="5144998"/>
              <a:ext cx="3300055" cy="1200329"/>
            </a:xfrm>
            <a:prstGeom prst="rect">
              <a:avLst/>
            </a:prstGeom>
            <a:noFill/>
          </p:spPr>
          <p:txBody>
            <a:bodyPr wrap="square" rtlCol="0">
              <a:spAutoFit/>
            </a:bodyPr>
            <a:lstStyle/>
            <a:p>
              <a:pPr algn="ctr"/>
              <a:r>
                <a:rPr lang="it-IT" i="1" dirty="0">
                  <a:latin typeface="Times New Roman" panose="02020603050405020304" pitchFamily="18" charset="0"/>
                  <a:cs typeface="Times New Roman" panose="02020603050405020304" pitchFamily="18" charset="0"/>
                </a:rPr>
                <a:t>Eccezione</a:t>
              </a:r>
              <a:r>
                <a:rPr lang="it-IT" dirty="0">
                  <a:latin typeface="Times New Roman" panose="02020603050405020304" pitchFamily="18" charset="0"/>
                  <a:cs typeface="Times New Roman" panose="02020603050405020304" pitchFamily="18" charset="0"/>
                </a:rPr>
                <a:t>: accettazione mediante esecuzione derivante da tenore letterale proposta/pratiche commerciali tra le parti/usi </a:t>
              </a:r>
            </a:p>
          </p:txBody>
        </p:sp>
      </p:grpSp>
      <p:grpSp>
        <p:nvGrpSpPr>
          <p:cNvPr id="50" name="Gruppo 49">
            <a:extLst>
              <a:ext uri="{FF2B5EF4-FFF2-40B4-BE49-F238E27FC236}">
                <a16:creationId xmlns:a16="http://schemas.microsoft.com/office/drawing/2014/main" id="{921B41B7-7386-2145-9007-D8BD7FA69B4A}"/>
              </a:ext>
            </a:extLst>
          </p:cNvPr>
          <p:cNvGrpSpPr/>
          <p:nvPr/>
        </p:nvGrpSpPr>
        <p:grpSpPr>
          <a:xfrm>
            <a:off x="5373971" y="2829365"/>
            <a:ext cx="3447068" cy="875657"/>
            <a:chOff x="5383579" y="3359906"/>
            <a:chExt cx="3326325" cy="875657"/>
          </a:xfrm>
        </p:grpSpPr>
        <p:sp>
          <p:nvSpPr>
            <p:cNvPr id="49" name="Rettangolo con angoli arrotondati sullo stesso lato 48">
              <a:extLst>
                <a:ext uri="{FF2B5EF4-FFF2-40B4-BE49-F238E27FC236}">
                  <a16:creationId xmlns:a16="http://schemas.microsoft.com/office/drawing/2014/main" id="{F0CDF0C5-296E-2443-B322-75FBC35A1DAE}"/>
                </a:ext>
              </a:extLst>
            </p:cNvPr>
            <p:cNvSpPr/>
            <p:nvPr/>
          </p:nvSpPr>
          <p:spPr>
            <a:xfrm rot="10800000">
              <a:off x="5383579" y="3359906"/>
              <a:ext cx="3326325" cy="875657"/>
            </a:xfrm>
            <a:prstGeom prst="round2SameRect">
              <a:avLst/>
            </a:prstGeom>
            <a:solidFill>
              <a:srgbClr val="1B4A7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0" name="CasellaDiTesto 19">
              <a:extLst>
                <a:ext uri="{FF2B5EF4-FFF2-40B4-BE49-F238E27FC236}">
                  <a16:creationId xmlns:a16="http://schemas.microsoft.com/office/drawing/2014/main" id="{CE7C4970-3FF1-CB40-B064-891350EC18B8}"/>
                </a:ext>
              </a:extLst>
            </p:cNvPr>
            <p:cNvSpPr txBox="1"/>
            <p:nvPr/>
          </p:nvSpPr>
          <p:spPr>
            <a:xfrm>
              <a:off x="5466390" y="3609679"/>
              <a:ext cx="3243514" cy="553998"/>
            </a:xfrm>
            <a:prstGeom prst="rect">
              <a:avLst/>
            </a:prstGeom>
            <a:noFill/>
            <a:ln>
              <a:noFill/>
            </a:ln>
          </p:spPr>
          <p:txBody>
            <a:bodyPr wrap="square" rtlCol="0">
              <a:spAutoFit/>
            </a:bodyPr>
            <a:lstStyle/>
            <a:p>
              <a:pPr algn="ctr"/>
              <a:r>
                <a:rPr lang="it-IT" sz="1500" dirty="0">
                  <a:solidFill>
                    <a:schemeClr val="bg1"/>
                  </a:solidFill>
                  <a:latin typeface="Times New Roman" panose="02020603050405020304" pitchFamily="18" charset="0"/>
                  <a:cs typeface="Times New Roman" panose="02020603050405020304" pitchFamily="18" charset="0"/>
                </a:rPr>
                <a:t>Tutelando particolarmente gli interessi </a:t>
              </a:r>
            </a:p>
            <a:p>
              <a:pPr algn="ctr"/>
              <a:r>
                <a:rPr lang="it-IT" sz="1500" dirty="0">
                  <a:solidFill>
                    <a:schemeClr val="bg1"/>
                  </a:solidFill>
                  <a:latin typeface="Times New Roman" panose="02020603050405020304" pitchFamily="18" charset="0"/>
                  <a:cs typeface="Times New Roman" panose="02020603050405020304" pitchFamily="18" charset="0"/>
                </a:rPr>
                <a:t>dell’accettante</a:t>
              </a:r>
              <a:endParaRPr lang="it-IT" sz="1500" dirty="0">
                <a:solidFill>
                  <a:schemeClr val="bg1"/>
                </a:solidFill>
              </a:endParaRPr>
            </a:p>
          </p:txBody>
        </p:sp>
      </p:grpSp>
      <p:grpSp>
        <p:nvGrpSpPr>
          <p:cNvPr id="51" name="Gruppo 50">
            <a:extLst>
              <a:ext uri="{FF2B5EF4-FFF2-40B4-BE49-F238E27FC236}">
                <a16:creationId xmlns:a16="http://schemas.microsoft.com/office/drawing/2014/main" id="{72BF35A8-98A4-4548-8586-5D5EAF431128}"/>
              </a:ext>
            </a:extLst>
          </p:cNvPr>
          <p:cNvGrpSpPr/>
          <p:nvPr/>
        </p:nvGrpSpPr>
        <p:grpSpPr>
          <a:xfrm>
            <a:off x="5312532" y="1932893"/>
            <a:ext cx="3594683" cy="1758896"/>
            <a:chOff x="5320711" y="2041672"/>
            <a:chExt cx="3534877" cy="1758896"/>
          </a:xfrm>
        </p:grpSpPr>
        <p:sp>
          <p:nvSpPr>
            <p:cNvPr id="48" name="Figura a mano libera 47">
              <a:extLst>
                <a:ext uri="{FF2B5EF4-FFF2-40B4-BE49-F238E27FC236}">
                  <a16:creationId xmlns:a16="http://schemas.microsoft.com/office/drawing/2014/main" id="{480E2FFD-D170-C943-9313-F9DF6A30F564}"/>
                </a:ext>
              </a:extLst>
            </p:cNvPr>
            <p:cNvSpPr/>
            <p:nvPr/>
          </p:nvSpPr>
          <p:spPr>
            <a:xfrm>
              <a:off x="5320711" y="2041672"/>
              <a:ext cx="3534877" cy="1758896"/>
            </a:xfrm>
            <a:custGeom>
              <a:avLst/>
              <a:gdLst>
                <a:gd name="connsiteX0" fmla="*/ 293155 w 3534877"/>
                <a:gd name="connsiteY0" fmla="*/ 0 h 1758896"/>
                <a:gd name="connsiteX1" fmla="*/ 3241722 w 3534877"/>
                <a:gd name="connsiteY1" fmla="*/ 0 h 1758896"/>
                <a:gd name="connsiteX2" fmla="*/ 3534877 w 3534877"/>
                <a:gd name="connsiteY2" fmla="*/ 293155 h 1758896"/>
                <a:gd name="connsiteX3" fmla="*/ 3534877 w 3534877"/>
                <a:gd name="connsiteY3" fmla="*/ 1758896 h 1758896"/>
                <a:gd name="connsiteX4" fmla="*/ 3394863 w 3534877"/>
                <a:gd name="connsiteY4" fmla="*/ 1758896 h 1758896"/>
                <a:gd name="connsiteX5" fmla="*/ 3394863 w 3534877"/>
                <a:gd name="connsiteY5" fmla="*/ 1739167 h 1758896"/>
                <a:gd name="connsiteX6" fmla="*/ 3273396 w 3534877"/>
                <a:gd name="connsiteY6" fmla="*/ 1617700 h 1758896"/>
                <a:gd name="connsiteX7" fmla="*/ 261480 w 3534877"/>
                <a:gd name="connsiteY7" fmla="*/ 1617700 h 1758896"/>
                <a:gd name="connsiteX8" fmla="*/ 140013 w 3534877"/>
                <a:gd name="connsiteY8" fmla="*/ 1739167 h 1758896"/>
                <a:gd name="connsiteX9" fmla="*/ 140013 w 3534877"/>
                <a:gd name="connsiteY9" fmla="*/ 1758896 h 1758896"/>
                <a:gd name="connsiteX10" fmla="*/ 0 w 3534877"/>
                <a:gd name="connsiteY10" fmla="*/ 1758896 h 1758896"/>
                <a:gd name="connsiteX11" fmla="*/ 0 w 3534877"/>
                <a:gd name="connsiteY11" fmla="*/ 293155 h 1758896"/>
                <a:gd name="connsiteX12" fmla="*/ 293155 w 3534877"/>
                <a:gd name="connsiteY12" fmla="*/ 0 h 175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34877" h="1758896">
                  <a:moveTo>
                    <a:pt x="293155" y="0"/>
                  </a:moveTo>
                  <a:lnTo>
                    <a:pt x="3241722" y="0"/>
                  </a:lnTo>
                  <a:cubicBezTo>
                    <a:pt x="3403627" y="0"/>
                    <a:pt x="3534877" y="131250"/>
                    <a:pt x="3534877" y="293155"/>
                  </a:cubicBezTo>
                  <a:lnTo>
                    <a:pt x="3534877" y="1758896"/>
                  </a:lnTo>
                  <a:lnTo>
                    <a:pt x="3394863" y="1758896"/>
                  </a:lnTo>
                  <a:lnTo>
                    <a:pt x="3394863" y="1739167"/>
                  </a:lnTo>
                  <a:cubicBezTo>
                    <a:pt x="3394863" y="1672083"/>
                    <a:pt x="3340480" y="1617700"/>
                    <a:pt x="3273396" y="1617700"/>
                  </a:cubicBezTo>
                  <a:lnTo>
                    <a:pt x="261480" y="1617700"/>
                  </a:lnTo>
                  <a:cubicBezTo>
                    <a:pt x="194396" y="1617700"/>
                    <a:pt x="140013" y="1672083"/>
                    <a:pt x="140013" y="1739167"/>
                  </a:cubicBezTo>
                  <a:lnTo>
                    <a:pt x="140013" y="1758896"/>
                  </a:lnTo>
                  <a:lnTo>
                    <a:pt x="0" y="1758896"/>
                  </a:lnTo>
                  <a:lnTo>
                    <a:pt x="0" y="293155"/>
                  </a:lnTo>
                  <a:cubicBezTo>
                    <a:pt x="0" y="131250"/>
                    <a:pt x="131250" y="0"/>
                    <a:pt x="293155" y="0"/>
                  </a:cubicBezTo>
                  <a:close/>
                </a:path>
              </a:pathLst>
            </a:custGeom>
            <a:ln>
              <a:noFill/>
            </a:ln>
            <a:effectLst>
              <a:outerShdw blurRad="50800" dist="38100" dir="7200000" sx="102000" sy="102000" rotWithShape="0">
                <a:prstClr val="black">
                  <a:alpha val="39000"/>
                </a:prstClr>
              </a:outerShdw>
            </a:effectLst>
          </p:spPr>
          <p:style>
            <a:lnRef idx="2">
              <a:schemeClr val="accent6"/>
            </a:lnRef>
            <a:fillRef idx="1">
              <a:schemeClr val="lt1"/>
            </a:fillRef>
            <a:effectRef idx="0">
              <a:schemeClr val="accent6"/>
            </a:effectRef>
            <a:fontRef idx="minor">
              <a:schemeClr val="dk1"/>
            </a:fontRef>
          </p:style>
          <p:txBody>
            <a:bodyPr wrap="square" rtlCol="0" anchor="ctr">
              <a:noAutofit/>
            </a:bodyPr>
            <a:lstStyle/>
            <a:p>
              <a:pPr algn="ctr"/>
              <a:endParaRPr lang="it-IT"/>
            </a:p>
          </p:txBody>
        </p:sp>
        <p:sp>
          <p:nvSpPr>
            <p:cNvPr id="17" name="CasellaDiTesto 16">
              <a:extLst>
                <a:ext uri="{FF2B5EF4-FFF2-40B4-BE49-F238E27FC236}">
                  <a16:creationId xmlns:a16="http://schemas.microsoft.com/office/drawing/2014/main" id="{A53B3961-67AC-1140-AD07-E50AC3162CAE}"/>
                </a:ext>
              </a:extLst>
            </p:cNvPr>
            <p:cNvSpPr txBox="1"/>
            <p:nvPr/>
          </p:nvSpPr>
          <p:spPr>
            <a:xfrm>
              <a:off x="5320711" y="2652037"/>
              <a:ext cx="3534868" cy="923330"/>
            </a:xfrm>
            <a:prstGeom prst="rect">
              <a:avLst/>
            </a:prstGeom>
            <a:noFill/>
          </p:spPr>
          <p:txBody>
            <a:bodyPr wrap="square" rtlCol="0">
              <a:spAutoFit/>
            </a:bodyPr>
            <a:lstStyle/>
            <a:p>
              <a:pPr algn="ctr"/>
              <a:r>
                <a:rPr lang="it-IT" dirty="0">
                  <a:latin typeface="Times New Roman" panose="02020603050405020304" pitchFamily="18" charset="0"/>
                  <a:cs typeface="Times New Roman" panose="02020603050405020304" pitchFamily="18" charset="0"/>
                </a:rPr>
                <a:t>Il contratto si conclude quando l’accettazione dell’oblato perviene</a:t>
              </a:r>
            </a:p>
            <a:p>
              <a:pPr algn="ctr"/>
              <a:r>
                <a:rPr lang="it-IT" dirty="0">
                  <a:latin typeface="Times New Roman" panose="02020603050405020304" pitchFamily="18" charset="0"/>
                  <a:cs typeface="Times New Roman" panose="02020603050405020304" pitchFamily="18" charset="0"/>
                </a:rPr>
                <a:t>al proponente,</a:t>
              </a:r>
            </a:p>
          </p:txBody>
        </p:sp>
        <p:sp>
          <p:nvSpPr>
            <p:cNvPr id="19" name="CasellaDiTesto 18">
              <a:extLst>
                <a:ext uri="{FF2B5EF4-FFF2-40B4-BE49-F238E27FC236}">
                  <a16:creationId xmlns:a16="http://schemas.microsoft.com/office/drawing/2014/main" id="{3A9EE52C-3FAA-A845-9096-5DBFFAF3A0E7}"/>
                </a:ext>
              </a:extLst>
            </p:cNvPr>
            <p:cNvSpPr txBox="1"/>
            <p:nvPr/>
          </p:nvSpPr>
          <p:spPr>
            <a:xfrm>
              <a:off x="5320712" y="2262822"/>
              <a:ext cx="3534876" cy="307777"/>
            </a:xfrm>
            <a:prstGeom prst="rect">
              <a:avLst/>
            </a:prstGeom>
            <a:noFill/>
          </p:spPr>
          <p:txBody>
            <a:bodyPr wrap="square" lIns="0" tIns="0" rIns="0" bIns="0" rtlCol="0">
              <a:spAutoFit/>
            </a:bodyPr>
            <a:lstStyle/>
            <a:p>
              <a:pPr algn="ctr"/>
              <a:r>
                <a:rPr lang="it-IT" sz="2000" b="1" dirty="0">
                  <a:latin typeface="Times New Roman" panose="02020603050405020304" pitchFamily="18" charset="0"/>
                  <a:cs typeface="Times New Roman" panose="02020603050405020304" pitchFamily="18" charset="0"/>
                </a:rPr>
                <a:t>TEORIA della RICEZIONE</a:t>
              </a:r>
              <a:endParaRPr lang="it-IT" sz="2000" b="1" dirty="0"/>
            </a:p>
          </p:txBody>
        </p:sp>
      </p:grpSp>
    </p:spTree>
    <p:extLst>
      <p:ext uri="{BB962C8B-B14F-4D97-AF65-F5344CB8AC3E}">
        <p14:creationId xmlns:p14="http://schemas.microsoft.com/office/powerpoint/2010/main" val="35818229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1"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dissolv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8" presetClass="entr" presetSubtype="6"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strips(downRight)">
                                      <p:cBhvr>
                                        <p:cTn id="12" dur="500"/>
                                        <p:tgtEl>
                                          <p:spTgt spid="13"/>
                                        </p:tgtEl>
                                      </p:cBhvr>
                                    </p:animEffect>
                                  </p:childTnLst>
                                </p:cTn>
                              </p:par>
                            </p:childTnLst>
                          </p:cTn>
                        </p:par>
                        <p:par>
                          <p:cTn id="13" fill="hold">
                            <p:stCondLst>
                              <p:cond delay="500"/>
                            </p:stCondLst>
                            <p:childTnLst>
                              <p:par>
                                <p:cTn id="14" presetID="2" presetClass="entr" presetSubtype="4" fill="hold" nodeType="afterEffect">
                                  <p:stCondLst>
                                    <p:cond delay="0"/>
                                  </p:stCondLst>
                                  <p:childTnLst>
                                    <p:set>
                                      <p:cBhvr>
                                        <p:cTn id="15" dur="1" fill="hold">
                                          <p:stCondLst>
                                            <p:cond delay="0"/>
                                          </p:stCondLst>
                                        </p:cTn>
                                        <p:tgtEl>
                                          <p:spTgt spid="51"/>
                                        </p:tgtEl>
                                        <p:attrNameLst>
                                          <p:attrName>style.visibility</p:attrName>
                                        </p:attrNameLst>
                                      </p:cBhvr>
                                      <p:to>
                                        <p:strVal val="visible"/>
                                      </p:to>
                                    </p:set>
                                    <p:anim calcmode="lin" valueType="num">
                                      <p:cBhvr additive="base">
                                        <p:cTn id="16" dur="1000" fill="hold"/>
                                        <p:tgtEl>
                                          <p:spTgt spid="51"/>
                                        </p:tgtEl>
                                        <p:attrNameLst>
                                          <p:attrName>ppt_x</p:attrName>
                                        </p:attrNameLst>
                                      </p:cBhvr>
                                      <p:tavLst>
                                        <p:tav tm="0">
                                          <p:val>
                                            <p:strVal val="#ppt_x"/>
                                          </p:val>
                                        </p:tav>
                                        <p:tav tm="100000">
                                          <p:val>
                                            <p:strVal val="#ppt_x"/>
                                          </p:val>
                                        </p:tav>
                                      </p:tavLst>
                                    </p:anim>
                                    <p:anim calcmode="lin" valueType="num">
                                      <p:cBhvr additive="base">
                                        <p:cTn id="17" dur="1000" fill="hold"/>
                                        <p:tgtEl>
                                          <p:spTgt spid="51"/>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2" presetClass="entr" presetSubtype="1" fill="hold" nodeType="afterEffect">
                                  <p:stCondLst>
                                    <p:cond delay="0"/>
                                  </p:stCondLst>
                                  <p:childTnLst>
                                    <p:set>
                                      <p:cBhvr>
                                        <p:cTn id="20" dur="1" fill="hold">
                                          <p:stCondLst>
                                            <p:cond delay="0"/>
                                          </p:stCondLst>
                                        </p:cTn>
                                        <p:tgtEl>
                                          <p:spTgt spid="50"/>
                                        </p:tgtEl>
                                        <p:attrNameLst>
                                          <p:attrName>style.visibility</p:attrName>
                                        </p:attrNameLst>
                                      </p:cBhvr>
                                      <p:to>
                                        <p:strVal val="visible"/>
                                      </p:to>
                                    </p:set>
                                    <p:anim calcmode="lin" valueType="num">
                                      <p:cBhvr additive="base">
                                        <p:cTn id="21" dur="10" fill="hold"/>
                                        <p:tgtEl>
                                          <p:spTgt spid="50"/>
                                        </p:tgtEl>
                                        <p:attrNameLst>
                                          <p:attrName>ppt_x</p:attrName>
                                        </p:attrNameLst>
                                      </p:cBhvr>
                                      <p:tavLst>
                                        <p:tav tm="0">
                                          <p:val>
                                            <p:strVal val="#ppt_x"/>
                                          </p:val>
                                        </p:tav>
                                        <p:tav tm="100000">
                                          <p:val>
                                            <p:strVal val="#ppt_x"/>
                                          </p:val>
                                        </p:tav>
                                      </p:tavLst>
                                    </p:anim>
                                    <p:anim calcmode="lin" valueType="num">
                                      <p:cBhvr additive="base">
                                        <p:cTn id="22" dur="10" fill="hold"/>
                                        <p:tgtEl>
                                          <p:spTgt spid="50"/>
                                        </p:tgtEl>
                                        <p:attrNameLst>
                                          <p:attrName>ppt_y</p:attrName>
                                        </p:attrNameLst>
                                      </p:cBhvr>
                                      <p:tavLst>
                                        <p:tav tm="0">
                                          <p:val>
                                            <p:strVal val="0-#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42" presetClass="path" presetSubtype="0" accel="50000" decel="50000" fill="hold" nodeType="clickEffect">
                                  <p:stCondLst>
                                    <p:cond delay="0"/>
                                  </p:stCondLst>
                                  <p:childTnLst>
                                    <p:animMotion origin="layout" path="M -1.45833E-6 1.11111E-6 L -1.45833E-6 0.06967 " pathEditMode="relative" rAng="0" ptsTypes="AA">
                                      <p:cBhvr>
                                        <p:cTn id="26" dur="2000" fill="hold"/>
                                        <p:tgtEl>
                                          <p:spTgt spid="50"/>
                                        </p:tgtEl>
                                        <p:attrNameLst>
                                          <p:attrName>ppt_x</p:attrName>
                                          <p:attrName>ppt_y</p:attrName>
                                        </p:attrNameLst>
                                      </p:cBhvr>
                                      <p:rCtr x="0" y="3472"/>
                                    </p:animMotion>
                                  </p:childTnLst>
                                </p:cTn>
                              </p:par>
                            </p:childTnLst>
                          </p:cTn>
                        </p:par>
                      </p:childTnLst>
                    </p:cTn>
                  </p:par>
                  <p:par>
                    <p:cTn id="27" fill="hold">
                      <p:stCondLst>
                        <p:cond delay="indefinite"/>
                      </p:stCondLst>
                      <p:childTnLst>
                        <p:par>
                          <p:cTn id="28" fill="hold">
                            <p:stCondLst>
                              <p:cond delay="0"/>
                            </p:stCondLst>
                            <p:childTnLst>
                              <p:par>
                                <p:cTn id="29" presetID="53" presetClass="entr" presetSubtype="16" fill="hold" nodeType="clickEffect">
                                  <p:stCondLst>
                                    <p:cond delay="0"/>
                                  </p:stCondLst>
                                  <p:childTnLst>
                                    <p:set>
                                      <p:cBhvr>
                                        <p:cTn id="30" dur="1" fill="hold">
                                          <p:stCondLst>
                                            <p:cond delay="0"/>
                                          </p:stCondLst>
                                        </p:cTn>
                                        <p:tgtEl>
                                          <p:spTgt spid="54"/>
                                        </p:tgtEl>
                                        <p:attrNameLst>
                                          <p:attrName>style.visibility</p:attrName>
                                        </p:attrNameLst>
                                      </p:cBhvr>
                                      <p:to>
                                        <p:strVal val="visible"/>
                                      </p:to>
                                    </p:set>
                                    <p:anim calcmode="lin" valueType="num">
                                      <p:cBhvr>
                                        <p:cTn id="31" dur="500" fill="hold"/>
                                        <p:tgtEl>
                                          <p:spTgt spid="54"/>
                                        </p:tgtEl>
                                        <p:attrNameLst>
                                          <p:attrName>ppt_w</p:attrName>
                                        </p:attrNameLst>
                                      </p:cBhvr>
                                      <p:tavLst>
                                        <p:tav tm="0">
                                          <p:val>
                                            <p:fltVal val="0"/>
                                          </p:val>
                                        </p:tav>
                                        <p:tav tm="100000">
                                          <p:val>
                                            <p:strVal val="#ppt_w"/>
                                          </p:val>
                                        </p:tav>
                                      </p:tavLst>
                                    </p:anim>
                                    <p:anim calcmode="lin" valueType="num">
                                      <p:cBhvr>
                                        <p:cTn id="32" dur="500" fill="hold"/>
                                        <p:tgtEl>
                                          <p:spTgt spid="54"/>
                                        </p:tgtEl>
                                        <p:attrNameLst>
                                          <p:attrName>ppt_h</p:attrName>
                                        </p:attrNameLst>
                                      </p:cBhvr>
                                      <p:tavLst>
                                        <p:tav tm="0">
                                          <p:val>
                                            <p:fltVal val="0"/>
                                          </p:val>
                                        </p:tav>
                                        <p:tav tm="100000">
                                          <p:val>
                                            <p:strVal val="#ppt_h"/>
                                          </p:val>
                                        </p:tav>
                                      </p:tavLst>
                                    </p:anim>
                                    <p:animEffect transition="in" filter="fade">
                                      <p:cBhvr>
                                        <p:cTn id="33"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41" name="Figura a mano libera 40">
            <a:extLst>
              <a:ext uri="{FF2B5EF4-FFF2-40B4-BE49-F238E27FC236}">
                <a16:creationId xmlns:a16="http://schemas.microsoft.com/office/drawing/2014/main" id="{0117CAF3-2C57-6649-8462-F62AEB1C6610}"/>
              </a:ext>
            </a:extLst>
          </p:cNvPr>
          <p:cNvSpPr>
            <a:spLocks/>
          </p:cNvSpPr>
          <p:nvPr>
            <p:custDataLst>
              <p:tags r:id="rId1"/>
            </p:custDataLst>
          </p:nvPr>
        </p:nvSpPr>
        <p:spPr bwMode="auto">
          <a:xfrm>
            <a:off x="2762809" y="1558641"/>
            <a:ext cx="5706718" cy="5231187"/>
          </a:xfrm>
          <a:custGeom>
            <a:avLst/>
            <a:gdLst>
              <a:gd name="connsiteX0" fmla="*/ 0 w 1317625"/>
              <a:gd name="connsiteY0" fmla="*/ 1287463 h 1344613"/>
              <a:gd name="connsiteX1" fmla="*/ 6350 w 1317625"/>
              <a:gd name="connsiteY1" fmla="*/ 1287463 h 1344613"/>
              <a:gd name="connsiteX2" fmla="*/ 6106 w 1317625"/>
              <a:gd name="connsiteY2" fmla="*/ 1306513 h 1344613"/>
              <a:gd name="connsiteX3" fmla="*/ 5861 w 1317625"/>
              <a:gd name="connsiteY3" fmla="*/ 1323976 h 1344613"/>
              <a:gd name="connsiteX4" fmla="*/ 5617 w 1317625"/>
              <a:gd name="connsiteY4" fmla="*/ 1330326 h 1344613"/>
              <a:gd name="connsiteX5" fmla="*/ 5617 w 1317625"/>
              <a:gd name="connsiteY5" fmla="*/ 1336676 h 1344613"/>
              <a:gd name="connsiteX6" fmla="*/ 5861 w 1317625"/>
              <a:gd name="connsiteY6" fmla="*/ 1341438 h 1344613"/>
              <a:gd name="connsiteX7" fmla="*/ 6350 w 1317625"/>
              <a:gd name="connsiteY7" fmla="*/ 1344613 h 1344613"/>
              <a:gd name="connsiteX8" fmla="*/ 1465 w 1317625"/>
              <a:gd name="connsiteY8" fmla="*/ 1344613 h 1344613"/>
              <a:gd name="connsiteX9" fmla="*/ 1221 w 1317625"/>
              <a:gd name="connsiteY9" fmla="*/ 1335088 h 1344613"/>
              <a:gd name="connsiteX10" fmla="*/ 733 w 1317625"/>
              <a:gd name="connsiteY10" fmla="*/ 1319213 h 1344613"/>
              <a:gd name="connsiteX11" fmla="*/ 244 w 1317625"/>
              <a:gd name="connsiteY11" fmla="*/ 1303338 h 1344613"/>
              <a:gd name="connsiteX12" fmla="*/ 110807 w 1317625"/>
              <a:gd name="connsiteY12" fmla="*/ 1277938 h 1344613"/>
              <a:gd name="connsiteX13" fmla="*/ 112712 w 1317625"/>
              <a:gd name="connsiteY13" fmla="*/ 1277938 h 1344613"/>
              <a:gd name="connsiteX14" fmla="*/ 110807 w 1317625"/>
              <a:gd name="connsiteY14" fmla="*/ 1281027 h 1344613"/>
              <a:gd name="connsiteX15" fmla="*/ 108426 w 1317625"/>
              <a:gd name="connsiteY15" fmla="*/ 1285661 h 1344613"/>
              <a:gd name="connsiteX16" fmla="*/ 106997 w 1317625"/>
              <a:gd name="connsiteY16" fmla="*/ 1289523 h 1344613"/>
              <a:gd name="connsiteX17" fmla="*/ 106045 w 1317625"/>
              <a:gd name="connsiteY17" fmla="*/ 1294156 h 1344613"/>
              <a:gd name="connsiteX18" fmla="*/ 103663 w 1317625"/>
              <a:gd name="connsiteY18" fmla="*/ 1301879 h 1344613"/>
              <a:gd name="connsiteX19" fmla="*/ 101758 w 1317625"/>
              <a:gd name="connsiteY19" fmla="*/ 1310375 h 1344613"/>
              <a:gd name="connsiteX20" fmla="*/ 100806 w 1317625"/>
              <a:gd name="connsiteY20" fmla="*/ 1314236 h 1344613"/>
              <a:gd name="connsiteX21" fmla="*/ 99377 w 1317625"/>
              <a:gd name="connsiteY21" fmla="*/ 1317325 h 1344613"/>
              <a:gd name="connsiteX22" fmla="*/ 97948 w 1317625"/>
              <a:gd name="connsiteY22" fmla="*/ 1321187 h 1344613"/>
              <a:gd name="connsiteX23" fmla="*/ 96043 w 1317625"/>
              <a:gd name="connsiteY23" fmla="*/ 1324276 h 1344613"/>
              <a:gd name="connsiteX24" fmla="*/ 93662 w 1317625"/>
              <a:gd name="connsiteY24" fmla="*/ 1328137 h 1344613"/>
              <a:gd name="connsiteX25" fmla="*/ 91281 w 1317625"/>
              <a:gd name="connsiteY25" fmla="*/ 1331227 h 1344613"/>
              <a:gd name="connsiteX26" fmla="*/ 87947 w 1317625"/>
              <a:gd name="connsiteY26" fmla="*/ 1333544 h 1344613"/>
              <a:gd name="connsiteX27" fmla="*/ 84137 w 1317625"/>
              <a:gd name="connsiteY27" fmla="*/ 1335088 h 1344613"/>
              <a:gd name="connsiteX28" fmla="*/ 86518 w 1317625"/>
              <a:gd name="connsiteY28" fmla="*/ 1324276 h 1344613"/>
              <a:gd name="connsiteX29" fmla="*/ 89852 w 1317625"/>
              <a:gd name="connsiteY29" fmla="*/ 1314236 h 1344613"/>
              <a:gd name="connsiteX30" fmla="*/ 93186 w 1317625"/>
              <a:gd name="connsiteY30" fmla="*/ 1304196 h 1344613"/>
              <a:gd name="connsiteX31" fmla="*/ 96996 w 1317625"/>
              <a:gd name="connsiteY31" fmla="*/ 1295701 h 1344613"/>
              <a:gd name="connsiteX32" fmla="*/ 101282 w 1317625"/>
              <a:gd name="connsiteY32" fmla="*/ 1288750 h 1344613"/>
              <a:gd name="connsiteX33" fmla="*/ 104616 w 1317625"/>
              <a:gd name="connsiteY33" fmla="*/ 1282572 h 1344613"/>
              <a:gd name="connsiteX34" fmla="*/ 106997 w 1317625"/>
              <a:gd name="connsiteY34" fmla="*/ 1280255 h 1344613"/>
              <a:gd name="connsiteX35" fmla="*/ 108902 w 1317625"/>
              <a:gd name="connsiteY35" fmla="*/ 1278710 h 1344613"/>
              <a:gd name="connsiteX36" fmla="*/ 773112 w 1317625"/>
              <a:gd name="connsiteY36" fmla="*/ 1069975 h 1344613"/>
              <a:gd name="connsiteX37" fmla="*/ 773112 w 1317625"/>
              <a:gd name="connsiteY37" fmla="*/ 1106070 h 1344613"/>
              <a:gd name="connsiteX38" fmla="*/ 773112 w 1317625"/>
              <a:gd name="connsiteY38" fmla="*/ 1127125 h 1344613"/>
              <a:gd name="connsiteX39" fmla="*/ 763588 w 1317625"/>
              <a:gd name="connsiteY39" fmla="*/ 1127125 h 1344613"/>
              <a:gd name="connsiteX40" fmla="*/ 758825 w 1317625"/>
              <a:gd name="connsiteY40" fmla="*/ 1127125 h 1344613"/>
              <a:gd name="connsiteX41" fmla="*/ 763588 w 1317625"/>
              <a:gd name="connsiteY41" fmla="*/ 1106070 h 1344613"/>
              <a:gd name="connsiteX42" fmla="*/ 1015206 w 1317625"/>
              <a:gd name="connsiteY42" fmla="*/ 1040131 h 1344613"/>
              <a:gd name="connsiteX43" fmla="*/ 1029815 w 1317625"/>
              <a:gd name="connsiteY43" fmla="*/ 1041997 h 1344613"/>
              <a:gd name="connsiteX44" fmla="*/ 1042764 w 1317625"/>
              <a:gd name="connsiteY44" fmla="*/ 1045729 h 1344613"/>
              <a:gd name="connsiteX45" fmla="*/ 1049405 w 1317625"/>
              <a:gd name="connsiteY45" fmla="*/ 1047595 h 1344613"/>
              <a:gd name="connsiteX46" fmla="*/ 1055381 w 1317625"/>
              <a:gd name="connsiteY46" fmla="*/ 1046662 h 1344613"/>
              <a:gd name="connsiteX47" fmla="*/ 1058370 w 1317625"/>
              <a:gd name="connsiteY47" fmla="*/ 1045729 h 1344613"/>
              <a:gd name="connsiteX48" fmla="*/ 1060694 w 1317625"/>
              <a:gd name="connsiteY48" fmla="*/ 1044796 h 1344613"/>
              <a:gd name="connsiteX49" fmla="*/ 1063350 w 1317625"/>
              <a:gd name="connsiteY49" fmla="*/ 1042930 h 1344613"/>
              <a:gd name="connsiteX50" fmla="*/ 1066006 w 1317625"/>
              <a:gd name="connsiteY50" fmla="*/ 1040131 h 1344613"/>
              <a:gd name="connsiteX51" fmla="*/ 1066006 w 1317625"/>
              <a:gd name="connsiteY51" fmla="*/ 1048528 h 1344613"/>
              <a:gd name="connsiteX52" fmla="*/ 1066006 w 1317625"/>
              <a:gd name="connsiteY52" fmla="*/ 1063457 h 1344613"/>
              <a:gd name="connsiteX53" fmla="*/ 1062686 w 1317625"/>
              <a:gd name="connsiteY53" fmla="*/ 1069055 h 1344613"/>
              <a:gd name="connsiteX54" fmla="*/ 1059366 w 1317625"/>
              <a:gd name="connsiteY54" fmla="*/ 1073721 h 1344613"/>
              <a:gd name="connsiteX55" fmla="*/ 1056377 w 1317625"/>
              <a:gd name="connsiteY55" fmla="*/ 1077453 h 1344613"/>
              <a:gd name="connsiteX56" fmla="*/ 1053057 w 1317625"/>
              <a:gd name="connsiteY56" fmla="*/ 1081185 h 1344613"/>
              <a:gd name="connsiteX57" fmla="*/ 1050401 w 1317625"/>
              <a:gd name="connsiteY57" fmla="*/ 1083051 h 1344613"/>
              <a:gd name="connsiteX58" fmla="*/ 1048077 w 1317625"/>
              <a:gd name="connsiteY58" fmla="*/ 1084917 h 1344613"/>
              <a:gd name="connsiteX59" fmla="*/ 1045753 w 1317625"/>
              <a:gd name="connsiteY59" fmla="*/ 1085850 h 1344613"/>
              <a:gd name="connsiteX60" fmla="*/ 1044093 w 1317625"/>
              <a:gd name="connsiteY60" fmla="*/ 1085850 h 1344613"/>
              <a:gd name="connsiteX61" fmla="*/ 1039112 w 1317625"/>
              <a:gd name="connsiteY61" fmla="*/ 1084917 h 1344613"/>
              <a:gd name="connsiteX62" fmla="*/ 1035128 w 1317625"/>
              <a:gd name="connsiteY62" fmla="*/ 1083051 h 1344613"/>
              <a:gd name="connsiteX63" fmla="*/ 1031808 w 1317625"/>
              <a:gd name="connsiteY63" fmla="*/ 1080252 h 1344613"/>
              <a:gd name="connsiteX64" fmla="*/ 1028819 w 1317625"/>
              <a:gd name="connsiteY64" fmla="*/ 1075587 h 1344613"/>
              <a:gd name="connsiteX65" fmla="*/ 1022511 w 1317625"/>
              <a:gd name="connsiteY65" fmla="*/ 1067189 h 1344613"/>
              <a:gd name="connsiteX66" fmla="*/ 1015206 w 1317625"/>
              <a:gd name="connsiteY66" fmla="*/ 1057859 h 1344613"/>
              <a:gd name="connsiteX67" fmla="*/ 719137 w 1317625"/>
              <a:gd name="connsiteY67" fmla="*/ 990600 h 1344613"/>
              <a:gd name="connsiteX68" fmla="*/ 759919 w 1317625"/>
              <a:gd name="connsiteY68" fmla="*/ 990600 h 1344613"/>
              <a:gd name="connsiteX69" fmla="*/ 765559 w 1317625"/>
              <a:gd name="connsiteY69" fmla="*/ 1000125 h 1344613"/>
              <a:gd name="connsiteX70" fmla="*/ 767729 w 1317625"/>
              <a:gd name="connsiteY70" fmla="*/ 996950 h 1344613"/>
              <a:gd name="connsiteX71" fmla="*/ 769898 w 1317625"/>
              <a:gd name="connsiteY71" fmla="*/ 994834 h 1344613"/>
              <a:gd name="connsiteX72" fmla="*/ 772067 w 1317625"/>
              <a:gd name="connsiteY72" fmla="*/ 993246 h 1344613"/>
              <a:gd name="connsiteX73" fmla="*/ 774236 w 1317625"/>
              <a:gd name="connsiteY73" fmla="*/ 992188 h 1344613"/>
              <a:gd name="connsiteX74" fmla="*/ 778575 w 1317625"/>
              <a:gd name="connsiteY74" fmla="*/ 991129 h 1344613"/>
              <a:gd name="connsiteX75" fmla="*/ 783347 w 1317625"/>
              <a:gd name="connsiteY75" fmla="*/ 990600 h 1344613"/>
              <a:gd name="connsiteX76" fmla="*/ 784649 w 1317625"/>
              <a:gd name="connsiteY76" fmla="*/ 990600 h 1344613"/>
              <a:gd name="connsiteX77" fmla="*/ 788987 w 1317625"/>
              <a:gd name="connsiteY77" fmla="*/ 990600 h 1344613"/>
              <a:gd name="connsiteX78" fmla="*/ 788987 w 1317625"/>
              <a:gd name="connsiteY78" fmla="*/ 1039284 h 1344613"/>
              <a:gd name="connsiteX79" fmla="*/ 786384 w 1317625"/>
              <a:gd name="connsiteY79" fmla="*/ 1039813 h 1344613"/>
              <a:gd name="connsiteX80" fmla="*/ 784215 w 1317625"/>
              <a:gd name="connsiteY80" fmla="*/ 1039813 h 1344613"/>
              <a:gd name="connsiteX81" fmla="*/ 782046 w 1317625"/>
              <a:gd name="connsiteY81" fmla="*/ 1039284 h 1344613"/>
              <a:gd name="connsiteX82" fmla="*/ 779876 w 1317625"/>
              <a:gd name="connsiteY82" fmla="*/ 1038755 h 1344613"/>
              <a:gd name="connsiteX83" fmla="*/ 775104 w 1317625"/>
              <a:gd name="connsiteY83" fmla="*/ 1037167 h 1344613"/>
              <a:gd name="connsiteX84" fmla="*/ 771199 w 1317625"/>
              <a:gd name="connsiteY84" fmla="*/ 1033992 h 1344613"/>
              <a:gd name="connsiteX85" fmla="*/ 767295 w 1317625"/>
              <a:gd name="connsiteY85" fmla="*/ 1030288 h 1344613"/>
              <a:gd name="connsiteX86" fmla="*/ 764258 w 1317625"/>
              <a:gd name="connsiteY86" fmla="*/ 1026055 h 1344613"/>
              <a:gd name="connsiteX87" fmla="*/ 761221 w 1317625"/>
              <a:gd name="connsiteY87" fmla="*/ 1021821 h 1344613"/>
              <a:gd name="connsiteX88" fmla="*/ 759919 w 1317625"/>
              <a:gd name="connsiteY88" fmla="*/ 1016530 h 1344613"/>
              <a:gd name="connsiteX89" fmla="*/ 759052 w 1317625"/>
              <a:gd name="connsiteY89" fmla="*/ 1017059 h 1344613"/>
              <a:gd name="connsiteX90" fmla="*/ 757750 w 1317625"/>
              <a:gd name="connsiteY90" fmla="*/ 1017588 h 1344613"/>
              <a:gd name="connsiteX91" fmla="*/ 756448 w 1317625"/>
              <a:gd name="connsiteY91" fmla="*/ 1017588 h 1344613"/>
              <a:gd name="connsiteX92" fmla="*/ 755581 w 1317625"/>
              <a:gd name="connsiteY92" fmla="*/ 1017588 h 1344613"/>
              <a:gd name="connsiteX93" fmla="*/ 752978 w 1317625"/>
              <a:gd name="connsiteY93" fmla="*/ 1017059 h 1344613"/>
              <a:gd name="connsiteX94" fmla="*/ 751242 w 1317625"/>
              <a:gd name="connsiteY94" fmla="*/ 1016530 h 1344613"/>
              <a:gd name="connsiteX95" fmla="*/ 747338 w 1317625"/>
              <a:gd name="connsiteY95" fmla="*/ 1016000 h 1344613"/>
              <a:gd name="connsiteX96" fmla="*/ 742999 w 1317625"/>
              <a:gd name="connsiteY96" fmla="*/ 1014413 h 1344613"/>
              <a:gd name="connsiteX97" fmla="*/ 738227 w 1317625"/>
              <a:gd name="connsiteY97" fmla="*/ 1011767 h 1344613"/>
              <a:gd name="connsiteX98" fmla="*/ 733020 w 1317625"/>
              <a:gd name="connsiteY98" fmla="*/ 1008592 h 1344613"/>
              <a:gd name="connsiteX99" fmla="*/ 728248 w 1317625"/>
              <a:gd name="connsiteY99" fmla="*/ 1004359 h 1344613"/>
              <a:gd name="connsiteX100" fmla="*/ 724343 w 1317625"/>
              <a:gd name="connsiteY100" fmla="*/ 1000125 h 1344613"/>
              <a:gd name="connsiteX101" fmla="*/ 722608 w 1317625"/>
              <a:gd name="connsiteY101" fmla="*/ 998009 h 1344613"/>
              <a:gd name="connsiteX102" fmla="*/ 721307 w 1317625"/>
              <a:gd name="connsiteY102" fmla="*/ 995363 h 1344613"/>
              <a:gd name="connsiteX103" fmla="*/ 720439 w 1317625"/>
              <a:gd name="connsiteY103" fmla="*/ 993246 h 1344613"/>
              <a:gd name="connsiteX104" fmla="*/ 1317625 w 1317625"/>
              <a:gd name="connsiteY104" fmla="*/ 959644 h 1344613"/>
              <a:gd name="connsiteX105" fmla="*/ 1316948 w 1317625"/>
              <a:gd name="connsiteY105" fmla="*/ 961607 h 1344613"/>
              <a:gd name="connsiteX106" fmla="*/ 1316271 w 1317625"/>
              <a:gd name="connsiteY106" fmla="*/ 962916 h 1344613"/>
              <a:gd name="connsiteX107" fmla="*/ 1314239 w 1317625"/>
              <a:gd name="connsiteY107" fmla="*/ 964224 h 1344613"/>
              <a:gd name="connsiteX108" fmla="*/ 1312885 w 1317625"/>
              <a:gd name="connsiteY108" fmla="*/ 965533 h 1344613"/>
              <a:gd name="connsiteX109" fmla="*/ 1308145 w 1317625"/>
              <a:gd name="connsiteY109" fmla="*/ 967496 h 1344613"/>
              <a:gd name="connsiteX110" fmla="*/ 1304759 w 1317625"/>
              <a:gd name="connsiteY110" fmla="*/ 968150 h 1344613"/>
              <a:gd name="connsiteX111" fmla="*/ 1304081 w 1317625"/>
              <a:gd name="connsiteY111" fmla="*/ 972076 h 1344613"/>
              <a:gd name="connsiteX112" fmla="*/ 1302727 w 1317625"/>
              <a:gd name="connsiteY112" fmla="*/ 976656 h 1344613"/>
              <a:gd name="connsiteX113" fmla="*/ 1302050 w 1317625"/>
              <a:gd name="connsiteY113" fmla="*/ 980582 h 1344613"/>
              <a:gd name="connsiteX114" fmla="*/ 1300695 w 1317625"/>
              <a:gd name="connsiteY114" fmla="*/ 983853 h 1344613"/>
              <a:gd name="connsiteX115" fmla="*/ 1299341 w 1317625"/>
              <a:gd name="connsiteY115" fmla="*/ 986470 h 1344613"/>
              <a:gd name="connsiteX116" fmla="*/ 1297309 w 1317625"/>
              <a:gd name="connsiteY116" fmla="*/ 989088 h 1344613"/>
              <a:gd name="connsiteX117" fmla="*/ 1293923 w 1317625"/>
              <a:gd name="connsiteY117" fmla="*/ 991705 h 1344613"/>
              <a:gd name="connsiteX118" fmla="*/ 1291215 w 1317625"/>
              <a:gd name="connsiteY118" fmla="*/ 994322 h 1344613"/>
              <a:gd name="connsiteX119" fmla="*/ 1284443 w 1317625"/>
              <a:gd name="connsiteY119" fmla="*/ 998248 h 1344613"/>
              <a:gd name="connsiteX120" fmla="*/ 1275639 w 1317625"/>
              <a:gd name="connsiteY120" fmla="*/ 1002173 h 1344613"/>
              <a:gd name="connsiteX121" fmla="*/ 1266158 w 1317625"/>
              <a:gd name="connsiteY121" fmla="*/ 1004791 h 1344613"/>
              <a:gd name="connsiteX122" fmla="*/ 1254646 w 1317625"/>
              <a:gd name="connsiteY122" fmla="*/ 1008062 h 1344613"/>
              <a:gd name="connsiteX123" fmla="*/ 1241102 w 1317625"/>
              <a:gd name="connsiteY123" fmla="*/ 988433 h 1344613"/>
              <a:gd name="connsiteX124" fmla="*/ 1254646 w 1317625"/>
              <a:gd name="connsiteY124" fmla="*/ 981236 h 1344613"/>
              <a:gd name="connsiteX125" fmla="*/ 1274285 w 1317625"/>
              <a:gd name="connsiteY125" fmla="*/ 972076 h 1344613"/>
              <a:gd name="connsiteX126" fmla="*/ 1285120 w 1317625"/>
              <a:gd name="connsiteY126" fmla="*/ 968150 h 1344613"/>
              <a:gd name="connsiteX127" fmla="*/ 1296632 w 1317625"/>
              <a:gd name="connsiteY127" fmla="*/ 964879 h 1344613"/>
              <a:gd name="connsiteX128" fmla="*/ 1307467 w 1317625"/>
              <a:gd name="connsiteY128" fmla="*/ 962261 h 1344613"/>
              <a:gd name="connsiteX129" fmla="*/ 492125 w 1317625"/>
              <a:gd name="connsiteY129" fmla="*/ 931863 h 1344613"/>
              <a:gd name="connsiteX130" fmla="*/ 495860 w 1317625"/>
              <a:gd name="connsiteY130" fmla="*/ 931863 h 1344613"/>
              <a:gd name="connsiteX131" fmla="*/ 501930 w 1317625"/>
              <a:gd name="connsiteY131" fmla="*/ 931863 h 1344613"/>
              <a:gd name="connsiteX132" fmla="*/ 503798 w 1317625"/>
              <a:gd name="connsiteY132" fmla="*/ 941194 h 1344613"/>
              <a:gd name="connsiteX133" fmla="*/ 506132 w 1317625"/>
              <a:gd name="connsiteY133" fmla="*/ 945859 h 1344613"/>
              <a:gd name="connsiteX134" fmla="*/ 506599 w 1317625"/>
              <a:gd name="connsiteY134" fmla="*/ 949358 h 1344613"/>
              <a:gd name="connsiteX135" fmla="*/ 507533 w 1317625"/>
              <a:gd name="connsiteY135" fmla="*/ 951691 h 1344613"/>
              <a:gd name="connsiteX136" fmla="*/ 507533 w 1317625"/>
              <a:gd name="connsiteY136" fmla="*/ 956356 h 1344613"/>
              <a:gd name="connsiteX137" fmla="*/ 508000 w 1317625"/>
              <a:gd name="connsiteY137" fmla="*/ 961021 h 1344613"/>
              <a:gd name="connsiteX138" fmla="*/ 508000 w 1317625"/>
              <a:gd name="connsiteY138" fmla="*/ 971518 h 1344613"/>
              <a:gd name="connsiteX139" fmla="*/ 508000 w 1317625"/>
              <a:gd name="connsiteY139" fmla="*/ 989013 h 1344613"/>
              <a:gd name="connsiteX140" fmla="*/ 505666 w 1317625"/>
              <a:gd name="connsiteY140" fmla="*/ 985514 h 1344613"/>
              <a:gd name="connsiteX141" fmla="*/ 503331 w 1317625"/>
              <a:gd name="connsiteY141" fmla="*/ 982015 h 1344613"/>
              <a:gd name="connsiteX142" fmla="*/ 500996 w 1317625"/>
              <a:gd name="connsiteY142" fmla="*/ 977350 h 1344613"/>
              <a:gd name="connsiteX143" fmla="*/ 498662 w 1317625"/>
              <a:gd name="connsiteY143" fmla="*/ 971518 h 1344613"/>
              <a:gd name="connsiteX144" fmla="*/ 496794 w 1317625"/>
              <a:gd name="connsiteY144" fmla="*/ 963354 h 1344613"/>
              <a:gd name="connsiteX145" fmla="*/ 495394 w 1317625"/>
              <a:gd name="connsiteY145" fmla="*/ 955190 h 1344613"/>
              <a:gd name="connsiteX146" fmla="*/ 493526 w 1317625"/>
              <a:gd name="connsiteY146" fmla="*/ 944693 h 1344613"/>
              <a:gd name="connsiteX147" fmla="*/ 1037139 w 1317625"/>
              <a:gd name="connsiteY147" fmla="*/ 887842 h 1344613"/>
              <a:gd name="connsiteX148" fmla="*/ 1034397 w 1317625"/>
              <a:gd name="connsiteY148" fmla="*/ 890987 h 1344613"/>
              <a:gd name="connsiteX149" fmla="*/ 1031824 w 1317625"/>
              <a:gd name="connsiteY149" fmla="*/ 893151 h 1344613"/>
              <a:gd name="connsiteX150" fmla="*/ 1028823 w 1317625"/>
              <a:gd name="connsiteY150" fmla="*/ 895315 h 1344613"/>
              <a:gd name="connsiteX151" fmla="*/ 1028721 w 1317625"/>
              <a:gd name="connsiteY151" fmla="*/ 895358 h 1344613"/>
              <a:gd name="connsiteX152" fmla="*/ 1028767 w 1317625"/>
              <a:gd name="connsiteY152" fmla="*/ 895350 h 1344613"/>
              <a:gd name="connsiteX153" fmla="*/ 1030997 w 1317625"/>
              <a:gd name="connsiteY153" fmla="*/ 894292 h 1344613"/>
              <a:gd name="connsiteX154" fmla="*/ 1033673 w 1317625"/>
              <a:gd name="connsiteY154" fmla="*/ 892175 h 1344613"/>
              <a:gd name="connsiteX155" fmla="*/ 1035457 w 1317625"/>
              <a:gd name="connsiteY155" fmla="*/ 890058 h 1344613"/>
              <a:gd name="connsiteX156" fmla="*/ 297880 w 1317625"/>
              <a:gd name="connsiteY156" fmla="*/ 880096 h 1344613"/>
              <a:gd name="connsiteX157" fmla="*/ 300037 w 1317625"/>
              <a:gd name="connsiteY157" fmla="*/ 880334 h 1344613"/>
              <a:gd name="connsiteX158" fmla="*/ 300037 w 1317625"/>
              <a:gd name="connsiteY158" fmla="*/ 883468 h 1344613"/>
              <a:gd name="connsiteX159" fmla="*/ 300037 w 1317625"/>
              <a:gd name="connsiteY159" fmla="*/ 886601 h 1344613"/>
              <a:gd name="connsiteX160" fmla="*/ 298317 w 1317625"/>
              <a:gd name="connsiteY160" fmla="*/ 889735 h 1344613"/>
              <a:gd name="connsiteX161" fmla="*/ 296168 w 1317625"/>
              <a:gd name="connsiteY161" fmla="*/ 897047 h 1344613"/>
              <a:gd name="connsiteX162" fmla="*/ 292728 w 1317625"/>
              <a:gd name="connsiteY162" fmla="*/ 908014 h 1344613"/>
              <a:gd name="connsiteX163" fmla="*/ 289288 w 1317625"/>
              <a:gd name="connsiteY163" fmla="*/ 919504 h 1344613"/>
              <a:gd name="connsiteX164" fmla="*/ 285419 w 1317625"/>
              <a:gd name="connsiteY164" fmla="*/ 931516 h 1344613"/>
              <a:gd name="connsiteX165" fmla="*/ 282839 w 1317625"/>
              <a:gd name="connsiteY165" fmla="*/ 942484 h 1344613"/>
              <a:gd name="connsiteX166" fmla="*/ 280689 w 1317625"/>
              <a:gd name="connsiteY166" fmla="*/ 951363 h 1344613"/>
              <a:gd name="connsiteX167" fmla="*/ 280680 w 1317625"/>
              <a:gd name="connsiteY167" fmla="*/ 951487 h 1344613"/>
              <a:gd name="connsiteX168" fmla="*/ 282752 w 1317625"/>
              <a:gd name="connsiteY168" fmla="*/ 942942 h 1344613"/>
              <a:gd name="connsiteX169" fmla="*/ 285357 w 1317625"/>
              <a:gd name="connsiteY169" fmla="*/ 931877 h 1344613"/>
              <a:gd name="connsiteX170" fmla="*/ 289266 w 1317625"/>
              <a:gd name="connsiteY170" fmla="*/ 919758 h 1344613"/>
              <a:gd name="connsiteX171" fmla="*/ 292740 w 1317625"/>
              <a:gd name="connsiteY171" fmla="*/ 908165 h 1344613"/>
              <a:gd name="connsiteX172" fmla="*/ 296215 w 1317625"/>
              <a:gd name="connsiteY172" fmla="*/ 897100 h 1344613"/>
              <a:gd name="connsiteX173" fmla="*/ 298386 w 1317625"/>
              <a:gd name="connsiteY173" fmla="*/ 889723 h 1344613"/>
              <a:gd name="connsiteX174" fmla="*/ 300123 w 1317625"/>
              <a:gd name="connsiteY174" fmla="*/ 886562 h 1344613"/>
              <a:gd name="connsiteX175" fmla="*/ 300123 w 1317625"/>
              <a:gd name="connsiteY175" fmla="*/ 883400 h 1344613"/>
              <a:gd name="connsiteX176" fmla="*/ 300123 w 1317625"/>
              <a:gd name="connsiteY176" fmla="*/ 880239 h 1344613"/>
              <a:gd name="connsiteX177" fmla="*/ 276985 w 1317625"/>
              <a:gd name="connsiteY177" fmla="*/ 876326 h 1344613"/>
              <a:gd name="connsiteX178" fmla="*/ 278110 w 1317625"/>
              <a:gd name="connsiteY178" fmla="*/ 876678 h 1344613"/>
              <a:gd name="connsiteX179" fmla="*/ 284129 w 1317625"/>
              <a:gd name="connsiteY179" fmla="*/ 878245 h 1344613"/>
              <a:gd name="connsiteX180" fmla="*/ 287561 w 1317625"/>
              <a:gd name="connsiteY180" fmla="*/ 878840 h 1344613"/>
              <a:gd name="connsiteX181" fmla="*/ 284055 w 1317625"/>
              <a:gd name="connsiteY181" fmla="*/ 878131 h 1344613"/>
              <a:gd name="connsiteX182" fmla="*/ 243161 w 1317625"/>
              <a:gd name="connsiteY182" fmla="*/ 867038 h 1344613"/>
              <a:gd name="connsiteX183" fmla="*/ 252743 w 1317625"/>
              <a:gd name="connsiteY183" fmla="*/ 869366 h 1344613"/>
              <a:gd name="connsiteX184" fmla="*/ 264781 w 1317625"/>
              <a:gd name="connsiteY184" fmla="*/ 872500 h 1344613"/>
              <a:gd name="connsiteX185" fmla="*/ 274220 w 1317625"/>
              <a:gd name="connsiteY185" fmla="*/ 875459 h 1344613"/>
              <a:gd name="connsiteX186" fmla="*/ 268420 w 1317625"/>
              <a:gd name="connsiteY186" fmla="*/ 873389 h 1344613"/>
              <a:gd name="connsiteX187" fmla="*/ 260168 w 1317625"/>
              <a:gd name="connsiteY187" fmla="*/ 870755 h 1344613"/>
              <a:gd name="connsiteX188" fmla="*/ 252351 w 1317625"/>
              <a:gd name="connsiteY188" fmla="*/ 868647 h 1344613"/>
              <a:gd name="connsiteX189" fmla="*/ 243665 w 1317625"/>
              <a:gd name="connsiteY189" fmla="*/ 867066 h 1344613"/>
              <a:gd name="connsiteX190" fmla="*/ 966221 w 1317625"/>
              <a:gd name="connsiteY190" fmla="*/ 866642 h 1344613"/>
              <a:gd name="connsiteX191" fmla="*/ 965798 w 1317625"/>
              <a:gd name="connsiteY191" fmla="*/ 866909 h 1344613"/>
              <a:gd name="connsiteX192" fmla="*/ 966732 w 1317625"/>
              <a:gd name="connsiteY192" fmla="*/ 869543 h 1344613"/>
              <a:gd name="connsiteX193" fmla="*/ 467671 w 1317625"/>
              <a:gd name="connsiteY193" fmla="*/ 853571 h 1344613"/>
              <a:gd name="connsiteX194" fmla="*/ 459254 w 1317625"/>
              <a:gd name="connsiteY194" fmla="*/ 854046 h 1344613"/>
              <a:gd name="connsiteX195" fmla="*/ 463417 w 1317625"/>
              <a:gd name="connsiteY195" fmla="*/ 857582 h 1344613"/>
              <a:gd name="connsiteX196" fmla="*/ 465648 w 1317625"/>
              <a:gd name="connsiteY196" fmla="*/ 859872 h 1344613"/>
              <a:gd name="connsiteX197" fmla="*/ 435162 w 1317625"/>
              <a:gd name="connsiteY197" fmla="*/ 844060 h 1344613"/>
              <a:gd name="connsiteX198" fmla="*/ 433383 w 1317625"/>
              <a:gd name="connsiteY198" fmla="*/ 844587 h 1344613"/>
              <a:gd name="connsiteX199" fmla="*/ 431605 w 1317625"/>
              <a:gd name="connsiteY199" fmla="*/ 845641 h 1344613"/>
              <a:gd name="connsiteX200" fmla="*/ 430773 w 1317625"/>
              <a:gd name="connsiteY200" fmla="*/ 846381 h 1344613"/>
              <a:gd name="connsiteX201" fmla="*/ 433885 w 1317625"/>
              <a:gd name="connsiteY201" fmla="*/ 848097 h 1344613"/>
              <a:gd name="connsiteX202" fmla="*/ 440516 w 1317625"/>
              <a:gd name="connsiteY202" fmla="*/ 850396 h 1344613"/>
              <a:gd name="connsiteX203" fmla="*/ 439609 w 1317625"/>
              <a:gd name="connsiteY203" fmla="*/ 849858 h 1344613"/>
              <a:gd name="connsiteX204" fmla="*/ 437830 w 1317625"/>
              <a:gd name="connsiteY204" fmla="*/ 848277 h 1344613"/>
              <a:gd name="connsiteX205" fmla="*/ 436496 w 1317625"/>
              <a:gd name="connsiteY205" fmla="*/ 846168 h 1344613"/>
              <a:gd name="connsiteX206" fmla="*/ 646112 w 1317625"/>
              <a:gd name="connsiteY206" fmla="*/ 833438 h 1344613"/>
              <a:gd name="connsiteX207" fmla="*/ 644803 w 1317625"/>
              <a:gd name="connsiteY207" fmla="*/ 849416 h 1344613"/>
              <a:gd name="connsiteX208" fmla="*/ 643929 w 1317625"/>
              <a:gd name="connsiteY208" fmla="*/ 866007 h 1344613"/>
              <a:gd name="connsiteX209" fmla="*/ 643493 w 1317625"/>
              <a:gd name="connsiteY209" fmla="*/ 873382 h 1344613"/>
              <a:gd name="connsiteX210" fmla="*/ 643493 w 1317625"/>
              <a:gd name="connsiteY210" fmla="*/ 880756 h 1344613"/>
              <a:gd name="connsiteX211" fmla="*/ 643929 w 1317625"/>
              <a:gd name="connsiteY211" fmla="*/ 883828 h 1344613"/>
              <a:gd name="connsiteX212" fmla="*/ 644366 w 1317625"/>
              <a:gd name="connsiteY212" fmla="*/ 886287 h 1344613"/>
              <a:gd name="connsiteX213" fmla="*/ 644803 w 1317625"/>
              <a:gd name="connsiteY213" fmla="*/ 888745 h 1344613"/>
              <a:gd name="connsiteX214" fmla="*/ 645389 w 1317625"/>
              <a:gd name="connsiteY214" fmla="*/ 889570 h 1344613"/>
              <a:gd name="connsiteX215" fmla="*/ 646876 w 1317625"/>
              <a:gd name="connsiteY215" fmla="*/ 891025 h 1344613"/>
              <a:gd name="connsiteX216" fmla="*/ 647720 w 1317625"/>
              <a:gd name="connsiteY216" fmla="*/ 892573 h 1344613"/>
              <a:gd name="connsiteX217" fmla="*/ 648564 w 1317625"/>
              <a:gd name="connsiteY217" fmla="*/ 894636 h 1344613"/>
              <a:gd name="connsiteX218" fmla="*/ 649830 w 1317625"/>
              <a:gd name="connsiteY218" fmla="*/ 898764 h 1344613"/>
              <a:gd name="connsiteX219" fmla="*/ 651096 w 1317625"/>
              <a:gd name="connsiteY219" fmla="*/ 903923 h 1344613"/>
              <a:gd name="connsiteX220" fmla="*/ 651518 w 1317625"/>
              <a:gd name="connsiteY220" fmla="*/ 908051 h 1344613"/>
              <a:gd name="connsiteX221" fmla="*/ 651940 w 1317625"/>
              <a:gd name="connsiteY221" fmla="*/ 912694 h 1344613"/>
              <a:gd name="connsiteX222" fmla="*/ 652784 w 1317625"/>
              <a:gd name="connsiteY222" fmla="*/ 917338 h 1344613"/>
              <a:gd name="connsiteX223" fmla="*/ 654050 w 1317625"/>
              <a:gd name="connsiteY223" fmla="*/ 921981 h 1344613"/>
              <a:gd name="connsiteX224" fmla="*/ 654050 w 1317625"/>
              <a:gd name="connsiteY224" fmla="*/ 937975 h 1344613"/>
              <a:gd name="connsiteX225" fmla="*/ 649408 w 1317625"/>
              <a:gd name="connsiteY225" fmla="*/ 946746 h 1344613"/>
              <a:gd name="connsiteX226" fmla="*/ 645610 w 1317625"/>
              <a:gd name="connsiteY226" fmla="*/ 953969 h 1344613"/>
              <a:gd name="connsiteX227" fmla="*/ 643078 w 1317625"/>
              <a:gd name="connsiteY227" fmla="*/ 957581 h 1344613"/>
              <a:gd name="connsiteX228" fmla="*/ 641812 w 1317625"/>
              <a:gd name="connsiteY228" fmla="*/ 961708 h 1344613"/>
              <a:gd name="connsiteX229" fmla="*/ 640968 w 1317625"/>
              <a:gd name="connsiteY229" fmla="*/ 965320 h 1344613"/>
              <a:gd name="connsiteX230" fmla="*/ 640124 w 1317625"/>
              <a:gd name="connsiteY230" fmla="*/ 969963 h 1344613"/>
              <a:gd name="connsiteX231" fmla="*/ 637592 w 1317625"/>
              <a:gd name="connsiteY231" fmla="*/ 967383 h 1344613"/>
              <a:gd name="connsiteX232" fmla="*/ 634638 w 1317625"/>
              <a:gd name="connsiteY232" fmla="*/ 964804 h 1344613"/>
              <a:gd name="connsiteX233" fmla="*/ 632528 w 1317625"/>
              <a:gd name="connsiteY233" fmla="*/ 961708 h 1344613"/>
              <a:gd name="connsiteX234" fmla="*/ 629996 w 1317625"/>
              <a:gd name="connsiteY234" fmla="*/ 958097 h 1344613"/>
              <a:gd name="connsiteX235" fmla="*/ 628308 w 1317625"/>
              <a:gd name="connsiteY235" fmla="*/ 954485 h 1344613"/>
              <a:gd name="connsiteX236" fmla="*/ 627042 w 1317625"/>
              <a:gd name="connsiteY236" fmla="*/ 950873 h 1344613"/>
              <a:gd name="connsiteX237" fmla="*/ 625354 w 1317625"/>
              <a:gd name="connsiteY237" fmla="*/ 946746 h 1344613"/>
              <a:gd name="connsiteX238" fmla="*/ 624088 w 1317625"/>
              <a:gd name="connsiteY238" fmla="*/ 943134 h 1344613"/>
              <a:gd name="connsiteX239" fmla="*/ 622400 w 1317625"/>
              <a:gd name="connsiteY239" fmla="*/ 934363 h 1344613"/>
              <a:gd name="connsiteX240" fmla="*/ 621134 w 1317625"/>
              <a:gd name="connsiteY240" fmla="*/ 925077 h 1344613"/>
              <a:gd name="connsiteX241" fmla="*/ 620712 w 1317625"/>
              <a:gd name="connsiteY241" fmla="*/ 915790 h 1344613"/>
              <a:gd name="connsiteX242" fmla="*/ 620712 w 1317625"/>
              <a:gd name="connsiteY242" fmla="*/ 906503 h 1344613"/>
              <a:gd name="connsiteX243" fmla="*/ 623244 w 1317625"/>
              <a:gd name="connsiteY243" fmla="*/ 906503 h 1344613"/>
              <a:gd name="connsiteX244" fmla="*/ 625354 w 1317625"/>
              <a:gd name="connsiteY244" fmla="*/ 905987 h 1344613"/>
              <a:gd name="connsiteX245" fmla="*/ 627464 w 1317625"/>
              <a:gd name="connsiteY245" fmla="*/ 905471 h 1344613"/>
              <a:gd name="connsiteX246" fmla="*/ 628730 w 1317625"/>
              <a:gd name="connsiteY246" fmla="*/ 904439 h 1344613"/>
              <a:gd name="connsiteX247" fmla="*/ 631684 w 1317625"/>
              <a:gd name="connsiteY247" fmla="*/ 901859 h 1344613"/>
              <a:gd name="connsiteX248" fmla="*/ 633794 w 1317625"/>
              <a:gd name="connsiteY248" fmla="*/ 898764 h 1344613"/>
              <a:gd name="connsiteX249" fmla="*/ 636326 w 1317625"/>
              <a:gd name="connsiteY249" fmla="*/ 895668 h 1344613"/>
              <a:gd name="connsiteX250" fmla="*/ 638014 w 1317625"/>
              <a:gd name="connsiteY250" fmla="*/ 892573 h 1344613"/>
              <a:gd name="connsiteX251" fmla="*/ 639637 w 1317625"/>
              <a:gd name="connsiteY251" fmla="*/ 890588 h 1344613"/>
              <a:gd name="connsiteX252" fmla="*/ 634325 w 1317625"/>
              <a:gd name="connsiteY252" fmla="*/ 890588 h 1344613"/>
              <a:gd name="connsiteX253" fmla="*/ 633452 w 1317625"/>
              <a:gd name="connsiteY253" fmla="*/ 889974 h 1344613"/>
              <a:gd name="connsiteX254" fmla="*/ 632143 w 1317625"/>
              <a:gd name="connsiteY254" fmla="*/ 889359 h 1344613"/>
              <a:gd name="connsiteX255" fmla="*/ 631270 w 1317625"/>
              <a:gd name="connsiteY255" fmla="*/ 887516 h 1344613"/>
              <a:gd name="connsiteX256" fmla="*/ 630396 w 1317625"/>
              <a:gd name="connsiteY256" fmla="*/ 886287 h 1344613"/>
              <a:gd name="connsiteX257" fmla="*/ 629087 w 1317625"/>
              <a:gd name="connsiteY257" fmla="*/ 882599 h 1344613"/>
              <a:gd name="connsiteX258" fmla="*/ 628650 w 1317625"/>
              <a:gd name="connsiteY258" fmla="*/ 878298 h 1344613"/>
              <a:gd name="connsiteX259" fmla="*/ 629087 w 1317625"/>
              <a:gd name="connsiteY259" fmla="*/ 872767 h 1344613"/>
              <a:gd name="connsiteX260" fmla="*/ 629960 w 1317625"/>
              <a:gd name="connsiteY260" fmla="*/ 864164 h 1344613"/>
              <a:gd name="connsiteX261" fmla="*/ 631270 w 1317625"/>
              <a:gd name="connsiteY261" fmla="*/ 856175 h 1344613"/>
              <a:gd name="connsiteX262" fmla="*/ 631706 w 1317625"/>
              <a:gd name="connsiteY262" fmla="*/ 852488 h 1344613"/>
              <a:gd name="connsiteX263" fmla="*/ 633016 w 1317625"/>
              <a:gd name="connsiteY263" fmla="*/ 851874 h 1344613"/>
              <a:gd name="connsiteX264" fmla="*/ 634762 w 1317625"/>
              <a:gd name="connsiteY264" fmla="*/ 849416 h 1344613"/>
              <a:gd name="connsiteX265" fmla="*/ 637381 w 1317625"/>
              <a:gd name="connsiteY265" fmla="*/ 845728 h 1344613"/>
              <a:gd name="connsiteX266" fmla="*/ 639564 w 1317625"/>
              <a:gd name="connsiteY266" fmla="*/ 842656 h 1344613"/>
              <a:gd name="connsiteX267" fmla="*/ 643929 w 1317625"/>
              <a:gd name="connsiteY267" fmla="*/ 835896 h 1344613"/>
              <a:gd name="connsiteX268" fmla="*/ 963430 w 1317625"/>
              <a:gd name="connsiteY268" fmla="*/ 831987 h 1344613"/>
              <a:gd name="connsiteX269" fmla="*/ 963173 w 1317625"/>
              <a:gd name="connsiteY269" fmla="*/ 833829 h 1344613"/>
              <a:gd name="connsiteX270" fmla="*/ 961418 w 1317625"/>
              <a:gd name="connsiteY270" fmla="*/ 836456 h 1344613"/>
              <a:gd name="connsiteX271" fmla="*/ 959663 w 1317625"/>
              <a:gd name="connsiteY271" fmla="*/ 839083 h 1344613"/>
              <a:gd name="connsiteX272" fmla="*/ 957908 w 1317625"/>
              <a:gd name="connsiteY272" fmla="*/ 840660 h 1344613"/>
              <a:gd name="connsiteX273" fmla="*/ 955275 w 1317625"/>
              <a:gd name="connsiteY273" fmla="*/ 842761 h 1344613"/>
              <a:gd name="connsiteX274" fmla="*/ 953519 w 1317625"/>
              <a:gd name="connsiteY274" fmla="*/ 843812 h 1344613"/>
              <a:gd name="connsiteX275" fmla="*/ 952642 w 1317625"/>
              <a:gd name="connsiteY275" fmla="*/ 845389 h 1344613"/>
              <a:gd name="connsiteX276" fmla="*/ 952203 w 1317625"/>
              <a:gd name="connsiteY276" fmla="*/ 846965 h 1344613"/>
              <a:gd name="connsiteX277" fmla="*/ 944743 w 1317625"/>
              <a:gd name="connsiteY277" fmla="*/ 849592 h 1344613"/>
              <a:gd name="connsiteX278" fmla="*/ 938599 w 1317625"/>
              <a:gd name="connsiteY278" fmla="*/ 852745 h 1344613"/>
              <a:gd name="connsiteX279" fmla="*/ 932895 w 1317625"/>
              <a:gd name="connsiteY279" fmla="*/ 856423 h 1344613"/>
              <a:gd name="connsiteX280" fmla="*/ 929087 w 1317625"/>
              <a:gd name="connsiteY280" fmla="*/ 859462 h 1344613"/>
              <a:gd name="connsiteX281" fmla="*/ 936565 w 1317625"/>
              <a:gd name="connsiteY281" fmla="*/ 854944 h 1344613"/>
              <a:gd name="connsiteX282" fmla="*/ 944672 w 1317625"/>
              <a:gd name="connsiteY282" fmla="*/ 850819 h 1344613"/>
              <a:gd name="connsiteX283" fmla="*/ 951925 w 1317625"/>
              <a:gd name="connsiteY283" fmla="*/ 847725 h 1344613"/>
              <a:gd name="connsiteX284" fmla="*/ 951925 w 1317625"/>
              <a:gd name="connsiteY284" fmla="*/ 852366 h 1344613"/>
              <a:gd name="connsiteX285" fmla="*/ 951925 w 1317625"/>
              <a:gd name="connsiteY285" fmla="*/ 857006 h 1344613"/>
              <a:gd name="connsiteX286" fmla="*/ 952351 w 1317625"/>
              <a:gd name="connsiteY286" fmla="*/ 860615 h 1344613"/>
              <a:gd name="connsiteX287" fmla="*/ 953205 w 1317625"/>
              <a:gd name="connsiteY287" fmla="*/ 864224 h 1344613"/>
              <a:gd name="connsiteX288" fmla="*/ 953590 w 1317625"/>
              <a:gd name="connsiteY288" fmla="*/ 864689 h 1344613"/>
              <a:gd name="connsiteX289" fmla="*/ 952929 w 1317625"/>
              <a:gd name="connsiteY289" fmla="*/ 861773 h 1344613"/>
              <a:gd name="connsiteX290" fmla="*/ 952500 w 1317625"/>
              <a:gd name="connsiteY290" fmla="*/ 856905 h 1344613"/>
              <a:gd name="connsiteX291" fmla="*/ 952500 w 1317625"/>
              <a:gd name="connsiteY291" fmla="*/ 852036 h 1344613"/>
              <a:gd name="connsiteX292" fmla="*/ 952500 w 1317625"/>
              <a:gd name="connsiteY292" fmla="*/ 847167 h 1344613"/>
              <a:gd name="connsiteX293" fmla="*/ 952929 w 1317625"/>
              <a:gd name="connsiteY293" fmla="*/ 845544 h 1344613"/>
              <a:gd name="connsiteX294" fmla="*/ 953787 w 1317625"/>
              <a:gd name="connsiteY294" fmla="*/ 844462 h 1344613"/>
              <a:gd name="connsiteX295" fmla="*/ 955502 w 1317625"/>
              <a:gd name="connsiteY295" fmla="*/ 843380 h 1344613"/>
              <a:gd name="connsiteX296" fmla="*/ 958074 w 1317625"/>
              <a:gd name="connsiteY296" fmla="*/ 842298 h 1344613"/>
              <a:gd name="connsiteX297" fmla="*/ 959789 w 1317625"/>
              <a:gd name="connsiteY297" fmla="*/ 841216 h 1344613"/>
              <a:gd name="connsiteX298" fmla="*/ 961505 w 1317625"/>
              <a:gd name="connsiteY298" fmla="*/ 839052 h 1344613"/>
              <a:gd name="connsiteX299" fmla="*/ 962362 w 1317625"/>
              <a:gd name="connsiteY299" fmla="*/ 837970 h 1344613"/>
              <a:gd name="connsiteX300" fmla="*/ 963220 w 1317625"/>
              <a:gd name="connsiteY300" fmla="*/ 836888 h 1344613"/>
              <a:gd name="connsiteX301" fmla="*/ 963220 w 1317625"/>
              <a:gd name="connsiteY301" fmla="*/ 835265 h 1344613"/>
              <a:gd name="connsiteX302" fmla="*/ 963648 w 1317625"/>
              <a:gd name="connsiteY302" fmla="*/ 833642 h 1344613"/>
              <a:gd name="connsiteX303" fmla="*/ 875829 w 1317625"/>
              <a:gd name="connsiteY303" fmla="*/ 813822 h 1344613"/>
              <a:gd name="connsiteX304" fmla="*/ 870435 w 1317625"/>
              <a:gd name="connsiteY304" fmla="*/ 822771 h 1344613"/>
              <a:gd name="connsiteX305" fmla="*/ 872337 w 1317625"/>
              <a:gd name="connsiteY305" fmla="*/ 820167 h 1344613"/>
              <a:gd name="connsiteX306" fmla="*/ 875848 w 1317625"/>
              <a:gd name="connsiteY306" fmla="*/ 813862 h 1344613"/>
              <a:gd name="connsiteX307" fmla="*/ 933873 w 1317625"/>
              <a:gd name="connsiteY307" fmla="*/ 780327 h 1344613"/>
              <a:gd name="connsiteX308" fmla="*/ 939477 w 1317625"/>
              <a:gd name="connsiteY308" fmla="*/ 785488 h 1344613"/>
              <a:gd name="connsiteX309" fmla="*/ 942549 w 1317625"/>
              <a:gd name="connsiteY309" fmla="*/ 789167 h 1344613"/>
              <a:gd name="connsiteX310" fmla="*/ 944743 w 1317625"/>
              <a:gd name="connsiteY310" fmla="*/ 792845 h 1344613"/>
              <a:gd name="connsiteX311" fmla="*/ 947376 w 1317625"/>
              <a:gd name="connsiteY311" fmla="*/ 797048 h 1344613"/>
              <a:gd name="connsiteX312" fmla="*/ 948692 w 1317625"/>
              <a:gd name="connsiteY312" fmla="*/ 801252 h 1344613"/>
              <a:gd name="connsiteX313" fmla="*/ 952203 w 1317625"/>
              <a:gd name="connsiteY313" fmla="*/ 801252 h 1344613"/>
              <a:gd name="connsiteX314" fmla="*/ 954836 w 1317625"/>
              <a:gd name="connsiteY314" fmla="*/ 801252 h 1344613"/>
              <a:gd name="connsiteX315" fmla="*/ 953524 w 1317625"/>
              <a:gd name="connsiteY315" fmla="*/ 803346 h 1344613"/>
              <a:gd name="connsiteX316" fmla="*/ 953787 w 1317625"/>
              <a:gd name="connsiteY316" fmla="*/ 803346 h 1344613"/>
              <a:gd name="connsiteX317" fmla="*/ 955073 w 1317625"/>
              <a:gd name="connsiteY317" fmla="*/ 803346 h 1344613"/>
              <a:gd name="connsiteX318" fmla="*/ 954473 w 1317625"/>
              <a:gd name="connsiteY318" fmla="*/ 804355 h 1344613"/>
              <a:gd name="connsiteX319" fmla="*/ 953297 w 1317625"/>
              <a:gd name="connsiteY319" fmla="*/ 803753 h 1344613"/>
              <a:gd name="connsiteX320" fmla="*/ 952642 w 1317625"/>
              <a:gd name="connsiteY320" fmla="*/ 804930 h 1344613"/>
              <a:gd name="connsiteX321" fmla="*/ 952203 w 1317625"/>
              <a:gd name="connsiteY321" fmla="*/ 805981 h 1344613"/>
              <a:gd name="connsiteX322" fmla="*/ 952642 w 1317625"/>
              <a:gd name="connsiteY322" fmla="*/ 807557 h 1344613"/>
              <a:gd name="connsiteX323" fmla="*/ 952732 w 1317625"/>
              <a:gd name="connsiteY323" fmla="*/ 807880 h 1344613"/>
              <a:gd name="connsiteX324" fmla="*/ 952929 w 1317625"/>
              <a:gd name="connsiteY324" fmla="*/ 807133 h 1344613"/>
              <a:gd name="connsiteX325" fmla="*/ 953787 w 1317625"/>
              <a:gd name="connsiteY325" fmla="*/ 805510 h 1344613"/>
              <a:gd name="connsiteX326" fmla="*/ 954473 w 1317625"/>
              <a:gd name="connsiteY326" fmla="*/ 804355 h 1344613"/>
              <a:gd name="connsiteX327" fmla="*/ 986374 w 1317625"/>
              <a:gd name="connsiteY327" fmla="*/ 820658 h 1344613"/>
              <a:gd name="connsiteX328" fmla="*/ 994092 w 1317625"/>
              <a:gd name="connsiteY328" fmla="*/ 817953 h 1344613"/>
              <a:gd name="connsiteX329" fmla="*/ 995701 w 1317625"/>
              <a:gd name="connsiteY329" fmla="*/ 817163 h 1344613"/>
              <a:gd name="connsiteX330" fmla="*/ 989954 w 1317625"/>
              <a:gd name="connsiteY330" fmla="*/ 819150 h 1344613"/>
              <a:gd name="connsiteX331" fmla="*/ 956609 w 1317625"/>
              <a:gd name="connsiteY331" fmla="*/ 802341 h 1344613"/>
              <a:gd name="connsiteX332" fmla="*/ 953232 w 1317625"/>
              <a:gd name="connsiteY332" fmla="*/ 798664 h 1344613"/>
              <a:gd name="connsiteX333" fmla="*/ 950278 w 1317625"/>
              <a:gd name="connsiteY333" fmla="*/ 794987 h 1344613"/>
              <a:gd name="connsiteX334" fmla="*/ 947323 w 1317625"/>
              <a:gd name="connsiteY334" fmla="*/ 791836 h 1344613"/>
              <a:gd name="connsiteX335" fmla="*/ 943946 w 1317625"/>
              <a:gd name="connsiteY335" fmla="*/ 788684 h 1344613"/>
              <a:gd name="connsiteX336" fmla="*/ 936349 w 1317625"/>
              <a:gd name="connsiteY336" fmla="*/ 782381 h 1344613"/>
              <a:gd name="connsiteX337" fmla="*/ 742915 w 1317625"/>
              <a:gd name="connsiteY337" fmla="*/ 763881 h 1344613"/>
              <a:gd name="connsiteX338" fmla="*/ 744285 w 1317625"/>
              <a:gd name="connsiteY338" fmla="*/ 764212 h 1344613"/>
              <a:gd name="connsiteX339" fmla="*/ 745153 w 1317625"/>
              <a:gd name="connsiteY339" fmla="*/ 765260 h 1344613"/>
              <a:gd name="connsiteX340" fmla="*/ 746021 w 1317625"/>
              <a:gd name="connsiteY340" fmla="*/ 766309 h 1344613"/>
              <a:gd name="connsiteX341" fmla="*/ 746889 w 1317625"/>
              <a:gd name="connsiteY341" fmla="*/ 768405 h 1344613"/>
              <a:gd name="connsiteX342" fmla="*/ 747323 w 1317625"/>
              <a:gd name="connsiteY342" fmla="*/ 771026 h 1344613"/>
              <a:gd name="connsiteX343" fmla="*/ 745587 w 1317625"/>
              <a:gd name="connsiteY343" fmla="*/ 768405 h 1344613"/>
              <a:gd name="connsiteX344" fmla="*/ 744285 w 1317625"/>
              <a:gd name="connsiteY344" fmla="*/ 766309 h 1344613"/>
              <a:gd name="connsiteX345" fmla="*/ 742983 w 1317625"/>
              <a:gd name="connsiteY345" fmla="*/ 764212 h 1344613"/>
              <a:gd name="connsiteX346" fmla="*/ 1072988 w 1317625"/>
              <a:gd name="connsiteY346" fmla="*/ 753394 h 1344613"/>
              <a:gd name="connsiteX347" fmla="*/ 1073105 w 1317625"/>
              <a:gd name="connsiteY347" fmla="*/ 753491 h 1344613"/>
              <a:gd name="connsiteX348" fmla="*/ 1075637 w 1317625"/>
              <a:gd name="connsiteY348" fmla="*/ 755592 h 1344613"/>
              <a:gd name="connsiteX349" fmla="*/ 1078592 w 1317625"/>
              <a:gd name="connsiteY349" fmla="*/ 758218 h 1344613"/>
              <a:gd name="connsiteX350" fmla="*/ 1081426 w 1317625"/>
              <a:gd name="connsiteY350" fmla="*/ 759100 h 1344613"/>
              <a:gd name="connsiteX351" fmla="*/ 1079120 w 1317625"/>
              <a:gd name="connsiteY351" fmla="*/ 757854 h 1344613"/>
              <a:gd name="connsiteX352" fmla="*/ 1076079 w 1317625"/>
              <a:gd name="connsiteY352" fmla="*/ 755742 h 1344613"/>
              <a:gd name="connsiteX353" fmla="*/ 1067759 w 1317625"/>
              <a:gd name="connsiteY353" fmla="*/ 747713 h 1344613"/>
              <a:gd name="connsiteX354" fmla="*/ 1068462 w 1317625"/>
              <a:gd name="connsiteY354" fmla="*/ 748763 h 1344613"/>
              <a:gd name="connsiteX355" fmla="*/ 1070572 w 1317625"/>
              <a:gd name="connsiteY355" fmla="*/ 751390 h 1344613"/>
              <a:gd name="connsiteX356" fmla="*/ 1072534 w 1317625"/>
              <a:gd name="connsiteY356" fmla="*/ 753017 h 1344613"/>
              <a:gd name="connsiteX357" fmla="*/ 1069563 w 1317625"/>
              <a:gd name="connsiteY357" fmla="*/ 749406 h 1344613"/>
              <a:gd name="connsiteX358" fmla="*/ 1070723 w 1317625"/>
              <a:gd name="connsiteY358" fmla="*/ 747713 h 1344613"/>
              <a:gd name="connsiteX359" fmla="*/ 623094 w 1317625"/>
              <a:gd name="connsiteY359" fmla="*/ 739678 h 1344613"/>
              <a:gd name="connsiteX360" fmla="*/ 620903 w 1317625"/>
              <a:gd name="connsiteY360" fmla="*/ 741759 h 1344613"/>
              <a:gd name="connsiteX361" fmla="*/ 622778 w 1317625"/>
              <a:gd name="connsiteY361" fmla="*/ 740627 h 1344613"/>
              <a:gd name="connsiteX362" fmla="*/ 623139 w 1317625"/>
              <a:gd name="connsiteY362" fmla="*/ 740191 h 1344613"/>
              <a:gd name="connsiteX363" fmla="*/ 805058 w 1317625"/>
              <a:gd name="connsiteY363" fmla="*/ 716926 h 1344613"/>
              <a:gd name="connsiteX364" fmla="*/ 800977 w 1317625"/>
              <a:gd name="connsiteY364" fmla="*/ 720363 h 1344613"/>
              <a:gd name="connsiteX365" fmla="*/ 802971 w 1317625"/>
              <a:gd name="connsiteY365" fmla="*/ 721960 h 1344613"/>
              <a:gd name="connsiteX366" fmla="*/ 805319 w 1317625"/>
              <a:gd name="connsiteY366" fmla="*/ 725488 h 1344613"/>
              <a:gd name="connsiteX367" fmla="*/ 807668 w 1317625"/>
              <a:gd name="connsiteY367" fmla="*/ 729016 h 1344613"/>
              <a:gd name="connsiteX368" fmla="*/ 808972 w 1317625"/>
              <a:gd name="connsiteY368" fmla="*/ 730897 h 1344613"/>
              <a:gd name="connsiteX369" fmla="*/ 809190 w 1317625"/>
              <a:gd name="connsiteY369" fmla="*/ 730713 h 1344613"/>
              <a:gd name="connsiteX370" fmla="*/ 812235 w 1317625"/>
              <a:gd name="connsiteY370" fmla="*/ 728663 h 1344613"/>
              <a:gd name="connsiteX371" fmla="*/ 816584 w 1317625"/>
              <a:gd name="connsiteY371" fmla="*/ 732764 h 1344613"/>
              <a:gd name="connsiteX372" fmla="*/ 820933 w 1317625"/>
              <a:gd name="connsiteY372" fmla="*/ 735839 h 1344613"/>
              <a:gd name="connsiteX373" fmla="*/ 825718 w 1317625"/>
              <a:gd name="connsiteY373" fmla="*/ 739427 h 1344613"/>
              <a:gd name="connsiteX374" fmla="*/ 830502 w 1317625"/>
              <a:gd name="connsiteY374" fmla="*/ 741990 h 1344613"/>
              <a:gd name="connsiteX375" fmla="*/ 835286 w 1317625"/>
              <a:gd name="connsiteY375" fmla="*/ 744552 h 1344613"/>
              <a:gd name="connsiteX376" fmla="*/ 840940 w 1317625"/>
              <a:gd name="connsiteY376" fmla="*/ 746090 h 1344613"/>
              <a:gd name="connsiteX377" fmla="*/ 846594 w 1317625"/>
              <a:gd name="connsiteY377" fmla="*/ 747628 h 1344613"/>
              <a:gd name="connsiteX378" fmla="*/ 853118 w 1317625"/>
              <a:gd name="connsiteY378" fmla="*/ 747628 h 1344613"/>
              <a:gd name="connsiteX379" fmla="*/ 857033 w 1317625"/>
              <a:gd name="connsiteY379" fmla="*/ 747115 h 1344613"/>
              <a:gd name="connsiteX380" fmla="*/ 860077 w 1317625"/>
              <a:gd name="connsiteY380" fmla="*/ 746090 h 1344613"/>
              <a:gd name="connsiteX381" fmla="*/ 863557 w 1317625"/>
              <a:gd name="connsiteY381" fmla="*/ 745065 h 1344613"/>
              <a:gd name="connsiteX382" fmla="*/ 865029 w 1317625"/>
              <a:gd name="connsiteY382" fmla="*/ 744872 h 1344613"/>
              <a:gd name="connsiteX383" fmla="*/ 864928 w 1317625"/>
              <a:gd name="connsiteY383" fmla="*/ 744538 h 1344613"/>
              <a:gd name="connsiteX384" fmla="*/ 841873 w 1317625"/>
              <a:gd name="connsiteY384" fmla="*/ 744538 h 1344613"/>
              <a:gd name="connsiteX385" fmla="*/ 835823 w 1317625"/>
              <a:gd name="connsiteY385" fmla="*/ 741498 h 1344613"/>
              <a:gd name="connsiteX386" fmla="*/ 830206 w 1317625"/>
              <a:gd name="connsiteY386" fmla="*/ 738458 h 1344613"/>
              <a:gd name="connsiteX387" fmla="*/ 825453 w 1317625"/>
              <a:gd name="connsiteY387" fmla="*/ 734912 h 1344613"/>
              <a:gd name="connsiteX388" fmla="*/ 820700 w 1317625"/>
              <a:gd name="connsiteY388" fmla="*/ 731872 h 1344613"/>
              <a:gd name="connsiteX389" fmla="*/ 815947 w 1317625"/>
              <a:gd name="connsiteY389" fmla="*/ 727819 h 1344613"/>
              <a:gd name="connsiteX390" fmla="*/ 811626 w 1317625"/>
              <a:gd name="connsiteY390" fmla="*/ 723765 h 1344613"/>
              <a:gd name="connsiteX391" fmla="*/ 806872 w 1317625"/>
              <a:gd name="connsiteY391" fmla="*/ 718699 h 1344613"/>
              <a:gd name="connsiteX392" fmla="*/ 880446 w 1317625"/>
              <a:gd name="connsiteY392" fmla="*/ 673940 h 1344613"/>
              <a:gd name="connsiteX393" fmla="*/ 880100 w 1317625"/>
              <a:gd name="connsiteY393" fmla="*/ 673966 h 1344613"/>
              <a:gd name="connsiteX394" fmla="*/ 878077 w 1317625"/>
              <a:gd name="connsiteY394" fmla="*/ 675175 h 1344613"/>
              <a:gd name="connsiteX395" fmla="*/ 1046103 w 1317625"/>
              <a:gd name="connsiteY395" fmla="*/ 668088 h 1344613"/>
              <a:gd name="connsiteX396" fmla="*/ 1043927 w 1317625"/>
              <a:gd name="connsiteY396" fmla="*/ 669180 h 1344613"/>
              <a:gd name="connsiteX397" fmla="*/ 1060252 w 1317625"/>
              <a:gd name="connsiteY397" fmla="*/ 678131 h 1344613"/>
              <a:gd name="connsiteX398" fmla="*/ 1072307 w 1317625"/>
              <a:gd name="connsiteY398" fmla="*/ 684316 h 1344613"/>
              <a:gd name="connsiteX399" fmla="*/ 1084362 w 1317625"/>
              <a:gd name="connsiteY399" fmla="*/ 700810 h 1344613"/>
              <a:gd name="connsiteX400" fmla="*/ 1093292 w 1317625"/>
              <a:gd name="connsiteY400" fmla="*/ 716272 h 1344613"/>
              <a:gd name="connsiteX401" fmla="*/ 1104900 w 1317625"/>
              <a:gd name="connsiteY401" fmla="*/ 729158 h 1344613"/>
              <a:gd name="connsiteX402" fmla="*/ 1087041 w 1317625"/>
              <a:gd name="connsiteY402" fmla="*/ 732250 h 1344613"/>
              <a:gd name="connsiteX403" fmla="*/ 1075432 w 1317625"/>
              <a:gd name="connsiteY403" fmla="*/ 735343 h 1344613"/>
              <a:gd name="connsiteX404" fmla="*/ 1075432 w 1317625"/>
              <a:gd name="connsiteY404" fmla="*/ 740844 h 1344613"/>
              <a:gd name="connsiteX405" fmla="*/ 1078251 w 1317625"/>
              <a:gd name="connsiteY405" fmla="*/ 736733 h 1344613"/>
              <a:gd name="connsiteX406" fmla="*/ 1089547 w 1317625"/>
              <a:gd name="connsiteY406" fmla="*/ 733564 h 1344613"/>
              <a:gd name="connsiteX407" fmla="*/ 1106924 w 1317625"/>
              <a:gd name="connsiteY407" fmla="*/ 730396 h 1344613"/>
              <a:gd name="connsiteX408" fmla="*/ 1095629 w 1317625"/>
              <a:gd name="connsiteY408" fmla="*/ 717195 h 1344613"/>
              <a:gd name="connsiteX409" fmla="*/ 1086940 w 1317625"/>
              <a:gd name="connsiteY409" fmla="*/ 701354 h 1344613"/>
              <a:gd name="connsiteX410" fmla="*/ 1075210 w 1317625"/>
              <a:gd name="connsiteY410" fmla="*/ 684457 h 1344613"/>
              <a:gd name="connsiteX411" fmla="*/ 1063480 w 1317625"/>
              <a:gd name="connsiteY411" fmla="*/ 678120 h 1344613"/>
              <a:gd name="connsiteX412" fmla="*/ 818540 w 1317625"/>
              <a:gd name="connsiteY412" fmla="*/ 648759 h 1344613"/>
              <a:gd name="connsiteX413" fmla="*/ 819112 w 1317625"/>
              <a:gd name="connsiteY413" fmla="*/ 649143 h 1344613"/>
              <a:gd name="connsiteX414" fmla="*/ 820830 w 1317625"/>
              <a:gd name="connsiteY414" fmla="*/ 650298 h 1344613"/>
              <a:gd name="connsiteX415" fmla="*/ 822977 w 1317625"/>
              <a:gd name="connsiteY415" fmla="*/ 652607 h 1344613"/>
              <a:gd name="connsiteX416" fmla="*/ 825125 w 1317625"/>
              <a:gd name="connsiteY416" fmla="*/ 654339 h 1344613"/>
              <a:gd name="connsiteX417" fmla="*/ 827272 w 1317625"/>
              <a:gd name="connsiteY417" fmla="*/ 655493 h 1344613"/>
              <a:gd name="connsiteX418" fmla="*/ 829420 w 1317625"/>
              <a:gd name="connsiteY418" fmla="*/ 656648 h 1344613"/>
              <a:gd name="connsiteX419" fmla="*/ 831567 w 1317625"/>
              <a:gd name="connsiteY419" fmla="*/ 657225 h 1344613"/>
              <a:gd name="connsiteX420" fmla="*/ 833715 w 1317625"/>
              <a:gd name="connsiteY420" fmla="*/ 657802 h 1344613"/>
              <a:gd name="connsiteX421" fmla="*/ 835433 w 1317625"/>
              <a:gd name="connsiteY421" fmla="*/ 657802 h 1344613"/>
              <a:gd name="connsiteX422" fmla="*/ 837580 w 1317625"/>
              <a:gd name="connsiteY422" fmla="*/ 657225 h 1344613"/>
              <a:gd name="connsiteX423" fmla="*/ 839298 w 1317625"/>
              <a:gd name="connsiteY423" fmla="*/ 656648 h 1344613"/>
              <a:gd name="connsiteX424" fmla="*/ 839585 w 1317625"/>
              <a:gd name="connsiteY424" fmla="*/ 656519 h 1344613"/>
              <a:gd name="connsiteX425" fmla="*/ 838991 w 1317625"/>
              <a:gd name="connsiteY425" fmla="*/ 656696 h 1344613"/>
              <a:gd name="connsiteX426" fmla="*/ 836771 w 1317625"/>
              <a:gd name="connsiteY426" fmla="*/ 657226 h 1344613"/>
              <a:gd name="connsiteX427" fmla="*/ 834995 w 1317625"/>
              <a:gd name="connsiteY427" fmla="*/ 657226 h 1344613"/>
              <a:gd name="connsiteX428" fmla="*/ 832775 w 1317625"/>
              <a:gd name="connsiteY428" fmla="*/ 656696 h 1344613"/>
              <a:gd name="connsiteX429" fmla="*/ 830555 w 1317625"/>
              <a:gd name="connsiteY429" fmla="*/ 656167 h 1344613"/>
              <a:gd name="connsiteX430" fmla="*/ 828335 w 1317625"/>
              <a:gd name="connsiteY430" fmla="*/ 655109 h 1344613"/>
              <a:gd name="connsiteX431" fmla="*/ 826115 w 1317625"/>
              <a:gd name="connsiteY431" fmla="*/ 654051 h 1344613"/>
              <a:gd name="connsiteX432" fmla="*/ 823895 w 1317625"/>
              <a:gd name="connsiteY432" fmla="*/ 652463 h 1344613"/>
              <a:gd name="connsiteX433" fmla="*/ 821676 w 1317625"/>
              <a:gd name="connsiteY433" fmla="*/ 650346 h 1344613"/>
              <a:gd name="connsiteX434" fmla="*/ 819900 w 1317625"/>
              <a:gd name="connsiteY434" fmla="*/ 649288 h 1344613"/>
              <a:gd name="connsiteX435" fmla="*/ 819012 w 1317625"/>
              <a:gd name="connsiteY435" fmla="*/ 648759 h 1344613"/>
              <a:gd name="connsiteX436" fmla="*/ 861741 w 1317625"/>
              <a:gd name="connsiteY436" fmla="*/ 638002 h 1344613"/>
              <a:gd name="connsiteX437" fmla="*/ 859415 w 1317625"/>
              <a:gd name="connsiteY437" fmla="*/ 639234 h 1344613"/>
              <a:gd name="connsiteX438" fmla="*/ 859240 w 1317625"/>
              <a:gd name="connsiteY438" fmla="*/ 639339 h 1344613"/>
              <a:gd name="connsiteX439" fmla="*/ 861202 w 1317625"/>
              <a:gd name="connsiteY439" fmla="*/ 638752 h 1344613"/>
              <a:gd name="connsiteX440" fmla="*/ 862920 w 1317625"/>
              <a:gd name="connsiteY440" fmla="*/ 638175 h 1344613"/>
              <a:gd name="connsiteX441" fmla="*/ 863832 w 1317625"/>
              <a:gd name="connsiteY441" fmla="*/ 638175 h 1344613"/>
              <a:gd name="connsiteX442" fmla="*/ 707626 w 1317625"/>
              <a:gd name="connsiteY442" fmla="*/ 617607 h 1344613"/>
              <a:gd name="connsiteX443" fmla="*/ 709562 w 1317625"/>
              <a:gd name="connsiteY443" fmla="*/ 623001 h 1344613"/>
              <a:gd name="connsiteX444" fmla="*/ 712062 w 1317625"/>
              <a:gd name="connsiteY444" fmla="*/ 629337 h 1344613"/>
              <a:gd name="connsiteX445" fmla="*/ 713313 w 1317625"/>
              <a:gd name="connsiteY445" fmla="*/ 632505 h 1344613"/>
              <a:gd name="connsiteX446" fmla="*/ 715397 w 1317625"/>
              <a:gd name="connsiteY446" fmla="*/ 635673 h 1344613"/>
              <a:gd name="connsiteX447" fmla="*/ 717898 w 1317625"/>
              <a:gd name="connsiteY447" fmla="*/ 639369 h 1344613"/>
              <a:gd name="connsiteX448" fmla="*/ 720815 w 1317625"/>
              <a:gd name="connsiteY448" fmla="*/ 643593 h 1344613"/>
              <a:gd name="connsiteX449" fmla="*/ 724984 w 1317625"/>
              <a:gd name="connsiteY449" fmla="*/ 647289 h 1344613"/>
              <a:gd name="connsiteX450" fmla="*/ 729985 w 1317625"/>
              <a:gd name="connsiteY450" fmla="*/ 651513 h 1344613"/>
              <a:gd name="connsiteX451" fmla="*/ 736237 w 1317625"/>
              <a:gd name="connsiteY451" fmla="*/ 655737 h 1344613"/>
              <a:gd name="connsiteX452" fmla="*/ 743740 w 1317625"/>
              <a:gd name="connsiteY452" fmla="*/ 660489 h 1344613"/>
              <a:gd name="connsiteX453" fmla="*/ 738321 w 1317625"/>
              <a:gd name="connsiteY453" fmla="*/ 662073 h 1344613"/>
              <a:gd name="connsiteX454" fmla="*/ 732903 w 1317625"/>
              <a:gd name="connsiteY454" fmla="*/ 663657 h 1344613"/>
              <a:gd name="connsiteX455" fmla="*/ 732903 w 1317625"/>
              <a:gd name="connsiteY455" fmla="*/ 667353 h 1344613"/>
              <a:gd name="connsiteX456" fmla="*/ 732069 w 1317625"/>
              <a:gd name="connsiteY456" fmla="*/ 672104 h 1344613"/>
              <a:gd name="connsiteX457" fmla="*/ 731652 w 1317625"/>
              <a:gd name="connsiteY457" fmla="*/ 674744 h 1344613"/>
              <a:gd name="connsiteX458" fmla="*/ 730819 w 1317625"/>
              <a:gd name="connsiteY458" fmla="*/ 676856 h 1344613"/>
              <a:gd name="connsiteX459" fmla="*/ 729152 w 1317625"/>
              <a:gd name="connsiteY459" fmla="*/ 678968 h 1344613"/>
              <a:gd name="connsiteX460" fmla="*/ 727484 w 1317625"/>
              <a:gd name="connsiteY460" fmla="*/ 680024 h 1344613"/>
              <a:gd name="connsiteX461" fmla="*/ 728318 w 1317625"/>
              <a:gd name="connsiteY461" fmla="*/ 683192 h 1344613"/>
              <a:gd name="connsiteX462" fmla="*/ 729985 w 1317625"/>
              <a:gd name="connsiteY462" fmla="*/ 686360 h 1344613"/>
              <a:gd name="connsiteX463" fmla="*/ 732903 w 1317625"/>
              <a:gd name="connsiteY463" fmla="*/ 690056 h 1344613"/>
              <a:gd name="connsiteX464" fmla="*/ 735821 w 1317625"/>
              <a:gd name="connsiteY464" fmla="*/ 693224 h 1344613"/>
              <a:gd name="connsiteX465" fmla="*/ 728735 w 1317625"/>
              <a:gd name="connsiteY465" fmla="*/ 694280 h 1344613"/>
              <a:gd name="connsiteX466" fmla="*/ 720815 w 1317625"/>
              <a:gd name="connsiteY466" fmla="*/ 695336 h 1344613"/>
              <a:gd name="connsiteX467" fmla="*/ 712062 w 1317625"/>
              <a:gd name="connsiteY467" fmla="*/ 696392 h 1344613"/>
              <a:gd name="connsiteX468" fmla="*/ 702893 w 1317625"/>
              <a:gd name="connsiteY468" fmla="*/ 696920 h 1344613"/>
              <a:gd name="connsiteX469" fmla="*/ 692889 w 1317625"/>
              <a:gd name="connsiteY469" fmla="*/ 697448 h 1344613"/>
              <a:gd name="connsiteX470" fmla="*/ 682886 w 1317625"/>
              <a:gd name="connsiteY470" fmla="*/ 697448 h 1344613"/>
              <a:gd name="connsiteX471" fmla="*/ 672883 w 1317625"/>
              <a:gd name="connsiteY471" fmla="*/ 696920 h 1344613"/>
              <a:gd name="connsiteX472" fmla="*/ 663296 w 1317625"/>
              <a:gd name="connsiteY472" fmla="*/ 696392 h 1344613"/>
              <a:gd name="connsiteX473" fmla="*/ 661491 w 1317625"/>
              <a:gd name="connsiteY473" fmla="*/ 696512 h 1344613"/>
              <a:gd name="connsiteX474" fmla="*/ 650859 w 1317625"/>
              <a:gd name="connsiteY474" fmla="*/ 713906 h 1344613"/>
              <a:gd name="connsiteX475" fmla="*/ 650859 w 1317625"/>
              <a:gd name="connsiteY475" fmla="*/ 715704 h 1344613"/>
              <a:gd name="connsiteX476" fmla="*/ 650018 w 1317625"/>
              <a:gd name="connsiteY476" fmla="*/ 717502 h 1344613"/>
              <a:gd name="connsiteX477" fmla="*/ 649176 w 1317625"/>
              <a:gd name="connsiteY477" fmla="*/ 718700 h 1344613"/>
              <a:gd name="connsiteX478" fmla="*/ 648756 w 1317625"/>
              <a:gd name="connsiteY478" fmla="*/ 719899 h 1344613"/>
              <a:gd name="connsiteX479" fmla="*/ 647073 w 1317625"/>
              <a:gd name="connsiteY479" fmla="*/ 722297 h 1344613"/>
              <a:gd name="connsiteX480" fmla="*/ 646652 w 1317625"/>
              <a:gd name="connsiteY480" fmla="*/ 723495 h 1344613"/>
              <a:gd name="connsiteX481" fmla="*/ 646652 w 1317625"/>
              <a:gd name="connsiteY481" fmla="*/ 724694 h 1344613"/>
              <a:gd name="connsiteX482" fmla="*/ 647073 w 1317625"/>
              <a:gd name="connsiteY482" fmla="*/ 725293 h 1344613"/>
              <a:gd name="connsiteX483" fmla="*/ 647914 w 1317625"/>
              <a:gd name="connsiteY483" fmla="*/ 725293 h 1344613"/>
              <a:gd name="connsiteX484" fmla="*/ 649597 w 1317625"/>
              <a:gd name="connsiteY484" fmla="*/ 725893 h 1344613"/>
              <a:gd name="connsiteX485" fmla="*/ 655486 w 1317625"/>
              <a:gd name="connsiteY485" fmla="*/ 727092 h 1344613"/>
              <a:gd name="connsiteX486" fmla="*/ 665162 w 1317625"/>
              <a:gd name="connsiteY486" fmla="*/ 728290 h 1344613"/>
              <a:gd name="connsiteX487" fmla="*/ 663059 w 1317625"/>
              <a:gd name="connsiteY487" fmla="*/ 728890 h 1344613"/>
              <a:gd name="connsiteX488" fmla="*/ 659273 w 1317625"/>
              <a:gd name="connsiteY488" fmla="*/ 731287 h 1344613"/>
              <a:gd name="connsiteX489" fmla="*/ 655486 w 1317625"/>
              <a:gd name="connsiteY489" fmla="*/ 734284 h 1344613"/>
              <a:gd name="connsiteX490" fmla="*/ 650859 w 1317625"/>
              <a:gd name="connsiteY490" fmla="*/ 739079 h 1344613"/>
              <a:gd name="connsiteX491" fmla="*/ 646231 w 1317625"/>
              <a:gd name="connsiteY491" fmla="*/ 743275 h 1344613"/>
              <a:gd name="connsiteX492" fmla="*/ 644682 w 1317625"/>
              <a:gd name="connsiteY492" fmla="*/ 744820 h 1344613"/>
              <a:gd name="connsiteX493" fmla="*/ 646646 w 1317625"/>
              <a:gd name="connsiteY493" fmla="*/ 744820 h 1344613"/>
              <a:gd name="connsiteX494" fmla="*/ 648381 w 1317625"/>
              <a:gd name="connsiteY494" fmla="*/ 742199 h 1344613"/>
              <a:gd name="connsiteX495" fmla="*/ 652287 w 1317625"/>
              <a:gd name="connsiteY495" fmla="*/ 739055 h 1344613"/>
              <a:gd name="connsiteX496" fmla="*/ 657060 w 1317625"/>
              <a:gd name="connsiteY496" fmla="*/ 735386 h 1344613"/>
              <a:gd name="connsiteX497" fmla="*/ 662268 w 1317625"/>
              <a:gd name="connsiteY497" fmla="*/ 731717 h 1344613"/>
              <a:gd name="connsiteX498" fmla="*/ 667909 w 1317625"/>
              <a:gd name="connsiteY498" fmla="*/ 727524 h 1344613"/>
              <a:gd name="connsiteX499" fmla="*/ 672683 w 1317625"/>
              <a:gd name="connsiteY499" fmla="*/ 724903 h 1344613"/>
              <a:gd name="connsiteX500" fmla="*/ 676154 w 1317625"/>
              <a:gd name="connsiteY500" fmla="*/ 722807 h 1344613"/>
              <a:gd name="connsiteX501" fmla="*/ 678324 w 1317625"/>
              <a:gd name="connsiteY501" fmla="*/ 722283 h 1344613"/>
              <a:gd name="connsiteX502" fmla="*/ 706965 w 1317625"/>
              <a:gd name="connsiteY502" fmla="*/ 719138 h 1344613"/>
              <a:gd name="connsiteX503" fmla="*/ 708701 w 1317625"/>
              <a:gd name="connsiteY503" fmla="*/ 721235 h 1344613"/>
              <a:gd name="connsiteX504" fmla="*/ 710871 w 1317625"/>
              <a:gd name="connsiteY504" fmla="*/ 723331 h 1344613"/>
              <a:gd name="connsiteX505" fmla="*/ 712606 w 1317625"/>
              <a:gd name="connsiteY505" fmla="*/ 724903 h 1344613"/>
              <a:gd name="connsiteX506" fmla="*/ 714776 w 1317625"/>
              <a:gd name="connsiteY506" fmla="*/ 725952 h 1344613"/>
              <a:gd name="connsiteX507" fmla="*/ 718682 w 1317625"/>
              <a:gd name="connsiteY507" fmla="*/ 727524 h 1344613"/>
              <a:gd name="connsiteX508" fmla="*/ 724323 w 1317625"/>
              <a:gd name="connsiteY508" fmla="*/ 729096 h 1344613"/>
              <a:gd name="connsiteX509" fmla="*/ 726189 w 1317625"/>
              <a:gd name="connsiteY509" fmla="*/ 729186 h 1344613"/>
              <a:gd name="connsiteX510" fmla="*/ 723036 w 1317625"/>
              <a:gd name="connsiteY510" fmla="*/ 728191 h 1344613"/>
              <a:gd name="connsiteX511" fmla="*/ 718144 w 1317625"/>
              <a:gd name="connsiteY511" fmla="*/ 726646 h 1344613"/>
              <a:gd name="connsiteX512" fmla="*/ 714142 w 1317625"/>
              <a:gd name="connsiteY512" fmla="*/ 724587 h 1344613"/>
              <a:gd name="connsiteX513" fmla="*/ 711919 w 1317625"/>
              <a:gd name="connsiteY513" fmla="*/ 723042 h 1344613"/>
              <a:gd name="connsiteX514" fmla="*/ 710140 w 1317625"/>
              <a:gd name="connsiteY514" fmla="*/ 721497 h 1344613"/>
              <a:gd name="connsiteX515" fmla="*/ 707917 w 1317625"/>
              <a:gd name="connsiteY515" fmla="*/ 719438 h 1344613"/>
              <a:gd name="connsiteX516" fmla="*/ 706138 w 1317625"/>
              <a:gd name="connsiteY516" fmla="*/ 717379 h 1344613"/>
              <a:gd name="connsiteX517" fmla="*/ 679903 w 1317625"/>
              <a:gd name="connsiteY517" fmla="*/ 720468 h 1344613"/>
              <a:gd name="connsiteX518" fmla="*/ 669676 w 1317625"/>
              <a:gd name="connsiteY518" fmla="*/ 721497 h 1344613"/>
              <a:gd name="connsiteX519" fmla="*/ 662561 w 1317625"/>
              <a:gd name="connsiteY519" fmla="*/ 721497 h 1344613"/>
              <a:gd name="connsiteX520" fmla="*/ 660338 w 1317625"/>
              <a:gd name="connsiteY520" fmla="*/ 721497 h 1344613"/>
              <a:gd name="connsiteX521" fmla="*/ 659004 w 1317625"/>
              <a:gd name="connsiteY521" fmla="*/ 721497 h 1344613"/>
              <a:gd name="connsiteX522" fmla="*/ 657670 w 1317625"/>
              <a:gd name="connsiteY522" fmla="*/ 720983 h 1344613"/>
              <a:gd name="connsiteX523" fmla="*/ 657225 w 1317625"/>
              <a:gd name="connsiteY523" fmla="*/ 720468 h 1344613"/>
              <a:gd name="connsiteX524" fmla="*/ 657670 w 1317625"/>
              <a:gd name="connsiteY524" fmla="*/ 716864 h 1344613"/>
              <a:gd name="connsiteX525" fmla="*/ 659004 w 1317625"/>
              <a:gd name="connsiteY525" fmla="*/ 711200 h 1344613"/>
              <a:gd name="connsiteX526" fmla="*/ 674123 w 1317625"/>
              <a:gd name="connsiteY526" fmla="*/ 701933 h 1344613"/>
              <a:gd name="connsiteX527" fmla="*/ 680348 w 1317625"/>
              <a:gd name="connsiteY527" fmla="*/ 702962 h 1344613"/>
              <a:gd name="connsiteX528" fmla="*/ 686128 w 1317625"/>
              <a:gd name="connsiteY528" fmla="*/ 703477 h 1344613"/>
              <a:gd name="connsiteX529" fmla="*/ 691464 w 1317625"/>
              <a:gd name="connsiteY529" fmla="*/ 703992 h 1344613"/>
              <a:gd name="connsiteX530" fmla="*/ 696356 w 1317625"/>
              <a:gd name="connsiteY530" fmla="*/ 703992 h 1344613"/>
              <a:gd name="connsiteX531" fmla="*/ 705249 w 1317625"/>
              <a:gd name="connsiteY531" fmla="*/ 703477 h 1344613"/>
              <a:gd name="connsiteX532" fmla="*/ 712808 w 1317625"/>
              <a:gd name="connsiteY532" fmla="*/ 701933 h 1344613"/>
              <a:gd name="connsiteX533" fmla="*/ 726148 w 1317625"/>
              <a:gd name="connsiteY533" fmla="*/ 698329 h 1344613"/>
              <a:gd name="connsiteX534" fmla="*/ 739044 w 1317625"/>
              <a:gd name="connsiteY534" fmla="*/ 695239 h 1344613"/>
              <a:gd name="connsiteX535" fmla="*/ 735931 w 1317625"/>
              <a:gd name="connsiteY535" fmla="*/ 692150 h 1344613"/>
              <a:gd name="connsiteX536" fmla="*/ 732818 w 1317625"/>
              <a:gd name="connsiteY536" fmla="*/ 688546 h 1344613"/>
              <a:gd name="connsiteX537" fmla="*/ 731040 w 1317625"/>
              <a:gd name="connsiteY537" fmla="*/ 685457 h 1344613"/>
              <a:gd name="connsiteX538" fmla="*/ 730150 w 1317625"/>
              <a:gd name="connsiteY538" fmla="*/ 682368 h 1344613"/>
              <a:gd name="connsiteX539" fmla="*/ 731929 w 1317625"/>
              <a:gd name="connsiteY539" fmla="*/ 681338 h 1344613"/>
              <a:gd name="connsiteX540" fmla="*/ 733708 w 1317625"/>
              <a:gd name="connsiteY540" fmla="*/ 679279 h 1344613"/>
              <a:gd name="connsiteX541" fmla="*/ 734597 w 1317625"/>
              <a:gd name="connsiteY541" fmla="*/ 677219 h 1344613"/>
              <a:gd name="connsiteX542" fmla="*/ 735042 w 1317625"/>
              <a:gd name="connsiteY542" fmla="*/ 674645 h 1344613"/>
              <a:gd name="connsiteX543" fmla="*/ 735931 w 1317625"/>
              <a:gd name="connsiteY543" fmla="*/ 670011 h 1344613"/>
              <a:gd name="connsiteX544" fmla="*/ 735931 w 1317625"/>
              <a:gd name="connsiteY544" fmla="*/ 666407 h 1344613"/>
              <a:gd name="connsiteX545" fmla="*/ 741712 w 1317625"/>
              <a:gd name="connsiteY545" fmla="*/ 664862 h 1344613"/>
              <a:gd name="connsiteX546" fmla="*/ 747492 w 1317625"/>
              <a:gd name="connsiteY546" fmla="*/ 663318 h 1344613"/>
              <a:gd name="connsiteX547" fmla="*/ 791959 w 1317625"/>
              <a:gd name="connsiteY547" fmla="*/ 654050 h 1344613"/>
              <a:gd name="connsiteX548" fmla="*/ 799073 w 1317625"/>
              <a:gd name="connsiteY548" fmla="*/ 658169 h 1344613"/>
              <a:gd name="connsiteX549" fmla="*/ 803965 w 1317625"/>
              <a:gd name="connsiteY549" fmla="*/ 661258 h 1344613"/>
              <a:gd name="connsiteX550" fmla="*/ 805743 w 1317625"/>
              <a:gd name="connsiteY550" fmla="*/ 662803 h 1344613"/>
              <a:gd name="connsiteX551" fmla="*/ 808856 w 1317625"/>
              <a:gd name="connsiteY551" fmla="*/ 664347 h 1344613"/>
              <a:gd name="connsiteX552" fmla="*/ 811524 w 1317625"/>
              <a:gd name="connsiteY552" fmla="*/ 665377 h 1344613"/>
              <a:gd name="connsiteX553" fmla="*/ 814387 w 1317625"/>
              <a:gd name="connsiteY553" fmla="*/ 666114 h 1344613"/>
              <a:gd name="connsiteX554" fmla="*/ 814387 w 1317625"/>
              <a:gd name="connsiteY554" fmla="*/ 664997 h 1344613"/>
              <a:gd name="connsiteX555" fmla="*/ 811020 w 1317625"/>
              <a:gd name="connsiteY555" fmla="*/ 664105 h 1344613"/>
              <a:gd name="connsiteX556" fmla="*/ 808356 w 1317625"/>
              <a:gd name="connsiteY556" fmla="*/ 663046 h 1344613"/>
              <a:gd name="connsiteX557" fmla="*/ 805248 w 1317625"/>
              <a:gd name="connsiteY557" fmla="*/ 661459 h 1344613"/>
              <a:gd name="connsiteX558" fmla="*/ 803472 w 1317625"/>
              <a:gd name="connsiteY558" fmla="*/ 659871 h 1344613"/>
              <a:gd name="connsiteX559" fmla="*/ 798588 w 1317625"/>
              <a:gd name="connsiteY559" fmla="*/ 656696 h 1344613"/>
              <a:gd name="connsiteX560" fmla="*/ 791484 w 1317625"/>
              <a:gd name="connsiteY560" fmla="*/ 652463 h 1344613"/>
              <a:gd name="connsiteX561" fmla="*/ 747084 w 1317625"/>
              <a:gd name="connsiteY561" fmla="*/ 661988 h 1344613"/>
              <a:gd name="connsiteX562" fmla="*/ 739092 w 1317625"/>
              <a:gd name="connsiteY562" fmla="*/ 657226 h 1344613"/>
              <a:gd name="connsiteX563" fmla="*/ 732432 w 1317625"/>
              <a:gd name="connsiteY563" fmla="*/ 652992 h 1344613"/>
              <a:gd name="connsiteX564" fmla="*/ 727104 w 1317625"/>
              <a:gd name="connsiteY564" fmla="*/ 648759 h 1344613"/>
              <a:gd name="connsiteX565" fmla="*/ 722664 w 1317625"/>
              <a:gd name="connsiteY565" fmla="*/ 645055 h 1344613"/>
              <a:gd name="connsiteX566" fmla="*/ 719556 w 1317625"/>
              <a:gd name="connsiteY566" fmla="*/ 640821 h 1344613"/>
              <a:gd name="connsiteX567" fmla="*/ 716892 w 1317625"/>
              <a:gd name="connsiteY567" fmla="*/ 637117 h 1344613"/>
              <a:gd name="connsiteX568" fmla="*/ 714672 w 1317625"/>
              <a:gd name="connsiteY568" fmla="*/ 633942 h 1344613"/>
              <a:gd name="connsiteX569" fmla="*/ 713340 w 1317625"/>
              <a:gd name="connsiteY569" fmla="*/ 630767 h 1344613"/>
              <a:gd name="connsiteX570" fmla="*/ 710676 w 1317625"/>
              <a:gd name="connsiteY570" fmla="*/ 624417 h 1344613"/>
              <a:gd name="connsiteX571" fmla="*/ 708456 w 1317625"/>
              <a:gd name="connsiteY571" fmla="*/ 618596 h 1344613"/>
              <a:gd name="connsiteX572" fmla="*/ 468069 w 1317625"/>
              <a:gd name="connsiteY572" fmla="*/ 581025 h 1344613"/>
              <a:gd name="connsiteX573" fmla="*/ 468069 w 1317625"/>
              <a:gd name="connsiteY573" fmla="*/ 593676 h 1344613"/>
              <a:gd name="connsiteX574" fmla="*/ 476518 w 1317625"/>
              <a:gd name="connsiteY574" fmla="*/ 597893 h 1344613"/>
              <a:gd name="connsiteX575" fmla="*/ 484523 w 1317625"/>
              <a:gd name="connsiteY575" fmla="*/ 602110 h 1344613"/>
              <a:gd name="connsiteX576" fmla="*/ 492527 w 1317625"/>
              <a:gd name="connsiteY576" fmla="*/ 607381 h 1344613"/>
              <a:gd name="connsiteX577" fmla="*/ 500087 w 1317625"/>
              <a:gd name="connsiteY577" fmla="*/ 613180 h 1344613"/>
              <a:gd name="connsiteX578" fmla="*/ 508091 w 1317625"/>
              <a:gd name="connsiteY578" fmla="*/ 618978 h 1344613"/>
              <a:gd name="connsiteX579" fmla="*/ 516096 w 1317625"/>
              <a:gd name="connsiteY579" fmla="*/ 623722 h 1344613"/>
              <a:gd name="connsiteX580" fmla="*/ 524100 w 1317625"/>
              <a:gd name="connsiteY580" fmla="*/ 628466 h 1344613"/>
              <a:gd name="connsiteX581" fmla="*/ 532994 w 1317625"/>
              <a:gd name="connsiteY581" fmla="*/ 632683 h 1344613"/>
              <a:gd name="connsiteX582" fmla="*/ 536107 w 1317625"/>
              <a:gd name="connsiteY582" fmla="*/ 634265 h 1344613"/>
              <a:gd name="connsiteX583" fmla="*/ 542333 w 1317625"/>
              <a:gd name="connsiteY583" fmla="*/ 637427 h 1344613"/>
              <a:gd name="connsiteX584" fmla="*/ 546335 w 1317625"/>
              <a:gd name="connsiteY584" fmla="*/ 639536 h 1344613"/>
              <a:gd name="connsiteX585" fmla="*/ 549892 w 1317625"/>
              <a:gd name="connsiteY585" fmla="*/ 641117 h 1344613"/>
              <a:gd name="connsiteX586" fmla="*/ 553895 w 1317625"/>
              <a:gd name="connsiteY586" fmla="*/ 642171 h 1344613"/>
              <a:gd name="connsiteX587" fmla="*/ 556563 w 1317625"/>
              <a:gd name="connsiteY587" fmla="*/ 642699 h 1344613"/>
              <a:gd name="connsiteX588" fmla="*/ 565457 w 1317625"/>
              <a:gd name="connsiteY588" fmla="*/ 643226 h 1344613"/>
              <a:gd name="connsiteX589" fmla="*/ 569957 w 1317625"/>
              <a:gd name="connsiteY589" fmla="*/ 644068 h 1344613"/>
              <a:gd name="connsiteX590" fmla="*/ 570740 w 1317625"/>
              <a:gd name="connsiteY590" fmla="*/ 636080 h 1344613"/>
              <a:gd name="connsiteX591" fmla="*/ 570326 w 1317625"/>
              <a:gd name="connsiteY591" fmla="*/ 631254 h 1344613"/>
              <a:gd name="connsiteX592" fmla="*/ 570740 w 1317625"/>
              <a:gd name="connsiteY592" fmla="*/ 630048 h 1344613"/>
              <a:gd name="connsiteX593" fmla="*/ 571155 w 1317625"/>
              <a:gd name="connsiteY593" fmla="*/ 630048 h 1344613"/>
              <a:gd name="connsiteX594" fmla="*/ 572397 w 1317625"/>
              <a:gd name="connsiteY594" fmla="*/ 628841 h 1344613"/>
              <a:gd name="connsiteX595" fmla="*/ 575296 w 1317625"/>
              <a:gd name="connsiteY595" fmla="*/ 628841 h 1344613"/>
              <a:gd name="connsiteX596" fmla="*/ 588962 w 1317625"/>
              <a:gd name="connsiteY596" fmla="*/ 614363 h 1344613"/>
              <a:gd name="connsiteX597" fmla="*/ 588962 w 1317625"/>
              <a:gd name="connsiteY597" fmla="*/ 648083 h 1344613"/>
              <a:gd name="connsiteX598" fmla="*/ 592138 w 1317625"/>
              <a:gd name="connsiteY598" fmla="*/ 649024 h 1344613"/>
              <a:gd name="connsiteX599" fmla="*/ 589470 w 1317625"/>
              <a:gd name="connsiteY599" fmla="*/ 652714 h 1344613"/>
              <a:gd name="connsiteX600" fmla="*/ 588962 w 1317625"/>
              <a:gd name="connsiteY600" fmla="*/ 654068 h 1344613"/>
              <a:gd name="connsiteX601" fmla="*/ 588962 w 1317625"/>
              <a:gd name="connsiteY601" fmla="*/ 674688 h 1344613"/>
              <a:gd name="connsiteX602" fmla="*/ 586477 w 1317625"/>
              <a:gd name="connsiteY602" fmla="*/ 673482 h 1344613"/>
              <a:gd name="connsiteX603" fmla="*/ 583633 w 1317625"/>
              <a:gd name="connsiteY603" fmla="*/ 668746 h 1344613"/>
              <a:gd name="connsiteX604" fmla="*/ 580576 w 1317625"/>
              <a:gd name="connsiteY604" fmla="*/ 680651 h 1344613"/>
              <a:gd name="connsiteX605" fmla="*/ 576574 w 1317625"/>
              <a:gd name="connsiteY605" fmla="*/ 692775 h 1344613"/>
              <a:gd name="connsiteX606" fmla="*/ 572572 w 1317625"/>
              <a:gd name="connsiteY606" fmla="*/ 705426 h 1344613"/>
              <a:gd name="connsiteX607" fmla="*/ 567680 w 1317625"/>
              <a:gd name="connsiteY607" fmla="*/ 715969 h 1344613"/>
              <a:gd name="connsiteX608" fmla="*/ 565457 w 1317625"/>
              <a:gd name="connsiteY608" fmla="*/ 720713 h 1344613"/>
              <a:gd name="connsiteX609" fmla="*/ 562789 w 1317625"/>
              <a:gd name="connsiteY609" fmla="*/ 724403 h 1344613"/>
              <a:gd name="connsiteX610" fmla="*/ 559676 w 1317625"/>
              <a:gd name="connsiteY610" fmla="*/ 728093 h 1344613"/>
              <a:gd name="connsiteX611" fmla="*/ 556563 w 1317625"/>
              <a:gd name="connsiteY611" fmla="*/ 730201 h 1344613"/>
              <a:gd name="connsiteX612" fmla="*/ 557008 w 1317625"/>
              <a:gd name="connsiteY612" fmla="*/ 731782 h 1344613"/>
              <a:gd name="connsiteX613" fmla="*/ 558342 w 1317625"/>
              <a:gd name="connsiteY613" fmla="*/ 733891 h 1344613"/>
              <a:gd name="connsiteX614" fmla="*/ 560565 w 1317625"/>
              <a:gd name="connsiteY614" fmla="*/ 735999 h 1344613"/>
              <a:gd name="connsiteX615" fmla="*/ 563233 w 1317625"/>
              <a:gd name="connsiteY615" fmla="*/ 738108 h 1344613"/>
              <a:gd name="connsiteX616" fmla="*/ 566346 w 1317625"/>
              <a:gd name="connsiteY616" fmla="*/ 739689 h 1344613"/>
              <a:gd name="connsiteX617" fmla="*/ 569014 w 1317625"/>
              <a:gd name="connsiteY617" fmla="*/ 741271 h 1344613"/>
              <a:gd name="connsiteX618" fmla="*/ 571682 w 1317625"/>
              <a:gd name="connsiteY618" fmla="*/ 742852 h 1344613"/>
              <a:gd name="connsiteX619" fmla="*/ 573906 w 1317625"/>
              <a:gd name="connsiteY619" fmla="*/ 742852 h 1344613"/>
              <a:gd name="connsiteX620" fmla="*/ 573906 w 1317625"/>
              <a:gd name="connsiteY620" fmla="*/ 752867 h 1344613"/>
              <a:gd name="connsiteX621" fmla="*/ 573906 w 1317625"/>
              <a:gd name="connsiteY621" fmla="*/ 757084 h 1344613"/>
              <a:gd name="connsiteX622" fmla="*/ 573461 w 1317625"/>
              <a:gd name="connsiteY622" fmla="*/ 760247 h 1344613"/>
              <a:gd name="connsiteX623" fmla="*/ 573461 w 1317625"/>
              <a:gd name="connsiteY623" fmla="*/ 762356 h 1344613"/>
              <a:gd name="connsiteX624" fmla="*/ 572572 w 1317625"/>
              <a:gd name="connsiteY624" fmla="*/ 763937 h 1344613"/>
              <a:gd name="connsiteX625" fmla="*/ 571682 w 1317625"/>
              <a:gd name="connsiteY625" fmla="*/ 767100 h 1344613"/>
              <a:gd name="connsiteX626" fmla="*/ 571238 w 1317625"/>
              <a:gd name="connsiteY626" fmla="*/ 772371 h 1344613"/>
              <a:gd name="connsiteX627" fmla="*/ 571682 w 1317625"/>
              <a:gd name="connsiteY627" fmla="*/ 777115 h 1344613"/>
              <a:gd name="connsiteX628" fmla="*/ 571682 w 1317625"/>
              <a:gd name="connsiteY628" fmla="*/ 781859 h 1344613"/>
              <a:gd name="connsiteX629" fmla="*/ 572572 w 1317625"/>
              <a:gd name="connsiteY629" fmla="*/ 787130 h 1344613"/>
              <a:gd name="connsiteX630" fmla="*/ 573461 w 1317625"/>
              <a:gd name="connsiteY630" fmla="*/ 791347 h 1344613"/>
              <a:gd name="connsiteX631" fmla="*/ 574350 w 1317625"/>
              <a:gd name="connsiteY631" fmla="*/ 796092 h 1344613"/>
              <a:gd name="connsiteX632" fmla="*/ 576574 w 1317625"/>
              <a:gd name="connsiteY632" fmla="*/ 800309 h 1344613"/>
              <a:gd name="connsiteX633" fmla="*/ 577908 w 1317625"/>
              <a:gd name="connsiteY633" fmla="*/ 803998 h 1344613"/>
              <a:gd name="connsiteX634" fmla="*/ 580576 w 1317625"/>
              <a:gd name="connsiteY634" fmla="*/ 807688 h 1344613"/>
              <a:gd name="connsiteX635" fmla="*/ 573461 w 1317625"/>
              <a:gd name="connsiteY635" fmla="*/ 815068 h 1344613"/>
              <a:gd name="connsiteX636" fmla="*/ 567235 w 1317625"/>
              <a:gd name="connsiteY636" fmla="*/ 821921 h 1344613"/>
              <a:gd name="connsiteX637" fmla="*/ 560565 w 1317625"/>
              <a:gd name="connsiteY637" fmla="*/ 828246 h 1344613"/>
              <a:gd name="connsiteX638" fmla="*/ 553450 w 1317625"/>
              <a:gd name="connsiteY638" fmla="*/ 834044 h 1344613"/>
              <a:gd name="connsiteX639" fmla="*/ 549892 w 1317625"/>
              <a:gd name="connsiteY639" fmla="*/ 836153 h 1344613"/>
              <a:gd name="connsiteX640" fmla="*/ 546335 w 1317625"/>
              <a:gd name="connsiteY640" fmla="*/ 837734 h 1344613"/>
              <a:gd name="connsiteX641" fmla="*/ 541888 w 1317625"/>
              <a:gd name="connsiteY641" fmla="*/ 838789 h 1344613"/>
              <a:gd name="connsiteX642" fmla="*/ 537886 w 1317625"/>
              <a:gd name="connsiteY642" fmla="*/ 838789 h 1344613"/>
              <a:gd name="connsiteX643" fmla="*/ 533439 w 1317625"/>
              <a:gd name="connsiteY643" fmla="*/ 838261 h 1344613"/>
              <a:gd name="connsiteX644" fmla="*/ 528547 w 1317625"/>
              <a:gd name="connsiteY644" fmla="*/ 836680 h 1344613"/>
              <a:gd name="connsiteX645" fmla="*/ 523211 w 1317625"/>
              <a:gd name="connsiteY645" fmla="*/ 834572 h 1344613"/>
              <a:gd name="connsiteX646" fmla="*/ 517875 w 1317625"/>
              <a:gd name="connsiteY646" fmla="*/ 830882 h 1344613"/>
              <a:gd name="connsiteX647" fmla="*/ 513428 w 1317625"/>
              <a:gd name="connsiteY647" fmla="*/ 826665 h 1344613"/>
              <a:gd name="connsiteX648" fmla="*/ 508981 w 1317625"/>
              <a:gd name="connsiteY648" fmla="*/ 823502 h 1344613"/>
              <a:gd name="connsiteX649" fmla="*/ 507202 w 1317625"/>
              <a:gd name="connsiteY649" fmla="*/ 822448 h 1344613"/>
              <a:gd name="connsiteX650" fmla="*/ 504534 w 1317625"/>
              <a:gd name="connsiteY650" fmla="*/ 821921 h 1344613"/>
              <a:gd name="connsiteX651" fmla="*/ 502755 w 1317625"/>
              <a:gd name="connsiteY651" fmla="*/ 821393 h 1344613"/>
              <a:gd name="connsiteX652" fmla="*/ 500087 w 1317625"/>
              <a:gd name="connsiteY652" fmla="*/ 821393 h 1344613"/>
              <a:gd name="connsiteX653" fmla="*/ 496974 w 1317625"/>
              <a:gd name="connsiteY653" fmla="*/ 821393 h 1344613"/>
              <a:gd name="connsiteX654" fmla="*/ 493861 w 1317625"/>
              <a:gd name="connsiteY654" fmla="*/ 821921 h 1344613"/>
              <a:gd name="connsiteX655" fmla="*/ 490749 w 1317625"/>
              <a:gd name="connsiteY655" fmla="*/ 822975 h 1344613"/>
              <a:gd name="connsiteX656" fmla="*/ 487636 w 1317625"/>
              <a:gd name="connsiteY656" fmla="*/ 824556 h 1344613"/>
              <a:gd name="connsiteX657" fmla="*/ 484968 w 1317625"/>
              <a:gd name="connsiteY657" fmla="*/ 826138 h 1344613"/>
              <a:gd name="connsiteX658" fmla="*/ 482299 w 1317625"/>
              <a:gd name="connsiteY658" fmla="*/ 827719 h 1344613"/>
              <a:gd name="connsiteX659" fmla="*/ 479631 w 1317625"/>
              <a:gd name="connsiteY659" fmla="*/ 829827 h 1344613"/>
              <a:gd name="connsiteX660" fmla="*/ 477408 w 1317625"/>
              <a:gd name="connsiteY660" fmla="*/ 832463 h 1344613"/>
              <a:gd name="connsiteX661" fmla="*/ 473406 w 1317625"/>
              <a:gd name="connsiteY661" fmla="*/ 837207 h 1344613"/>
              <a:gd name="connsiteX662" fmla="*/ 470293 w 1317625"/>
              <a:gd name="connsiteY662" fmla="*/ 842478 h 1344613"/>
              <a:gd name="connsiteX663" fmla="*/ 469403 w 1317625"/>
              <a:gd name="connsiteY663" fmla="*/ 846168 h 1344613"/>
              <a:gd name="connsiteX664" fmla="*/ 468514 w 1317625"/>
              <a:gd name="connsiteY664" fmla="*/ 848804 h 1344613"/>
              <a:gd name="connsiteX665" fmla="*/ 468069 w 1317625"/>
              <a:gd name="connsiteY665" fmla="*/ 850912 h 1344613"/>
              <a:gd name="connsiteX666" fmla="*/ 468069 w 1317625"/>
              <a:gd name="connsiteY666" fmla="*/ 852330 h 1344613"/>
              <a:gd name="connsiteX667" fmla="*/ 469547 w 1317625"/>
              <a:gd name="connsiteY667" fmla="*/ 847725 h 1344613"/>
              <a:gd name="connsiteX668" fmla="*/ 473026 w 1317625"/>
              <a:gd name="connsiteY668" fmla="*/ 860084 h 1344613"/>
              <a:gd name="connsiteX669" fmla="*/ 473840 w 1317625"/>
              <a:gd name="connsiteY669" fmla="*/ 858109 h 1344613"/>
              <a:gd name="connsiteX670" fmla="*/ 475143 w 1317625"/>
              <a:gd name="connsiteY670" fmla="*/ 856001 h 1344613"/>
              <a:gd name="connsiteX671" fmla="*/ 476446 w 1317625"/>
              <a:gd name="connsiteY671" fmla="*/ 853893 h 1344613"/>
              <a:gd name="connsiteX672" fmla="*/ 477315 w 1317625"/>
              <a:gd name="connsiteY672" fmla="*/ 852839 h 1344613"/>
              <a:gd name="connsiteX673" fmla="*/ 478617 w 1317625"/>
              <a:gd name="connsiteY673" fmla="*/ 852312 h 1344613"/>
              <a:gd name="connsiteX674" fmla="*/ 481657 w 1317625"/>
              <a:gd name="connsiteY674" fmla="*/ 853366 h 1344613"/>
              <a:gd name="connsiteX675" fmla="*/ 484263 w 1317625"/>
              <a:gd name="connsiteY675" fmla="*/ 853366 h 1344613"/>
              <a:gd name="connsiteX676" fmla="*/ 487303 w 1317625"/>
              <a:gd name="connsiteY676" fmla="*/ 853366 h 1344613"/>
              <a:gd name="connsiteX677" fmla="*/ 489909 w 1317625"/>
              <a:gd name="connsiteY677" fmla="*/ 853366 h 1344613"/>
              <a:gd name="connsiteX678" fmla="*/ 493383 w 1317625"/>
              <a:gd name="connsiteY678" fmla="*/ 852839 h 1344613"/>
              <a:gd name="connsiteX679" fmla="*/ 496423 w 1317625"/>
              <a:gd name="connsiteY679" fmla="*/ 852839 h 1344613"/>
              <a:gd name="connsiteX680" fmla="*/ 499463 w 1317625"/>
              <a:gd name="connsiteY680" fmla="*/ 853366 h 1344613"/>
              <a:gd name="connsiteX681" fmla="*/ 502504 w 1317625"/>
              <a:gd name="connsiteY681" fmla="*/ 853893 h 1344613"/>
              <a:gd name="connsiteX682" fmla="*/ 503372 w 1317625"/>
              <a:gd name="connsiteY682" fmla="*/ 855474 h 1344613"/>
              <a:gd name="connsiteX683" fmla="*/ 504241 w 1317625"/>
              <a:gd name="connsiteY683" fmla="*/ 858109 h 1344613"/>
              <a:gd name="connsiteX684" fmla="*/ 505544 w 1317625"/>
              <a:gd name="connsiteY684" fmla="*/ 861270 h 1344613"/>
              <a:gd name="connsiteX685" fmla="*/ 505978 w 1317625"/>
              <a:gd name="connsiteY685" fmla="*/ 865485 h 1344613"/>
              <a:gd name="connsiteX686" fmla="*/ 506412 w 1317625"/>
              <a:gd name="connsiteY686" fmla="*/ 869701 h 1344613"/>
              <a:gd name="connsiteX687" fmla="*/ 506412 w 1317625"/>
              <a:gd name="connsiteY687" fmla="*/ 873389 h 1344613"/>
              <a:gd name="connsiteX688" fmla="*/ 505978 w 1317625"/>
              <a:gd name="connsiteY688" fmla="*/ 876024 h 1344613"/>
              <a:gd name="connsiteX689" fmla="*/ 505544 w 1317625"/>
              <a:gd name="connsiteY689" fmla="*/ 876551 h 1344613"/>
              <a:gd name="connsiteX690" fmla="*/ 499463 w 1317625"/>
              <a:gd name="connsiteY690" fmla="*/ 878131 h 1344613"/>
              <a:gd name="connsiteX691" fmla="*/ 493818 w 1317625"/>
              <a:gd name="connsiteY691" fmla="*/ 880239 h 1344613"/>
              <a:gd name="connsiteX692" fmla="*/ 489040 w 1317625"/>
              <a:gd name="connsiteY692" fmla="*/ 882347 h 1344613"/>
              <a:gd name="connsiteX693" fmla="*/ 484263 w 1317625"/>
              <a:gd name="connsiteY693" fmla="*/ 884981 h 1344613"/>
              <a:gd name="connsiteX694" fmla="*/ 479920 w 1317625"/>
              <a:gd name="connsiteY694" fmla="*/ 888143 h 1344613"/>
              <a:gd name="connsiteX695" fmla="*/ 476012 w 1317625"/>
              <a:gd name="connsiteY695" fmla="*/ 891304 h 1344613"/>
              <a:gd name="connsiteX696" fmla="*/ 472537 w 1317625"/>
              <a:gd name="connsiteY696" fmla="*/ 894466 h 1344613"/>
              <a:gd name="connsiteX697" fmla="*/ 470455 w 1317625"/>
              <a:gd name="connsiteY697" fmla="*/ 896431 h 1344613"/>
              <a:gd name="connsiteX698" fmla="*/ 468489 w 1317625"/>
              <a:gd name="connsiteY698" fmla="*/ 904875 h 1344613"/>
              <a:gd name="connsiteX699" fmla="*/ 467091 w 1317625"/>
              <a:gd name="connsiteY699" fmla="*/ 899951 h 1344613"/>
              <a:gd name="connsiteX700" fmla="*/ 456903 w 1317625"/>
              <a:gd name="connsiteY700" fmla="*/ 911854 h 1344613"/>
              <a:gd name="connsiteX701" fmla="*/ 447783 w 1317625"/>
              <a:gd name="connsiteY701" fmla="*/ 921865 h 1344613"/>
              <a:gd name="connsiteX702" fmla="*/ 444308 w 1317625"/>
              <a:gd name="connsiteY702" fmla="*/ 923973 h 1344613"/>
              <a:gd name="connsiteX703" fmla="*/ 442137 w 1317625"/>
              <a:gd name="connsiteY703" fmla="*/ 926081 h 1344613"/>
              <a:gd name="connsiteX704" fmla="*/ 439531 w 1317625"/>
              <a:gd name="connsiteY704" fmla="*/ 928188 h 1344613"/>
              <a:gd name="connsiteX705" fmla="*/ 437794 w 1317625"/>
              <a:gd name="connsiteY705" fmla="*/ 930823 h 1344613"/>
              <a:gd name="connsiteX706" fmla="*/ 434320 w 1317625"/>
              <a:gd name="connsiteY706" fmla="*/ 935565 h 1344613"/>
              <a:gd name="connsiteX707" fmla="*/ 432582 w 1317625"/>
              <a:gd name="connsiteY707" fmla="*/ 940307 h 1344613"/>
              <a:gd name="connsiteX708" fmla="*/ 431280 w 1317625"/>
              <a:gd name="connsiteY708" fmla="*/ 945050 h 1344613"/>
              <a:gd name="connsiteX709" fmla="*/ 430845 w 1317625"/>
              <a:gd name="connsiteY709" fmla="*/ 949792 h 1344613"/>
              <a:gd name="connsiteX710" fmla="*/ 430411 w 1317625"/>
              <a:gd name="connsiteY710" fmla="*/ 954534 h 1344613"/>
              <a:gd name="connsiteX711" fmla="*/ 430845 w 1317625"/>
              <a:gd name="connsiteY711" fmla="*/ 959803 h 1344613"/>
              <a:gd name="connsiteX712" fmla="*/ 430845 w 1317625"/>
              <a:gd name="connsiteY712" fmla="*/ 965072 h 1344613"/>
              <a:gd name="connsiteX713" fmla="*/ 431280 w 1317625"/>
              <a:gd name="connsiteY713" fmla="*/ 969815 h 1344613"/>
              <a:gd name="connsiteX714" fmla="*/ 430845 w 1317625"/>
              <a:gd name="connsiteY714" fmla="*/ 975084 h 1344613"/>
              <a:gd name="connsiteX715" fmla="*/ 430411 w 1317625"/>
              <a:gd name="connsiteY715" fmla="*/ 979826 h 1344613"/>
              <a:gd name="connsiteX716" fmla="*/ 429108 w 1317625"/>
              <a:gd name="connsiteY716" fmla="*/ 985095 h 1344613"/>
              <a:gd name="connsiteX717" fmla="*/ 426502 w 1317625"/>
              <a:gd name="connsiteY717" fmla="*/ 990364 h 1344613"/>
              <a:gd name="connsiteX718" fmla="*/ 425200 w 1317625"/>
              <a:gd name="connsiteY718" fmla="*/ 992999 h 1344613"/>
              <a:gd name="connsiteX719" fmla="*/ 423462 w 1317625"/>
              <a:gd name="connsiteY719" fmla="*/ 995106 h 1344613"/>
              <a:gd name="connsiteX720" fmla="*/ 420857 w 1317625"/>
              <a:gd name="connsiteY720" fmla="*/ 997741 h 1344613"/>
              <a:gd name="connsiteX721" fmla="*/ 418685 w 1317625"/>
              <a:gd name="connsiteY721" fmla="*/ 999849 h 1344613"/>
              <a:gd name="connsiteX722" fmla="*/ 410434 w 1317625"/>
              <a:gd name="connsiteY722" fmla="*/ 1007225 h 1344613"/>
              <a:gd name="connsiteX723" fmla="*/ 403919 w 1317625"/>
              <a:gd name="connsiteY723" fmla="*/ 1013548 h 1344613"/>
              <a:gd name="connsiteX724" fmla="*/ 398708 w 1317625"/>
              <a:gd name="connsiteY724" fmla="*/ 1018818 h 1344613"/>
              <a:gd name="connsiteX725" fmla="*/ 394799 w 1317625"/>
              <a:gd name="connsiteY725" fmla="*/ 1024087 h 1344613"/>
              <a:gd name="connsiteX726" fmla="*/ 391759 w 1317625"/>
              <a:gd name="connsiteY726" fmla="*/ 1027775 h 1344613"/>
              <a:gd name="connsiteX727" fmla="*/ 390022 w 1317625"/>
              <a:gd name="connsiteY727" fmla="*/ 1030937 h 1344613"/>
              <a:gd name="connsiteX728" fmla="*/ 388719 w 1317625"/>
              <a:gd name="connsiteY728" fmla="*/ 1033571 h 1344613"/>
              <a:gd name="connsiteX729" fmla="*/ 387850 w 1317625"/>
              <a:gd name="connsiteY729" fmla="*/ 1035152 h 1344613"/>
              <a:gd name="connsiteX730" fmla="*/ 387416 w 1317625"/>
              <a:gd name="connsiteY730" fmla="*/ 1037787 h 1344613"/>
              <a:gd name="connsiteX731" fmla="*/ 387416 w 1317625"/>
              <a:gd name="connsiteY731" fmla="*/ 1038840 h 1344613"/>
              <a:gd name="connsiteX732" fmla="*/ 385679 w 1317625"/>
              <a:gd name="connsiteY732" fmla="*/ 1038840 h 1344613"/>
              <a:gd name="connsiteX733" fmla="*/ 380902 w 1317625"/>
              <a:gd name="connsiteY733" fmla="*/ 1038840 h 1344613"/>
              <a:gd name="connsiteX734" fmla="*/ 370044 w 1317625"/>
              <a:gd name="connsiteY734" fmla="*/ 1037787 h 1344613"/>
              <a:gd name="connsiteX735" fmla="*/ 360056 w 1317625"/>
              <a:gd name="connsiteY735" fmla="*/ 1037260 h 1344613"/>
              <a:gd name="connsiteX736" fmla="*/ 351370 w 1317625"/>
              <a:gd name="connsiteY736" fmla="*/ 1037260 h 1344613"/>
              <a:gd name="connsiteX737" fmla="*/ 343553 w 1317625"/>
              <a:gd name="connsiteY737" fmla="*/ 1038313 h 1344613"/>
              <a:gd name="connsiteX738" fmla="*/ 337038 w 1317625"/>
              <a:gd name="connsiteY738" fmla="*/ 1039894 h 1344613"/>
              <a:gd name="connsiteX739" fmla="*/ 331827 w 1317625"/>
              <a:gd name="connsiteY739" fmla="*/ 1041475 h 1344613"/>
              <a:gd name="connsiteX740" fmla="*/ 327049 w 1317625"/>
              <a:gd name="connsiteY740" fmla="*/ 1043583 h 1344613"/>
              <a:gd name="connsiteX741" fmla="*/ 322707 w 1317625"/>
              <a:gd name="connsiteY741" fmla="*/ 1046217 h 1344613"/>
              <a:gd name="connsiteX742" fmla="*/ 316192 w 1317625"/>
              <a:gd name="connsiteY742" fmla="*/ 1051486 h 1344613"/>
              <a:gd name="connsiteX743" fmla="*/ 311415 w 1317625"/>
              <a:gd name="connsiteY743" fmla="*/ 1055702 h 1344613"/>
              <a:gd name="connsiteX744" fmla="*/ 309244 w 1317625"/>
              <a:gd name="connsiteY744" fmla="*/ 1057282 h 1344613"/>
              <a:gd name="connsiteX745" fmla="*/ 307506 w 1317625"/>
              <a:gd name="connsiteY745" fmla="*/ 1058336 h 1344613"/>
              <a:gd name="connsiteX746" fmla="*/ 304901 w 1317625"/>
              <a:gd name="connsiteY746" fmla="*/ 1058863 h 1344613"/>
              <a:gd name="connsiteX747" fmla="*/ 303163 w 1317625"/>
              <a:gd name="connsiteY747" fmla="*/ 1058336 h 1344613"/>
              <a:gd name="connsiteX748" fmla="*/ 301861 w 1317625"/>
              <a:gd name="connsiteY748" fmla="*/ 1057809 h 1344613"/>
              <a:gd name="connsiteX749" fmla="*/ 300123 w 1317625"/>
              <a:gd name="connsiteY749" fmla="*/ 1056229 h 1344613"/>
              <a:gd name="connsiteX750" fmla="*/ 298820 w 1317625"/>
              <a:gd name="connsiteY750" fmla="*/ 1054121 h 1344613"/>
              <a:gd name="connsiteX751" fmla="*/ 297518 w 1317625"/>
              <a:gd name="connsiteY751" fmla="*/ 1051486 h 1344613"/>
              <a:gd name="connsiteX752" fmla="*/ 294478 w 1317625"/>
              <a:gd name="connsiteY752" fmla="*/ 1045163 h 1344613"/>
              <a:gd name="connsiteX753" fmla="*/ 291872 w 1317625"/>
              <a:gd name="connsiteY753" fmla="*/ 1038840 h 1344613"/>
              <a:gd name="connsiteX754" fmla="*/ 289700 w 1317625"/>
              <a:gd name="connsiteY754" fmla="*/ 1035679 h 1344613"/>
              <a:gd name="connsiteX755" fmla="*/ 287963 w 1317625"/>
              <a:gd name="connsiteY755" fmla="*/ 1032517 h 1344613"/>
              <a:gd name="connsiteX756" fmla="*/ 286226 w 1317625"/>
              <a:gd name="connsiteY756" fmla="*/ 1029356 h 1344613"/>
              <a:gd name="connsiteX757" fmla="*/ 283620 w 1317625"/>
              <a:gd name="connsiteY757" fmla="*/ 1026721 h 1344613"/>
              <a:gd name="connsiteX758" fmla="*/ 281449 w 1317625"/>
              <a:gd name="connsiteY758" fmla="*/ 1024087 h 1344613"/>
              <a:gd name="connsiteX759" fmla="*/ 278409 w 1317625"/>
              <a:gd name="connsiteY759" fmla="*/ 1021979 h 1344613"/>
              <a:gd name="connsiteX760" fmla="*/ 274934 w 1317625"/>
              <a:gd name="connsiteY760" fmla="*/ 1020398 h 1344613"/>
              <a:gd name="connsiteX761" fmla="*/ 271894 w 1317625"/>
              <a:gd name="connsiteY761" fmla="*/ 1019871 h 1344613"/>
              <a:gd name="connsiteX762" fmla="*/ 274934 w 1317625"/>
              <a:gd name="connsiteY762" fmla="*/ 1010914 h 1344613"/>
              <a:gd name="connsiteX763" fmla="*/ 277974 w 1317625"/>
              <a:gd name="connsiteY763" fmla="*/ 1003537 h 1344613"/>
              <a:gd name="connsiteX764" fmla="*/ 279277 w 1317625"/>
              <a:gd name="connsiteY764" fmla="*/ 996160 h 1344613"/>
              <a:gd name="connsiteX765" fmla="*/ 279345 w 1317625"/>
              <a:gd name="connsiteY765" fmla="*/ 995540 h 1344613"/>
              <a:gd name="connsiteX766" fmla="*/ 278110 w 1317625"/>
              <a:gd name="connsiteY766" fmla="*/ 1002545 h 1344613"/>
              <a:gd name="connsiteX767" fmla="*/ 275100 w 1317625"/>
              <a:gd name="connsiteY767" fmla="*/ 1009857 h 1344613"/>
              <a:gd name="connsiteX768" fmla="*/ 272091 w 1317625"/>
              <a:gd name="connsiteY768" fmla="*/ 1018736 h 1344613"/>
              <a:gd name="connsiteX769" fmla="*/ 263062 w 1317625"/>
              <a:gd name="connsiteY769" fmla="*/ 1019780 h 1344613"/>
              <a:gd name="connsiteX770" fmla="*/ 256612 w 1317625"/>
              <a:gd name="connsiteY770" fmla="*/ 1021869 h 1344613"/>
              <a:gd name="connsiteX771" fmla="*/ 253173 w 1317625"/>
              <a:gd name="connsiteY771" fmla="*/ 1023436 h 1344613"/>
              <a:gd name="connsiteX772" fmla="*/ 250593 w 1317625"/>
              <a:gd name="connsiteY772" fmla="*/ 1025003 h 1344613"/>
              <a:gd name="connsiteX773" fmla="*/ 248443 w 1317625"/>
              <a:gd name="connsiteY773" fmla="*/ 1025525 h 1344613"/>
              <a:gd name="connsiteX774" fmla="*/ 245004 w 1317625"/>
              <a:gd name="connsiteY774" fmla="*/ 1025525 h 1344613"/>
              <a:gd name="connsiteX775" fmla="*/ 239844 w 1317625"/>
              <a:gd name="connsiteY775" fmla="*/ 1024481 h 1344613"/>
              <a:gd name="connsiteX776" fmla="*/ 231675 w 1317625"/>
              <a:gd name="connsiteY776" fmla="*/ 1021869 h 1344613"/>
              <a:gd name="connsiteX777" fmla="*/ 231245 w 1317625"/>
              <a:gd name="connsiteY777" fmla="*/ 1017169 h 1344613"/>
              <a:gd name="connsiteX778" fmla="*/ 231245 w 1317625"/>
              <a:gd name="connsiteY778" fmla="*/ 1013513 h 1344613"/>
              <a:gd name="connsiteX779" fmla="*/ 230386 w 1317625"/>
              <a:gd name="connsiteY779" fmla="*/ 1009857 h 1344613"/>
              <a:gd name="connsiteX780" fmla="*/ 229526 w 1317625"/>
              <a:gd name="connsiteY780" fmla="*/ 1006201 h 1344613"/>
              <a:gd name="connsiteX781" fmla="*/ 226946 w 1317625"/>
              <a:gd name="connsiteY781" fmla="*/ 999412 h 1344613"/>
              <a:gd name="connsiteX782" fmla="*/ 224796 w 1317625"/>
              <a:gd name="connsiteY782" fmla="*/ 992622 h 1344613"/>
              <a:gd name="connsiteX783" fmla="*/ 221787 w 1317625"/>
              <a:gd name="connsiteY783" fmla="*/ 985833 h 1344613"/>
              <a:gd name="connsiteX784" fmla="*/ 219637 w 1317625"/>
              <a:gd name="connsiteY784" fmla="*/ 979043 h 1344613"/>
              <a:gd name="connsiteX785" fmla="*/ 218347 w 1317625"/>
              <a:gd name="connsiteY785" fmla="*/ 975387 h 1344613"/>
              <a:gd name="connsiteX786" fmla="*/ 217917 w 1317625"/>
              <a:gd name="connsiteY786" fmla="*/ 971731 h 1344613"/>
              <a:gd name="connsiteX787" fmla="*/ 217487 w 1317625"/>
              <a:gd name="connsiteY787" fmla="*/ 968075 h 1344613"/>
              <a:gd name="connsiteX788" fmla="*/ 217487 w 1317625"/>
              <a:gd name="connsiteY788" fmla="*/ 963897 h 1344613"/>
              <a:gd name="connsiteX789" fmla="*/ 217487 w 1317625"/>
              <a:gd name="connsiteY789" fmla="*/ 959197 h 1344613"/>
              <a:gd name="connsiteX790" fmla="*/ 217917 w 1317625"/>
              <a:gd name="connsiteY790" fmla="*/ 955541 h 1344613"/>
              <a:gd name="connsiteX791" fmla="*/ 218347 w 1317625"/>
              <a:gd name="connsiteY791" fmla="*/ 951363 h 1344613"/>
              <a:gd name="connsiteX792" fmla="*/ 219637 w 1317625"/>
              <a:gd name="connsiteY792" fmla="*/ 947707 h 1344613"/>
              <a:gd name="connsiteX793" fmla="*/ 222217 w 1317625"/>
              <a:gd name="connsiteY793" fmla="*/ 940917 h 1344613"/>
              <a:gd name="connsiteX794" fmla="*/ 225226 w 1317625"/>
              <a:gd name="connsiteY794" fmla="*/ 934650 h 1344613"/>
              <a:gd name="connsiteX795" fmla="*/ 231675 w 1317625"/>
              <a:gd name="connsiteY795" fmla="*/ 922116 h 1344613"/>
              <a:gd name="connsiteX796" fmla="*/ 237265 w 1317625"/>
              <a:gd name="connsiteY796" fmla="*/ 912192 h 1344613"/>
              <a:gd name="connsiteX797" fmla="*/ 238125 w 1317625"/>
              <a:gd name="connsiteY797" fmla="*/ 907492 h 1344613"/>
              <a:gd name="connsiteX798" fmla="*/ 238985 w 1317625"/>
              <a:gd name="connsiteY798" fmla="*/ 902792 h 1344613"/>
              <a:gd name="connsiteX799" fmla="*/ 239844 w 1317625"/>
              <a:gd name="connsiteY799" fmla="*/ 897569 h 1344613"/>
              <a:gd name="connsiteX800" fmla="*/ 240274 w 1317625"/>
              <a:gd name="connsiteY800" fmla="*/ 892868 h 1344613"/>
              <a:gd name="connsiteX801" fmla="*/ 240274 w 1317625"/>
              <a:gd name="connsiteY801" fmla="*/ 886601 h 1344613"/>
              <a:gd name="connsiteX802" fmla="*/ 240704 w 1317625"/>
              <a:gd name="connsiteY802" fmla="*/ 882945 h 1344613"/>
              <a:gd name="connsiteX803" fmla="*/ 241134 w 1317625"/>
              <a:gd name="connsiteY803" fmla="*/ 880856 h 1344613"/>
              <a:gd name="connsiteX804" fmla="*/ 241564 w 1317625"/>
              <a:gd name="connsiteY804" fmla="*/ 879812 h 1344613"/>
              <a:gd name="connsiteX805" fmla="*/ 241994 w 1317625"/>
              <a:gd name="connsiteY805" fmla="*/ 878767 h 1344613"/>
              <a:gd name="connsiteX806" fmla="*/ 242424 w 1317625"/>
              <a:gd name="connsiteY806" fmla="*/ 878245 h 1344613"/>
              <a:gd name="connsiteX807" fmla="*/ 243284 w 1317625"/>
              <a:gd name="connsiteY807" fmla="*/ 876678 h 1344613"/>
              <a:gd name="connsiteX808" fmla="*/ 243284 w 1317625"/>
              <a:gd name="connsiteY808" fmla="*/ 873544 h 1344613"/>
              <a:gd name="connsiteX809" fmla="*/ 236405 w 1317625"/>
              <a:gd name="connsiteY809" fmla="*/ 868844 h 1344613"/>
              <a:gd name="connsiteX810" fmla="*/ 233825 w 1317625"/>
              <a:gd name="connsiteY810" fmla="*/ 866755 h 1344613"/>
              <a:gd name="connsiteX811" fmla="*/ 232535 w 1317625"/>
              <a:gd name="connsiteY811" fmla="*/ 865710 h 1344613"/>
              <a:gd name="connsiteX812" fmla="*/ 233395 w 1317625"/>
              <a:gd name="connsiteY812" fmla="*/ 865188 h 1344613"/>
              <a:gd name="connsiteX813" fmla="*/ 233833 w 1317625"/>
              <a:gd name="connsiteY813" fmla="*/ 865188 h 1344613"/>
              <a:gd name="connsiteX814" fmla="*/ 232808 w 1317625"/>
              <a:gd name="connsiteY814" fmla="*/ 860216 h 1344613"/>
              <a:gd name="connsiteX815" fmla="*/ 229768 w 1317625"/>
              <a:gd name="connsiteY815" fmla="*/ 849151 h 1344613"/>
              <a:gd name="connsiteX816" fmla="*/ 226728 w 1317625"/>
              <a:gd name="connsiteY816" fmla="*/ 837559 h 1344613"/>
              <a:gd name="connsiteX817" fmla="*/ 225425 w 1317625"/>
              <a:gd name="connsiteY817" fmla="*/ 831236 h 1344613"/>
              <a:gd name="connsiteX818" fmla="*/ 228899 w 1317625"/>
              <a:gd name="connsiteY818" fmla="*/ 830709 h 1344613"/>
              <a:gd name="connsiteX819" fmla="*/ 231940 w 1317625"/>
              <a:gd name="connsiteY819" fmla="*/ 830182 h 1344613"/>
              <a:gd name="connsiteX820" fmla="*/ 235414 w 1317625"/>
              <a:gd name="connsiteY820" fmla="*/ 829128 h 1344613"/>
              <a:gd name="connsiteX821" fmla="*/ 238020 w 1317625"/>
              <a:gd name="connsiteY821" fmla="*/ 828074 h 1344613"/>
              <a:gd name="connsiteX822" fmla="*/ 243231 w 1317625"/>
              <a:gd name="connsiteY822" fmla="*/ 824913 h 1344613"/>
              <a:gd name="connsiteX823" fmla="*/ 247574 w 1317625"/>
              <a:gd name="connsiteY823" fmla="*/ 821751 h 1344613"/>
              <a:gd name="connsiteX824" fmla="*/ 251048 w 1317625"/>
              <a:gd name="connsiteY824" fmla="*/ 818063 h 1344613"/>
              <a:gd name="connsiteX825" fmla="*/ 254957 w 1317625"/>
              <a:gd name="connsiteY825" fmla="*/ 814902 h 1344613"/>
              <a:gd name="connsiteX826" fmla="*/ 257128 w 1317625"/>
              <a:gd name="connsiteY826" fmla="*/ 813321 h 1344613"/>
              <a:gd name="connsiteX827" fmla="*/ 258866 w 1317625"/>
              <a:gd name="connsiteY827" fmla="*/ 812267 h 1344613"/>
              <a:gd name="connsiteX828" fmla="*/ 260603 w 1317625"/>
              <a:gd name="connsiteY828" fmla="*/ 811740 h 1344613"/>
              <a:gd name="connsiteX829" fmla="*/ 262774 w 1317625"/>
              <a:gd name="connsiteY829" fmla="*/ 811213 h 1344613"/>
              <a:gd name="connsiteX830" fmla="*/ 269723 w 1317625"/>
              <a:gd name="connsiteY830" fmla="*/ 811740 h 1344613"/>
              <a:gd name="connsiteX831" fmla="*/ 276672 w 1317625"/>
              <a:gd name="connsiteY831" fmla="*/ 812794 h 1344613"/>
              <a:gd name="connsiteX832" fmla="*/ 282752 w 1317625"/>
              <a:gd name="connsiteY832" fmla="*/ 814902 h 1344613"/>
              <a:gd name="connsiteX833" fmla="*/ 288397 w 1317625"/>
              <a:gd name="connsiteY833" fmla="*/ 817009 h 1344613"/>
              <a:gd name="connsiteX834" fmla="*/ 294043 w 1317625"/>
              <a:gd name="connsiteY834" fmla="*/ 818590 h 1344613"/>
              <a:gd name="connsiteX835" fmla="*/ 299689 w 1317625"/>
              <a:gd name="connsiteY835" fmla="*/ 820171 h 1344613"/>
              <a:gd name="connsiteX836" fmla="*/ 305769 w 1317625"/>
              <a:gd name="connsiteY836" fmla="*/ 821225 h 1344613"/>
              <a:gd name="connsiteX837" fmla="*/ 311849 w 1317625"/>
              <a:gd name="connsiteY837" fmla="*/ 821751 h 1344613"/>
              <a:gd name="connsiteX838" fmla="*/ 316192 w 1317625"/>
              <a:gd name="connsiteY838" fmla="*/ 821751 h 1344613"/>
              <a:gd name="connsiteX839" fmla="*/ 319667 w 1317625"/>
              <a:gd name="connsiteY839" fmla="*/ 822805 h 1344613"/>
              <a:gd name="connsiteX840" fmla="*/ 323575 w 1317625"/>
              <a:gd name="connsiteY840" fmla="*/ 824386 h 1344613"/>
              <a:gd name="connsiteX841" fmla="*/ 327484 w 1317625"/>
              <a:gd name="connsiteY841" fmla="*/ 826494 h 1344613"/>
              <a:gd name="connsiteX842" fmla="*/ 330958 w 1317625"/>
              <a:gd name="connsiteY842" fmla="*/ 828074 h 1344613"/>
              <a:gd name="connsiteX843" fmla="*/ 333998 w 1317625"/>
              <a:gd name="connsiteY843" fmla="*/ 829655 h 1344613"/>
              <a:gd name="connsiteX844" fmla="*/ 337472 w 1317625"/>
              <a:gd name="connsiteY844" fmla="*/ 830709 h 1344613"/>
              <a:gd name="connsiteX845" fmla="*/ 340947 w 1317625"/>
              <a:gd name="connsiteY845" fmla="*/ 831236 h 1344613"/>
              <a:gd name="connsiteX846" fmla="*/ 371377 w 1317625"/>
              <a:gd name="connsiteY846" fmla="*/ 831236 h 1344613"/>
              <a:gd name="connsiteX847" fmla="*/ 368014 w 1317625"/>
              <a:gd name="connsiteY847" fmla="*/ 828246 h 1344613"/>
              <a:gd name="connsiteX848" fmla="*/ 364901 w 1317625"/>
              <a:gd name="connsiteY848" fmla="*/ 825083 h 1344613"/>
              <a:gd name="connsiteX849" fmla="*/ 363122 w 1317625"/>
              <a:gd name="connsiteY849" fmla="*/ 821393 h 1344613"/>
              <a:gd name="connsiteX850" fmla="*/ 361788 w 1317625"/>
              <a:gd name="connsiteY850" fmla="*/ 818231 h 1344613"/>
              <a:gd name="connsiteX851" fmla="*/ 362677 w 1317625"/>
              <a:gd name="connsiteY851" fmla="*/ 816649 h 1344613"/>
              <a:gd name="connsiteX852" fmla="*/ 363122 w 1317625"/>
              <a:gd name="connsiteY852" fmla="*/ 815595 h 1344613"/>
              <a:gd name="connsiteX853" fmla="*/ 363567 w 1317625"/>
              <a:gd name="connsiteY853" fmla="*/ 813487 h 1344613"/>
              <a:gd name="connsiteX854" fmla="*/ 364012 w 1317625"/>
              <a:gd name="connsiteY854" fmla="*/ 811905 h 1344613"/>
              <a:gd name="connsiteX855" fmla="*/ 364012 w 1317625"/>
              <a:gd name="connsiteY855" fmla="*/ 808215 h 1344613"/>
              <a:gd name="connsiteX856" fmla="*/ 363567 w 1317625"/>
              <a:gd name="connsiteY856" fmla="*/ 804526 h 1344613"/>
              <a:gd name="connsiteX857" fmla="*/ 362233 w 1317625"/>
              <a:gd name="connsiteY857" fmla="*/ 797673 h 1344613"/>
              <a:gd name="connsiteX858" fmla="*/ 361788 w 1317625"/>
              <a:gd name="connsiteY858" fmla="*/ 791875 h 1344613"/>
              <a:gd name="connsiteX859" fmla="*/ 362233 w 1317625"/>
              <a:gd name="connsiteY859" fmla="*/ 780278 h 1344613"/>
              <a:gd name="connsiteX860" fmla="*/ 363122 w 1317625"/>
              <a:gd name="connsiteY860" fmla="*/ 772898 h 1344613"/>
              <a:gd name="connsiteX861" fmla="*/ 364012 w 1317625"/>
              <a:gd name="connsiteY861" fmla="*/ 767100 h 1344613"/>
              <a:gd name="connsiteX862" fmla="*/ 364456 w 1317625"/>
              <a:gd name="connsiteY862" fmla="*/ 759720 h 1344613"/>
              <a:gd name="connsiteX863" fmla="*/ 363567 w 1317625"/>
              <a:gd name="connsiteY863" fmla="*/ 749705 h 1344613"/>
              <a:gd name="connsiteX864" fmla="*/ 361788 w 1317625"/>
              <a:gd name="connsiteY864" fmla="*/ 738108 h 1344613"/>
              <a:gd name="connsiteX865" fmla="*/ 359565 w 1317625"/>
              <a:gd name="connsiteY865" fmla="*/ 724930 h 1344613"/>
              <a:gd name="connsiteX866" fmla="*/ 358675 w 1317625"/>
              <a:gd name="connsiteY866" fmla="*/ 713860 h 1344613"/>
              <a:gd name="connsiteX867" fmla="*/ 356452 w 1317625"/>
              <a:gd name="connsiteY867" fmla="*/ 713333 h 1344613"/>
              <a:gd name="connsiteX868" fmla="*/ 353339 w 1317625"/>
              <a:gd name="connsiteY868" fmla="*/ 712279 h 1344613"/>
              <a:gd name="connsiteX869" fmla="*/ 349781 w 1317625"/>
              <a:gd name="connsiteY869" fmla="*/ 710698 h 1344613"/>
              <a:gd name="connsiteX870" fmla="*/ 345334 w 1317625"/>
              <a:gd name="connsiteY870" fmla="*/ 708062 h 1344613"/>
              <a:gd name="connsiteX871" fmla="*/ 335551 w 1317625"/>
              <a:gd name="connsiteY871" fmla="*/ 702791 h 1344613"/>
              <a:gd name="connsiteX872" fmla="*/ 325323 w 1317625"/>
              <a:gd name="connsiteY872" fmla="*/ 695411 h 1344613"/>
              <a:gd name="connsiteX873" fmla="*/ 305757 w 1317625"/>
              <a:gd name="connsiteY873" fmla="*/ 682233 h 1344613"/>
              <a:gd name="connsiteX874" fmla="*/ 296863 w 1317625"/>
              <a:gd name="connsiteY874" fmla="*/ 674853 h 1344613"/>
              <a:gd name="connsiteX875" fmla="*/ 305312 w 1317625"/>
              <a:gd name="connsiteY875" fmla="*/ 671690 h 1344613"/>
              <a:gd name="connsiteX876" fmla="*/ 307536 w 1317625"/>
              <a:gd name="connsiteY876" fmla="*/ 671163 h 1344613"/>
              <a:gd name="connsiteX877" fmla="*/ 309314 w 1317625"/>
              <a:gd name="connsiteY877" fmla="*/ 669582 h 1344613"/>
              <a:gd name="connsiteX878" fmla="*/ 310649 w 1317625"/>
              <a:gd name="connsiteY878" fmla="*/ 668001 h 1344613"/>
              <a:gd name="connsiteX879" fmla="*/ 312872 w 1317625"/>
              <a:gd name="connsiteY879" fmla="*/ 664838 h 1344613"/>
              <a:gd name="connsiteX880" fmla="*/ 314206 w 1317625"/>
              <a:gd name="connsiteY880" fmla="*/ 662729 h 1344613"/>
              <a:gd name="connsiteX881" fmla="*/ 316430 w 1317625"/>
              <a:gd name="connsiteY881" fmla="*/ 660621 h 1344613"/>
              <a:gd name="connsiteX882" fmla="*/ 318208 w 1317625"/>
              <a:gd name="connsiteY882" fmla="*/ 659039 h 1344613"/>
              <a:gd name="connsiteX883" fmla="*/ 319987 w 1317625"/>
              <a:gd name="connsiteY883" fmla="*/ 658512 h 1344613"/>
              <a:gd name="connsiteX884" fmla="*/ 337775 w 1317625"/>
              <a:gd name="connsiteY884" fmla="*/ 664838 h 1344613"/>
              <a:gd name="connsiteX885" fmla="*/ 341332 w 1317625"/>
              <a:gd name="connsiteY885" fmla="*/ 662729 h 1344613"/>
              <a:gd name="connsiteX886" fmla="*/ 344890 w 1317625"/>
              <a:gd name="connsiteY886" fmla="*/ 661675 h 1344613"/>
              <a:gd name="connsiteX887" fmla="*/ 348447 w 1317625"/>
              <a:gd name="connsiteY887" fmla="*/ 661148 h 1344613"/>
              <a:gd name="connsiteX888" fmla="*/ 352450 w 1317625"/>
              <a:gd name="connsiteY888" fmla="*/ 661148 h 1344613"/>
              <a:gd name="connsiteX889" fmla="*/ 355562 w 1317625"/>
              <a:gd name="connsiteY889" fmla="*/ 661675 h 1344613"/>
              <a:gd name="connsiteX890" fmla="*/ 359120 w 1317625"/>
              <a:gd name="connsiteY890" fmla="*/ 662729 h 1344613"/>
              <a:gd name="connsiteX891" fmla="*/ 362233 w 1317625"/>
              <a:gd name="connsiteY891" fmla="*/ 663784 h 1344613"/>
              <a:gd name="connsiteX892" fmla="*/ 364456 w 1317625"/>
              <a:gd name="connsiteY892" fmla="*/ 664838 h 1344613"/>
              <a:gd name="connsiteX893" fmla="*/ 364456 w 1317625"/>
              <a:gd name="connsiteY893" fmla="*/ 626358 h 1344613"/>
              <a:gd name="connsiteX894" fmla="*/ 370237 w 1317625"/>
              <a:gd name="connsiteY894" fmla="*/ 630575 h 1344613"/>
              <a:gd name="connsiteX895" fmla="*/ 374684 w 1317625"/>
              <a:gd name="connsiteY895" fmla="*/ 634792 h 1344613"/>
              <a:gd name="connsiteX896" fmla="*/ 377352 w 1317625"/>
              <a:gd name="connsiteY896" fmla="*/ 636373 h 1344613"/>
              <a:gd name="connsiteX897" fmla="*/ 379131 w 1317625"/>
              <a:gd name="connsiteY897" fmla="*/ 638482 h 1344613"/>
              <a:gd name="connsiteX898" fmla="*/ 382244 w 1317625"/>
              <a:gd name="connsiteY898" fmla="*/ 639009 h 1344613"/>
              <a:gd name="connsiteX899" fmla="*/ 384912 w 1317625"/>
              <a:gd name="connsiteY899" fmla="*/ 639536 h 1344613"/>
              <a:gd name="connsiteX900" fmla="*/ 388914 w 1317625"/>
              <a:gd name="connsiteY900" fmla="*/ 639009 h 1344613"/>
              <a:gd name="connsiteX901" fmla="*/ 393361 w 1317625"/>
              <a:gd name="connsiteY901" fmla="*/ 637427 h 1344613"/>
              <a:gd name="connsiteX902" fmla="*/ 397363 w 1317625"/>
              <a:gd name="connsiteY902" fmla="*/ 635319 h 1344613"/>
              <a:gd name="connsiteX903" fmla="*/ 401810 w 1317625"/>
              <a:gd name="connsiteY903" fmla="*/ 633210 h 1344613"/>
              <a:gd name="connsiteX904" fmla="*/ 406257 w 1317625"/>
              <a:gd name="connsiteY904" fmla="*/ 630048 h 1344613"/>
              <a:gd name="connsiteX905" fmla="*/ 410259 w 1317625"/>
              <a:gd name="connsiteY905" fmla="*/ 626885 h 1344613"/>
              <a:gd name="connsiteX906" fmla="*/ 414262 w 1317625"/>
              <a:gd name="connsiteY906" fmla="*/ 623195 h 1344613"/>
              <a:gd name="connsiteX907" fmla="*/ 418264 w 1317625"/>
              <a:gd name="connsiteY907" fmla="*/ 619505 h 1344613"/>
              <a:gd name="connsiteX908" fmla="*/ 422266 w 1317625"/>
              <a:gd name="connsiteY908" fmla="*/ 615288 h 1344613"/>
              <a:gd name="connsiteX909" fmla="*/ 425379 w 1317625"/>
              <a:gd name="connsiteY909" fmla="*/ 611071 h 1344613"/>
              <a:gd name="connsiteX910" fmla="*/ 428936 w 1317625"/>
              <a:gd name="connsiteY910" fmla="*/ 606327 h 1344613"/>
              <a:gd name="connsiteX911" fmla="*/ 431605 w 1317625"/>
              <a:gd name="connsiteY911" fmla="*/ 602110 h 1344613"/>
              <a:gd name="connsiteX912" fmla="*/ 433828 w 1317625"/>
              <a:gd name="connsiteY912" fmla="*/ 597893 h 1344613"/>
              <a:gd name="connsiteX913" fmla="*/ 436051 w 1317625"/>
              <a:gd name="connsiteY913" fmla="*/ 594203 h 1344613"/>
              <a:gd name="connsiteX914" fmla="*/ 437386 w 1317625"/>
              <a:gd name="connsiteY914" fmla="*/ 590513 h 1344613"/>
              <a:gd name="connsiteX915" fmla="*/ 438275 w 1317625"/>
              <a:gd name="connsiteY915" fmla="*/ 587351 h 1344613"/>
              <a:gd name="connsiteX916" fmla="*/ 446724 w 1317625"/>
              <a:gd name="connsiteY916" fmla="*/ 586823 h 1344613"/>
              <a:gd name="connsiteX917" fmla="*/ 454284 w 1317625"/>
              <a:gd name="connsiteY917" fmla="*/ 585242 h 1344613"/>
              <a:gd name="connsiteX918" fmla="*/ 461399 w 1317625"/>
              <a:gd name="connsiteY918" fmla="*/ 583134 h 1344613"/>
              <a:gd name="connsiteX919" fmla="*/ 958875 w 1317625"/>
              <a:gd name="connsiteY919" fmla="*/ 572566 h 1344613"/>
              <a:gd name="connsiteX920" fmla="*/ 945266 w 1317625"/>
              <a:gd name="connsiteY920" fmla="*/ 577463 h 1344613"/>
              <a:gd name="connsiteX921" fmla="*/ 945105 w 1317625"/>
              <a:gd name="connsiteY921" fmla="*/ 577191 h 1344613"/>
              <a:gd name="connsiteX922" fmla="*/ 946615 w 1317625"/>
              <a:gd name="connsiteY922" fmla="*/ 581077 h 1344613"/>
              <a:gd name="connsiteX923" fmla="*/ 954044 w 1317625"/>
              <a:gd name="connsiteY923" fmla="*/ 595238 h 1344613"/>
              <a:gd name="connsiteX924" fmla="*/ 958850 w 1317625"/>
              <a:gd name="connsiteY924" fmla="*/ 603630 h 1344613"/>
              <a:gd name="connsiteX925" fmla="*/ 956229 w 1317625"/>
              <a:gd name="connsiteY925" fmla="*/ 606777 h 1344613"/>
              <a:gd name="connsiteX926" fmla="*/ 953607 w 1317625"/>
              <a:gd name="connsiteY926" fmla="*/ 610448 h 1344613"/>
              <a:gd name="connsiteX927" fmla="*/ 950548 w 1317625"/>
              <a:gd name="connsiteY927" fmla="*/ 615693 h 1344613"/>
              <a:gd name="connsiteX928" fmla="*/ 947489 w 1317625"/>
              <a:gd name="connsiteY928" fmla="*/ 621462 h 1344613"/>
              <a:gd name="connsiteX929" fmla="*/ 945305 w 1317625"/>
              <a:gd name="connsiteY929" fmla="*/ 627232 h 1344613"/>
              <a:gd name="connsiteX930" fmla="*/ 942683 w 1317625"/>
              <a:gd name="connsiteY930" fmla="*/ 633001 h 1344613"/>
              <a:gd name="connsiteX931" fmla="*/ 941372 w 1317625"/>
              <a:gd name="connsiteY931" fmla="*/ 639295 h 1344613"/>
              <a:gd name="connsiteX932" fmla="*/ 941151 w 1317625"/>
              <a:gd name="connsiteY932" fmla="*/ 642742 h 1344613"/>
              <a:gd name="connsiteX933" fmla="*/ 942273 w 1317625"/>
              <a:gd name="connsiteY933" fmla="*/ 642742 h 1344613"/>
              <a:gd name="connsiteX934" fmla="*/ 942273 w 1317625"/>
              <a:gd name="connsiteY934" fmla="*/ 645910 h 1344613"/>
              <a:gd name="connsiteX935" fmla="*/ 941031 w 1317625"/>
              <a:gd name="connsiteY935" fmla="*/ 644617 h 1344613"/>
              <a:gd name="connsiteX936" fmla="*/ 940935 w 1317625"/>
              <a:gd name="connsiteY936" fmla="*/ 646113 h 1344613"/>
              <a:gd name="connsiteX937" fmla="*/ 939800 w 1317625"/>
              <a:gd name="connsiteY937" fmla="*/ 646113 h 1344613"/>
              <a:gd name="connsiteX938" fmla="*/ 939800 w 1317625"/>
              <a:gd name="connsiteY938" fmla="*/ 646257 h 1344613"/>
              <a:gd name="connsiteX939" fmla="*/ 938941 w 1317625"/>
              <a:gd name="connsiteY939" fmla="*/ 649721 h 1344613"/>
              <a:gd name="connsiteX940" fmla="*/ 938082 w 1317625"/>
              <a:gd name="connsiteY940" fmla="*/ 653761 h 1344613"/>
              <a:gd name="connsiteX941" fmla="*/ 936794 w 1317625"/>
              <a:gd name="connsiteY941" fmla="*/ 657225 h 1344613"/>
              <a:gd name="connsiteX942" fmla="*/ 935076 w 1317625"/>
              <a:gd name="connsiteY942" fmla="*/ 664152 h 1344613"/>
              <a:gd name="connsiteX943" fmla="*/ 934217 w 1317625"/>
              <a:gd name="connsiteY943" fmla="*/ 669925 h 1344613"/>
              <a:gd name="connsiteX944" fmla="*/ 891698 w 1317625"/>
              <a:gd name="connsiteY944" fmla="*/ 673100 h 1344613"/>
              <a:gd name="connsiteX945" fmla="*/ 936503 w 1317625"/>
              <a:gd name="connsiteY945" fmla="*/ 673100 h 1344613"/>
              <a:gd name="connsiteX946" fmla="*/ 947737 w 1317625"/>
              <a:gd name="connsiteY946" fmla="*/ 682220 h 1344613"/>
              <a:gd name="connsiteX947" fmla="*/ 945577 w 1317625"/>
              <a:gd name="connsiteY947" fmla="*/ 690326 h 1344613"/>
              <a:gd name="connsiteX948" fmla="*/ 941688 w 1317625"/>
              <a:gd name="connsiteY948" fmla="*/ 697419 h 1344613"/>
              <a:gd name="connsiteX949" fmla="*/ 937799 w 1317625"/>
              <a:gd name="connsiteY949" fmla="*/ 705526 h 1344613"/>
              <a:gd name="connsiteX950" fmla="*/ 933046 w 1317625"/>
              <a:gd name="connsiteY950" fmla="*/ 712619 h 1344613"/>
              <a:gd name="connsiteX951" fmla="*/ 927861 w 1317625"/>
              <a:gd name="connsiteY951" fmla="*/ 719712 h 1344613"/>
              <a:gd name="connsiteX952" fmla="*/ 923108 w 1317625"/>
              <a:gd name="connsiteY952" fmla="*/ 727312 h 1344613"/>
              <a:gd name="connsiteX953" fmla="*/ 917922 w 1317625"/>
              <a:gd name="connsiteY953" fmla="*/ 735925 h 1344613"/>
              <a:gd name="connsiteX954" fmla="*/ 913601 w 1317625"/>
              <a:gd name="connsiteY954" fmla="*/ 744538 h 1344613"/>
              <a:gd name="connsiteX955" fmla="*/ 906768 w 1317625"/>
              <a:gd name="connsiteY955" fmla="*/ 744538 h 1344613"/>
              <a:gd name="connsiteX956" fmla="*/ 910954 w 1317625"/>
              <a:gd name="connsiteY956" fmla="*/ 746080 h 1344613"/>
              <a:gd name="connsiteX957" fmla="*/ 911393 w 1317625"/>
              <a:gd name="connsiteY957" fmla="*/ 751335 h 1344613"/>
              <a:gd name="connsiteX958" fmla="*/ 913148 w 1317625"/>
              <a:gd name="connsiteY958" fmla="*/ 755538 h 1344613"/>
              <a:gd name="connsiteX959" fmla="*/ 914903 w 1317625"/>
              <a:gd name="connsiteY959" fmla="*/ 760267 h 1344613"/>
              <a:gd name="connsiteX960" fmla="*/ 916658 w 1317625"/>
              <a:gd name="connsiteY960" fmla="*/ 763945 h 1344613"/>
              <a:gd name="connsiteX961" fmla="*/ 919291 w 1317625"/>
              <a:gd name="connsiteY961" fmla="*/ 767098 h 1344613"/>
              <a:gd name="connsiteX962" fmla="*/ 921924 w 1317625"/>
              <a:gd name="connsiteY962" fmla="*/ 769725 h 1344613"/>
              <a:gd name="connsiteX963" fmla="*/ 924557 w 1317625"/>
              <a:gd name="connsiteY963" fmla="*/ 772352 h 1344613"/>
              <a:gd name="connsiteX964" fmla="*/ 926437 w 1317625"/>
              <a:gd name="connsiteY964" fmla="*/ 773759 h 1344613"/>
              <a:gd name="connsiteX965" fmla="*/ 923686 w 1317625"/>
              <a:gd name="connsiteY965" fmla="*/ 770825 h 1344613"/>
              <a:gd name="connsiteX966" fmla="*/ 921154 w 1317625"/>
              <a:gd name="connsiteY966" fmla="*/ 767673 h 1344613"/>
              <a:gd name="connsiteX967" fmla="*/ 919043 w 1317625"/>
              <a:gd name="connsiteY967" fmla="*/ 763996 h 1344613"/>
              <a:gd name="connsiteX968" fmla="*/ 916933 w 1317625"/>
              <a:gd name="connsiteY968" fmla="*/ 759794 h 1344613"/>
              <a:gd name="connsiteX969" fmla="*/ 915244 w 1317625"/>
              <a:gd name="connsiteY969" fmla="*/ 755066 h 1344613"/>
              <a:gd name="connsiteX970" fmla="*/ 914400 w 1317625"/>
              <a:gd name="connsiteY970" fmla="*/ 749814 h 1344613"/>
              <a:gd name="connsiteX971" fmla="*/ 914400 w 1317625"/>
              <a:gd name="connsiteY971" fmla="*/ 744036 h 1344613"/>
              <a:gd name="connsiteX972" fmla="*/ 924952 w 1317625"/>
              <a:gd name="connsiteY972" fmla="*/ 726176 h 1344613"/>
              <a:gd name="connsiteX973" fmla="*/ 935505 w 1317625"/>
              <a:gd name="connsiteY973" fmla="*/ 710943 h 1344613"/>
              <a:gd name="connsiteX974" fmla="*/ 940148 w 1317625"/>
              <a:gd name="connsiteY974" fmla="*/ 703589 h 1344613"/>
              <a:gd name="connsiteX975" fmla="*/ 944368 w 1317625"/>
              <a:gd name="connsiteY975" fmla="*/ 695185 h 1344613"/>
              <a:gd name="connsiteX976" fmla="*/ 946057 w 1317625"/>
              <a:gd name="connsiteY976" fmla="*/ 691508 h 1344613"/>
              <a:gd name="connsiteX977" fmla="*/ 948167 w 1317625"/>
              <a:gd name="connsiteY977" fmla="*/ 687831 h 1344613"/>
              <a:gd name="connsiteX978" fmla="*/ 949433 w 1317625"/>
              <a:gd name="connsiteY978" fmla="*/ 683629 h 1344613"/>
              <a:gd name="connsiteX979" fmla="*/ 949880 w 1317625"/>
              <a:gd name="connsiteY979" fmla="*/ 681408 h 1344613"/>
              <a:gd name="connsiteX980" fmla="*/ 947921 w 1317625"/>
              <a:gd name="connsiteY980" fmla="*/ 681289 h 1344613"/>
              <a:gd name="connsiteX981" fmla="*/ 936625 w 1317625"/>
              <a:gd name="connsiteY981" fmla="*/ 668088 h 1344613"/>
              <a:gd name="connsiteX982" fmla="*/ 938363 w 1317625"/>
              <a:gd name="connsiteY982" fmla="*/ 665447 h 1344613"/>
              <a:gd name="connsiteX983" fmla="*/ 940101 w 1317625"/>
              <a:gd name="connsiteY983" fmla="*/ 662807 h 1344613"/>
              <a:gd name="connsiteX984" fmla="*/ 940970 w 1317625"/>
              <a:gd name="connsiteY984" fmla="*/ 659639 h 1344613"/>
              <a:gd name="connsiteX985" fmla="*/ 941838 w 1317625"/>
              <a:gd name="connsiteY985" fmla="*/ 656471 h 1344613"/>
              <a:gd name="connsiteX986" fmla="*/ 942273 w 1317625"/>
              <a:gd name="connsiteY986" fmla="*/ 649606 h 1344613"/>
              <a:gd name="connsiteX987" fmla="*/ 942273 w 1317625"/>
              <a:gd name="connsiteY987" fmla="*/ 645910 h 1344613"/>
              <a:gd name="connsiteX988" fmla="*/ 942707 w 1317625"/>
              <a:gd name="connsiteY988" fmla="*/ 639046 h 1344613"/>
              <a:gd name="connsiteX989" fmla="*/ 944011 w 1317625"/>
              <a:gd name="connsiteY989" fmla="*/ 632709 h 1344613"/>
              <a:gd name="connsiteX990" fmla="*/ 946617 w 1317625"/>
              <a:gd name="connsiteY990" fmla="*/ 626901 h 1344613"/>
              <a:gd name="connsiteX991" fmla="*/ 949658 w 1317625"/>
              <a:gd name="connsiteY991" fmla="*/ 621092 h 1344613"/>
              <a:gd name="connsiteX992" fmla="*/ 952265 w 1317625"/>
              <a:gd name="connsiteY992" fmla="*/ 615284 h 1344613"/>
              <a:gd name="connsiteX993" fmla="*/ 955740 w 1317625"/>
              <a:gd name="connsiteY993" fmla="*/ 610003 h 1344613"/>
              <a:gd name="connsiteX994" fmla="*/ 959650 w 1317625"/>
              <a:gd name="connsiteY994" fmla="*/ 606307 h 1344613"/>
              <a:gd name="connsiteX995" fmla="*/ 962691 w 1317625"/>
              <a:gd name="connsiteY995" fmla="*/ 603139 h 1344613"/>
              <a:gd name="connsiteX996" fmla="*/ 960085 w 1317625"/>
              <a:gd name="connsiteY996" fmla="*/ 599443 h 1344613"/>
              <a:gd name="connsiteX997" fmla="*/ 956609 w 1317625"/>
              <a:gd name="connsiteY997" fmla="*/ 594162 h 1344613"/>
              <a:gd name="connsiteX998" fmla="*/ 952265 w 1317625"/>
              <a:gd name="connsiteY998" fmla="*/ 586770 h 1344613"/>
              <a:gd name="connsiteX999" fmla="*/ 947921 w 1317625"/>
              <a:gd name="connsiteY999" fmla="*/ 577265 h 1344613"/>
              <a:gd name="connsiteX1000" fmla="*/ 519112 w 1317625"/>
              <a:gd name="connsiteY1000" fmla="*/ 571433 h 1344613"/>
              <a:gd name="connsiteX1001" fmla="*/ 521424 w 1317625"/>
              <a:gd name="connsiteY1001" fmla="*/ 572090 h 1344613"/>
              <a:gd name="connsiteX1002" fmla="*/ 522279 w 1317625"/>
              <a:gd name="connsiteY1002" fmla="*/ 574519 h 1344613"/>
              <a:gd name="connsiteX1003" fmla="*/ 520017 w 1317625"/>
              <a:gd name="connsiteY1003" fmla="*/ 574004 h 1344613"/>
              <a:gd name="connsiteX1004" fmla="*/ 519564 w 1317625"/>
              <a:gd name="connsiteY1004" fmla="*/ 572976 h 1344613"/>
              <a:gd name="connsiteX1005" fmla="*/ 519112 w 1317625"/>
              <a:gd name="connsiteY1005" fmla="*/ 571947 h 1344613"/>
              <a:gd name="connsiteX1006" fmla="*/ 1105993 w 1317625"/>
              <a:gd name="connsiteY1006" fmla="*/ 558287 h 1344613"/>
              <a:gd name="connsiteX1007" fmla="*/ 1102969 w 1317625"/>
              <a:gd name="connsiteY1007" fmla="*/ 571244 h 1344613"/>
              <a:gd name="connsiteX1008" fmla="*/ 1102969 w 1317625"/>
              <a:gd name="connsiteY1008" fmla="*/ 583816 h 1344613"/>
              <a:gd name="connsiteX1009" fmla="*/ 1103883 w 1317625"/>
              <a:gd name="connsiteY1009" fmla="*/ 584129 h 1344613"/>
              <a:gd name="connsiteX1010" fmla="*/ 1103883 w 1317625"/>
              <a:gd name="connsiteY1010" fmla="*/ 570929 h 1344613"/>
              <a:gd name="connsiteX1011" fmla="*/ 1106795 w 1317625"/>
              <a:gd name="connsiteY1011" fmla="*/ 558287 h 1344613"/>
              <a:gd name="connsiteX1012" fmla="*/ 582442 w 1317625"/>
              <a:gd name="connsiteY1012" fmla="*/ 514350 h 1344613"/>
              <a:gd name="connsiteX1013" fmla="*/ 585608 w 1317625"/>
              <a:gd name="connsiteY1013" fmla="*/ 514864 h 1344613"/>
              <a:gd name="connsiteX1014" fmla="*/ 588775 w 1317625"/>
              <a:gd name="connsiteY1014" fmla="*/ 515379 h 1344613"/>
              <a:gd name="connsiteX1015" fmla="*/ 591037 w 1317625"/>
              <a:gd name="connsiteY1015" fmla="*/ 515379 h 1344613"/>
              <a:gd name="connsiteX1016" fmla="*/ 593751 w 1317625"/>
              <a:gd name="connsiteY1016" fmla="*/ 515379 h 1344613"/>
              <a:gd name="connsiteX1017" fmla="*/ 598727 w 1317625"/>
              <a:gd name="connsiteY1017" fmla="*/ 514864 h 1344613"/>
              <a:gd name="connsiteX1018" fmla="*/ 603250 w 1317625"/>
              <a:gd name="connsiteY1018" fmla="*/ 514350 h 1344613"/>
              <a:gd name="connsiteX1019" fmla="*/ 601893 w 1317625"/>
              <a:gd name="connsiteY1019" fmla="*/ 519493 h 1344613"/>
              <a:gd name="connsiteX1020" fmla="*/ 600988 w 1317625"/>
              <a:gd name="connsiteY1020" fmla="*/ 524121 h 1344613"/>
              <a:gd name="connsiteX1021" fmla="*/ 599631 w 1317625"/>
              <a:gd name="connsiteY1021" fmla="*/ 527721 h 1344613"/>
              <a:gd name="connsiteX1022" fmla="*/ 598727 w 1317625"/>
              <a:gd name="connsiteY1022" fmla="*/ 530806 h 1344613"/>
              <a:gd name="connsiteX1023" fmla="*/ 595560 w 1317625"/>
              <a:gd name="connsiteY1023" fmla="*/ 534920 h 1344613"/>
              <a:gd name="connsiteX1024" fmla="*/ 593751 w 1317625"/>
              <a:gd name="connsiteY1024" fmla="*/ 537492 h 1344613"/>
              <a:gd name="connsiteX1025" fmla="*/ 591037 w 1317625"/>
              <a:gd name="connsiteY1025" fmla="*/ 540577 h 1344613"/>
              <a:gd name="connsiteX1026" fmla="*/ 589679 w 1317625"/>
              <a:gd name="connsiteY1026" fmla="*/ 544177 h 1344613"/>
              <a:gd name="connsiteX1027" fmla="*/ 589227 w 1317625"/>
              <a:gd name="connsiteY1027" fmla="*/ 546748 h 1344613"/>
              <a:gd name="connsiteX1028" fmla="*/ 588775 w 1317625"/>
              <a:gd name="connsiteY1028" fmla="*/ 549834 h 1344613"/>
              <a:gd name="connsiteX1029" fmla="*/ 588322 w 1317625"/>
              <a:gd name="connsiteY1029" fmla="*/ 553434 h 1344613"/>
              <a:gd name="connsiteX1030" fmla="*/ 588322 w 1317625"/>
              <a:gd name="connsiteY1030" fmla="*/ 558576 h 1344613"/>
              <a:gd name="connsiteX1031" fmla="*/ 573395 w 1317625"/>
              <a:gd name="connsiteY1031" fmla="*/ 587375 h 1344613"/>
              <a:gd name="connsiteX1032" fmla="*/ 567644 w 1317625"/>
              <a:gd name="connsiteY1032" fmla="*/ 582774 h 1344613"/>
              <a:gd name="connsiteX1033" fmla="*/ 567986 w 1317625"/>
              <a:gd name="connsiteY1033" fmla="*/ 583837 h 1344613"/>
              <a:gd name="connsiteX1034" fmla="*/ 569739 w 1317625"/>
              <a:gd name="connsiteY1034" fmla="*/ 587103 h 1344613"/>
              <a:gd name="connsiteX1035" fmla="*/ 570615 w 1317625"/>
              <a:gd name="connsiteY1035" fmla="*/ 588736 h 1344613"/>
              <a:gd name="connsiteX1036" fmla="*/ 571930 w 1317625"/>
              <a:gd name="connsiteY1036" fmla="*/ 590369 h 1344613"/>
              <a:gd name="connsiteX1037" fmla="*/ 572368 w 1317625"/>
              <a:gd name="connsiteY1037" fmla="*/ 592546 h 1344613"/>
              <a:gd name="connsiteX1038" fmla="*/ 572806 w 1317625"/>
              <a:gd name="connsiteY1038" fmla="*/ 594723 h 1344613"/>
              <a:gd name="connsiteX1039" fmla="*/ 574559 w 1317625"/>
              <a:gd name="connsiteY1039" fmla="*/ 595267 h 1344613"/>
              <a:gd name="connsiteX1040" fmla="*/ 577627 w 1317625"/>
              <a:gd name="connsiteY1040" fmla="*/ 595811 h 1344613"/>
              <a:gd name="connsiteX1041" fmla="*/ 578942 w 1317625"/>
              <a:gd name="connsiteY1041" fmla="*/ 596356 h 1344613"/>
              <a:gd name="connsiteX1042" fmla="*/ 580256 w 1317625"/>
              <a:gd name="connsiteY1042" fmla="*/ 596356 h 1344613"/>
              <a:gd name="connsiteX1043" fmla="*/ 582447 w 1317625"/>
              <a:gd name="connsiteY1043" fmla="*/ 595811 h 1344613"/>
              <a:gd name="connsiteX1044" fmla="*/ 584200 w 1317625"/>
              <a:gd name="connsiteY1044" fmla="*/ 594723 h 1344613"/>
              <a:gd name="connsiteX1045" fmla="*/ 584200 w 1317625"/>
              <a:gd name="connsiteY1045" fmla="*/ 611051 h 1344613"/>
              <a:gd name="connsiteX1046" fmla="*/ 582885 w 1317625"/>
              <a:gd name="connsiteY1046" fmla="*/ 611596 h 1344613"/>
              <a:gd name="connsiteX1047" fmla="*/ 580694 w 1317625"/>
              <a:gd name="connsiteY1047" fmla="*/ 612140 h 1344613"/>
              <a:gd name="connsiteX1048" fmla="*/ 578942 w 1317625"/>
              <a:gd name="connsiteY1048" fmla="*/ 612684 h 1344613"/>
              <a:gd name="connsiteX1049" fmla="*/ 577627 w 1317625"/>
              <a:gd name="connsiteY1049" fmla="*/ 614317 h 1344613"/>
              <a:gd name="connsiteX1050" fmla="*/ 573683 w 1317625"/>
              <a:gd name="connsiteY1050" fmla="*/ 617039 h 1344613"/>
              <a:gd name="connsiteX1051" fmla="*/ 570177 w 1317625"/>
              <a:gd name="connsiteY1051" fmla="*/ 620849 h 1344613"/>
              <a:gd name="connsiteX1052" fmla="*/ 567548 w 1317625"/>
              <a:gd name="connsiteY1052" fmla="*/ 624659 h 1344613"/>
              <a:gd name="connsiteX1053" fmla="*/ 564480 w 1317625"/>
              <a:gd name="connsiteY1053" fmla="*/ 628469 h 1344613"/>
              <a:gd name="connsiteX1054" fmla="*/ 562727 w 1317625"/>
              <a:gd name="connsiteY1054" fmla="*/ 631734 h 1344613"/>
              <a:gd name="connsiteX1055" fmla="*/ 560975 w 1317625"/>
              <a:gd name="connsiteY1055" fmla="*/ 635000 h 1344613"/>
              <a:gd name="connsiteX1056" fmla="*/ 552648 w 1317625"/>
              <a:gd name="connsiteY1056" fmla="*/ 630646 h 1344613"/>
              <a:gd name="connsiteX1057" fmla="*/ 544760 w 1317625"/>
              <a:gd name="connsiteY1057" fmla="*/ 626291 h 1344613"/>
              <a:gd name="connsiteX1058" fmla="*/ 537749 w 1317625"/>
              <a:gd name="connsiteY1058" fmla="*/ 621393 h 1344613"/>
              <a:gd name="connsiteX1059" fmla="*/ 530299 w 1317625"/>
              <a:gd name="connsiteY1059" fmla="*/ 616494 h 1344613"/>
              <a:gd name="connsiteX1060" fmla="*/ 523288 w 1317625"/>
              <a:gd name="connsiteY1060" fmla="*/ 611051 h 1344613"/>
              <a:gd name="connsiteX1061" fmla="*/ 515838 w 1317625"/>
              <a:gd name="connsiteY1061" fmla="*/ 606697 h 1344613"/>
              <a:gd name="connsiteX1062" fmla="*/ 508388 w 1317625"/>
              <a:gd name="connsiteY1062" fmla="*/ 601799 h 1344613"/>
              <a:gd name="connsiteX1063" fmla="*/ 500062 w 1317625"/>
              <a:gd name="connsiteY1063" fmla="*/ 597989 h 1344613"/>
              <a:gd name="connsiteX1064" fmla="*/ 500062 w 1317625"/>
              <a:gd name="connsiteY1064" fmla="*/ 584926 h 1344613"/>
              <a:gd name="connsiteX1065" fmla="*/ 503130 w 1317625"/>
              <a:gd name="connsiteY1065" fmla="*/ 581660 h 1344613"/>
              <a:gd name="connsiteX1066" fmla="*/ 507074 w 1317625"/>
              <a:gd name="connsiteY1066" fmla="*/ 580027 h 1344613"/>
              <a:gd name="connsiteX1067" fmla="*/ 512770 w 1317625"/>
              <a:gd name="connsiteY1067" fmla="*/ 578394 h 1344613"/>
              <a:gd name="connsiteX1068" fmla="*/ 517591 w 1317625"/>
              <a:gd name="connsiteY1068" fmla="*/ 577850 h 1344613"/>
              <a:gd name="connsiteX1069" fmla="*/ 526355 w 1317625"/>
              <a:gd name="connsiteY1069" fmla="*/ 578939 h 1344613"/>
              <a:gd name="connsiteX1070" fmla="*/ 540816 w 1317625"/>
              <a:gd name="connsiteY1070" fmla="*/ 580571 h 1344613"/>
              <a:gd name="connsiteX1071" fmla="*/ 548704 w 1317625"/>
              <a:gd name="connsiteY1071" fmla="*/ 581660 h 1344613"/>
              <a:gd name="connsiteX1072" fmla="*/ 556154 w 1317625"/>
              <a:gd name="connsiteY1072" fmla="*/ 581660 h 1344613"/>
              <a:gd name="connsiteX1073" fmla="*/ 562727 w 1317625"/>
              <a:gd name="connsiteY1073" fmla="*/ 581660 h 1344613"/>
              <a:gd name="connsiteX1074" fmla="*/ 565778 w 1317625"/>
              <a:gd name="connsiteY1074" fmla="*/ 581281 h 1344613"/>
              <a:gd name="connsiteX1075" fmla="*/ 561181 w 1317625"/>
              <a:gd name="connsiteY1075" fmla="*/ 577604 h 1344613"/>
              <a:gd name="connsiteX1076" fmla="*/ 555301 w 1317625"/>
              <a:gd name="connsiteY1076" fmla="*/ 577090 h 1344613"/>
              <a:gd name="connsiteX1077" fmla="*/ 542635 w 1317625"/>
              <a:gd name="connsiteY1077" fmla="*/ 575547 h 1344613"/>
              <a:gd name="connsiteX1078" fmla="*/ 534945 w 1317625"/>
              <a:gd name="connsiteY1078" fmla="*/ 574519 h 1344613"/>
              <a:gd name="connsiteX1079" fmla="*/ 528159 w 1317625"/>
              <a:gd name="connsiteY1079" fmla="*/ 573490 h 1344613"/>
              <a:gd name="connsiteX1080" fmla="*/ 522731 w 1317625"/>
              <a:gd name="connsiteY1080" fmla="*/ 572462 h 1344613"/>
              <a:gd name="connsiteX1081" fmla="*/ 521424 w 1317625"/>
              <a:gd name="connsiteY1081" fmla="*/ 572090 h 1344613"/>
              <a:gd name="connsiteX1082" fmla="*/ 520469 w 1317625"/>
              <a:gd name="connsiteY1082" fmla="*/ 569376 h 1344613"/>
              <a:gd name="connsiteX1083" fmla="*/ 520017 w 1317625"/>
              <a:gd name="connsiteY1083" fmla="*/ 565262 h 1344613"/>
              <a:gd name="connsiteX1084" fmla="*/ 520469 w 1317625"/>
              <a:gd name="connsiteY1084" fmla="*/ 562176 h 1344613"/>
              <a:gd name="connsiteX1085" fmla="*/ 521826 w 1317625"/>
              <a:gd name="connsiteY1085" fmla="*/ 559091 h 1344613"/>
              <a:gd name="connsiteX1086" fmla="*/ 523183 w 1317625"/>
              <a:gd name="connsiteY1086" fmla="*/ 556519 h 1344613"/>
              <a:gd name="connsiteX1087" fmla="*/ 524993 w 1317625"/>
              <a:gd name="connsiteY1087" fmla="*/ 553434 h 1344613"/>
              <a:gd name="connsiteX1088" fmla="*/ 526802 w 1317625"/>
              <a:gd name="connsiteY1088" fmla="*/ 549834 h 1344613"/>
              <a:gd name="connsiteX1089" fmla="*/ 528159 w 1317625"/>
              <a:gd name="connsiteY1089" fmla="*/ 545720 h 1344613"/>
              <a:gd name="connsiteX1090" fmla="*/ 528159 w 1317625"/>
              <a:gd name="connsiteY1090" fmla="*/ 543149 h 1344613"/>
              <a:gd name="connsiteX1091" fmla="*/ 528612 w 1317625"/>
              <a:gd name="connsiteY1091" fmla="*/ 540577 h 1344613"/>
              <a:gd name="connsiteX1092" fmla="*/ 529516 w 1317625"/>
              <a:gd name="connsiteY1092" fmla="*/ 538006 h 1344613"/>
              <a:gd name="connsiteX1093" fmla="*/ 530421 w 1317625"/>
              <a:gd name="connsiteY1093" fmla="*/ 535949 h 1344613"/>
              <a:gd name="connsiteX1094" fmla="*/ 531778 w 1317625"/>
              <a:gd name="connsiteY1094" fmla="*/ 533378 h 1344613"/>
              <a:gd name="connsiteX1095" fmla="*/ 533135 w 1317625"/>
              <a:gd name="connsiteY1095" fmla="*/ 531835 h 1344613"/>
              <a:gd name="connsiteX1096" fmla="*/ 534945 w 1317625"/>
              <a:gd name="connsiteY1096" fmla="*/ 530806 h 1344613"/>
              <a:gd name="connsiteX1097" fmla="*/ 537206 w 1317625"/>
              <a:gd name="connsiteY1097" fmla="*/ 530292 h 1344613"/>
              <a:gd name="connsiteX1098" fmla="*/ 537659 w 1317625"/>
              <a:gd name="connsiteY1098" fmla="*/ 533892 h 1344613"/>
              <a:gd name="connsiteX1099" fmla="*/ 537659 w 1317625"/>
              <a:gd name="connsiteY1099" fmla="*/ 536463 h 1344613"/>
              <a:gd name="connsiteX1100" fmla="*/ 538563 w 1317625"/>
              <a:gd name="connsiteY1100" fmla="*/ 539549 h 1344613"/>
              <a:gd name="connsiteX1101" fmla="*/ 539468 w 1317625"/>
              <a:gd name="connsiteY1101" fmla="*/ 542120 h 1344613"/>
              <a:gd name="connsiteX1102" fmla="*/ 540373 w 1317625"/>
              <a:gd name="connsiteY1102" fmla="*/ 544177 h 1344613"/>
              <a:gd name="connsiteX1103" fmla="*/ 542182 w 1317625"/>
              <a:gd name="connsiteY1103" fmla="*/ 546234 h 1344613"/>
              <a:gd name="connsiteX1104" fmla="*/ 543992 w 1317625"/>
              <a:gd name="connsiteY1104" fmla="*/ 547777 h 1344613"/>
              <a:gd name="connsiteX1105" fmla="*/ 545801 w 1317625"/>
              <a:gd name="connsiteY1105" fmla="*/ 548806 h 1344613"/>
              <a:gd name="connsiteX1106" fmla="*/ 558467 w 1317625"/>
              <a:gd name="connsiteY1106" fmla="*/ 548806 h 1344613"/>
              <a:gd name="connsiteX1107" fmla="*/ 558467 w 1317625"/>
              <a:gd name="connsiteY1107" fmla="*/ 536463 h 1344613"/>
              <a:gd name="connsiteX1108" fmla="*/ 554848 w 1317625"/>
              <a:gd name="connsiteY1108" fmla="*/ 535435 h 1344613"/>
              <a:gd name="connsiteX1109" fmla="*/ 552586 w 1317625"/>
              <a:gd name="connsiteY1109" fmla="*/ 533892 h 1344613"/>
              <a:gd name="connsiteX1110" fmla="*/ 550325 w 1317625"/>
              <a:gd name="connsiteY1110" fmla="*/ 532863 h 1344613"/>
              <a:gd name="connsiteX1111" fmla="*/ 548968 w 1317625"/>
              <a:gd name="connsiteY1111" fmla="*/ 531321 h 1344613"/>
              <a:gd name="connsiteX1112" fmla="*/ 547610 w 1317625"/>
              <a:gd name="connsiteY1112" fmla="*/ 529778 h 1344613"/>
              <a:gd name="connsiteX1113" fmla="*/ 547158 w 1317625"/>
              <a:gd name="connsiteY1113" fmla="*/ 528235 h 1344613"/>
              <a:gd name="connsiteX1114" fmla="*/ 546706 w 1317625"/>
              <a:gd name="connsiteY1114" fmla="*/ 526178 h 1344613"/>
              <a:gd name="connsiteX1115" fmla="*/ 545801 w 1317625"/>
              <a:gd name="connsiteY1115" fmla="*/ 523607 h 1344613"/>
              <a:gd name="connsiteX1116" fmla="*/ 550777 w 1317625"/>
              <a:gd name="connsiteY1116" fmla="*/ 523092 h 1344613"/>
              <a:gd name="connsiteX1117" fmla="*/ 554848 w 1317625"/>
              <a:gd name="connsiteY1117" fmla="*/ 522578 h 1344613"/>
              <a:gd name="connsiteX1118" fmla="*/ 558467 w 1317625"/>
              <a:gd name="connsiteY1118" fmla="*/ 521550 h 1344613"/>
              <a:gd name="connsiteX1119" fmla="*/ 560729 w 1317625"/>
              <a:gd name="connsiteY1119" fmla="*/ 520521 h 1344613"/>
              <a:gd name="connsiteX1120" fmla="*/ 563443 w 1317625"/>
              <a:gd name="connsiteY1120" fmla="*/ 519493 h 1344613"/>
              <a:gd name="connsiteX1121" fmla="*/ 565705 w 1317625"/>
              <a:gd name="connsiteY1121" fmla="*/ 518464 h 1344613"/>
              <a:gd name="connsiteX1122" fmla="*/ 569324 w 1317625"/>
              <a:gd name="connsiteY1122" fmla="*/ 517436 h 1344613"/>
              <a:gd name="connsiteX1123" fmla="*/ 573395 w 1317625"/>
              <a:gd name="connsiteY1123" fmla="*/ 517436 h 1344613"/>
              <a:gd name="connsiteX1124" fmla="*/ 577918 w 1317625"/>
              <a:gd name="connsiteY1124" fmla="*/ 515893 h 1344613"/>
              <a:gd name="connsiteX1125" fmla="*/ 956117 w 1317625"/>
              <a:gd name="connsiteY1125" fmla="*/ 500559 h 1344613"/>
              <a:gd name="connsiteX1126" fmla="*/ 952709 w 1317625"/>
              <a:gd name="connsiteY1126" fmla="*/ 502992 h 1344613"/>
              <a:gd name="connsiteX1127" fmla="*/ 949330 w 1317625"/>
              <a:gd name="connsiteY1127" fmla="*/ 505706 h 1344613"/>
              <a:gd name="connsiteX1128" fmla="*/ 948063 w 1317625"/>
              <a:gd name="connsiteY1128" fmla="*/ 507335 h 1344613"/>
              <a:gd name="connsiteX1129" fmla="*/ 946796 w 1317625"/>
              <a:gd name="connsiteY1129" fmla="*/ 508963 h 1344613"/>
              <a:gd name="connsiteX1130" fmla="*/ 946312 w 1317625"/>
              <a:gd name="connsiteY1130" fmla="*/ 509585 h 1344613"/>
              <a:gd name="connsiteX1131" fmla="*/ 949674 w 1317625"/>
              <a:gd name="connsiteY1131" fmla="*/ 513419 h 1344613"/>
              <a:gd name="connsiteX1132" fmla="*/ 948800 w 1317625"/>
              <a:gd name="connsiteY1132" fmla="*/ 519188 h 1344613"/>
              <a:gd name="connsiteX1133" fmla="*/ 947052 w 1317625"/>
              <a:gd name="connsiteY1133" fmla="*/ 525482 h 1344613"/>
              <a:gd name="connsiteX1134" fmla="*/ 945305 w 1317625"/>
              <a:gd name="connsiteY1134" fmla="*/ 531251 h 1344613"/>
              <a:gd name="connsiteX1135" fmla="*/ 943994 w 1317625"/>
              <a:gd name="connsiteY1135" fmla="*/ 535971 h 1344613"/>
              <a:gd name="connsiteX1136" fmla="*/ 941372 w 1317625"/>
              <a:gd name="connsiteY1136" fmla="*/ 540692 h 1344613"/>
              <a:gd name="connsiteX1137" fmla="*/ 939624 w 1317625"/>
              <a:gd name="connsiteY1137" fmla="*/ 544363 h 1344613"/>
              <a:gd name="connsiteX1138" fmla="*/ 937439 w 1317625"/>
              <a:gd name="connsiteY1138" fmla="*/ 546986 h 1344613"/>
              <a:gd name="connsiteX1139" fmla="*/ 935255 w 1317625"/>
              <a:gd name="connsiteY1139" fmla="*/ 548559 h 1344613"/>
              <a:gd name="connsiteX1140" fmla="*/ 937002 w 1317625"/>
              <a:gd name="connsiteY1140" fmla="*/ 556951 h 1344613"/>
              <a:gd name="connsiteX1141" fmla="*/ 937810 w 1317625"/>
              <a:gd name="connsiteY1141" fmla="*/ 559373 h 1344613"/>
              <a:gd name="connsiteX1142" fmla="*/ 937057 w 1317625"/>
              <a:gd name="connsiteY1142" fmla="*/ 556214 h 1344613"/>
              <a:gd name="connsiteX1143" fmla="*/ 936625 w 1317625"/>
              <a:gd name="connsiteY1143" fmla="*/ 552068 h 1344613"/>
              <a:gd name="connsiteX1144" fmla="*/ 936625 w 1317625"/>
              <a:gd name="connsiteY1144" fmla="*/ 548441 h 1344613"/>
              <a:gd name="connsiteX1145" fmla="*/ 938786 w 1317625"/>
              <a:gd name="connsiteY1145" fmla="*/ 546886 h 1344613"/>
              <a:gd name="connsiteX1146" fmla="*/ 940946 w 1317625"/>
              <a:gd name="connsiteY1146" fmla="*/ 544294 h 1344613"/>
              <a:gd name="connsiteX1147" fmla="*/ 942674 w 1317625"/>
              <a:gd name="connsiteY1147" fmla="*/ 540667 h 1344613"/>
              <a:gd name="connsiteX1148" fmla="*/ 945266 w 1317625"/>
              <a:gd name="connsiteY1148" fmla="*/ 536002 h 1344613"/>
              <a:gd name="connsiteX1149" fmla="*/ 946563 w 1317625"/>
              <a:gd name="connsiteY1149" fmla="*/ 531338 h 1344613"/>
              <a:gd name="connsiteX1150" fmla="*/ 948291 w 1317625"/>
              <a:gd name="connsiteY1150" fmla="*/ 525637 h 1344613"/>
              <a:gd name="connsiteX1151" fmla="*/ 950019 w 1317625"/>
              <a:gd name="connsiteY1151" fmla="*/ 519418 h 1344613"/>
              <a:gd name="connsiteX1152" fmla="*/ 950883 w 1317625"/>
              <a:gd name="connsiteY1152" fmla="*/ 513717 h 1344613"/>
              <a:gd name="connsiteX1153" fmla="*/ 954340 w 1317625"/>
              <a:gd name="connsiteY1153" fmla="*/ 504389 h 1344613"/>
              <a:gd name="connsiteX1154" fmla="*/ 955636 w 1317625"/>
              <a:gd name="connsiteY1154" fmla="*/ 501279 h 1344613"/>
              <a:gd name="connsiteX1155" fmla="*/ 896937 w 1317625"/>
              <a:gd name="connsiteY1155" fmla="*/ 474405 h 1344613"/>
              <a:gd name="connsiteX1156" fmla="*/ 896937 w 1317625"/>
              <a:gd name="connsiteY1156" fmla="*/ 490536 h 1344613"/>
              <a:gd name="connsiteX1157" fmla="*/ 917758 w 1317625"/>
              <a:gd name="connsiteY1157" fmla="*/ 492279 h 1344613"/>
              <a:gd name="connsiteX1158" fmla="*/ 900342 w 1317625"/>
              <a:gd name="connsiteY1158" fmla="*/ 488879 h 1344613"/>
              <a:gd name="connsiteX1159" fmla="*/ 631825 w 1317625"/>
              <a:gd name="connsiteY1159" fmla="*/ 462712 h 1344613"/>
              <a:gd name="connsiteX1160" fmla="*/ 630912 w 1317625"/>
              <a:gd name="connsiteY1160" fmla="*/ 463079 h 1344613"/>
              <a:gd name="connsiteX1161" fmla="*/ 629603 w 1317625"/>
              <a:gd name="connsiteY1161" fmla="*/ 463604 h 1344613"/>
              <a:gd name="connsiteX1162" fmla="*/ 628651 w 1317625"/>
              <a:gd name="connsiteY1162" fmla="*/ 463604 h 1344613"/>
              <a:gd name="connsiteX1163" fmla="*/ 631825 w 1317625"/>
              <a:gd name="connsiteY1163" fmla="*/ 465012 h 1344613"/>
              <a:gd name="connsiteX1164" fmla="*/ 970164 w 1317625"/>
              <a:gd name="connsiteY1164" fmla="*/ 441473 h 1344613"/>
              <a:gd name="connsiteX1165" fmla="*/ 970446 w 1317625"/>
              <a:gd name="connsiteY1165" fmla="*/ 442196 h 1344613"/>
              <a:gd name="connsiteX1166" fmla="*/ 971713 w 1317625"/>
              <a:gd name="connsiteY1166" fmla="*/ 442739 h 1344613"/>
              <a:gd name="connsiteX1167" fmla="*/ 972980 w 1317625"/>
              <a:gd name="connsiteY1167" fmla="*/ 443281 h 1344613"/>
              <a:gd name="connsiteX1168" fmla="*/ 976780 w 1317625"/>
              <a:gd name="connsiteY1168" fmla="*/ 443281 h 1344613"/>
              <a:gd name="connsiteX1169" fmla="*/ 981214 w 1317625"/>
              <a:gd name="connsiteY1169" fmla="*/ 443281 h 1344613"/>
              <a:gd name="connsiteX1170" fmla="*/ 978097 w 1317625"/>
              <a:gd name="connsiteY1170" fmla="*/ 442506 h 1344613"/>
              <a:gd name="connsiteX1171" fmla="*/ 974596 w 1317625"/>
              <a:gd name="connsiteY1171" fmla="*/ 441473 h 1344613"/>
              <a:gd name="connsiteX1172" fmla="*/ 769937 w 1317625"/>
              <a:gd name="connsiteY1172" fmla="*/ 398463 h 1344613"/>
              <a:gd name="connsiteX1173" fmla="*/ 784225 w 1317625"/>
              <a:gd name="connsiteY1173" fmla="*/ 398463 h 1344613"/>
              <a:gd name="connsiteX1174" fmla="*/ 781164 w 1317625"/>
              <a:gd name="connsiteY1174" fmla="*/ 410989 h 1344613"/>
              <a:gd name="connsiteX1175" fmla="*/ 778612 w 1317625"/>
              <a:gd name="connsiteY1175" fmla="*/ 421949 h 1344613"/>
              <a:gd name="connsiteX1176" fmla="*/ 776061 w 1317625"/>
              <a:gd name="connsiteY1176" fmla="*/ 432127 h 1344613"/>
              <a:gd name="connsiteX1177" fmla="*/ 773509 w 1317625"/>
              <a:gd name="connsiteY1177" fmla="*/ 441521 h 1344613"/>
              <a:gd name="connsiteX1178" fmla="*/ 769937 w 1317625"/>
              <a:gd name="connsiteY1178" fmla="*/ 455613 h 1344613"/>
              <a:gd name="connsiteX1179" fmla="*/ 770958 w 1317625"/>
              <a:gd name="connsiteY1179" fmla="*/ 435258 h 1344613"/>
              <a:gd name="connsiteX1180" fmla="*/ 772999 w 1317625"/>
              <a:gd name="connsiteY1180" fmla="*/ 420384 h 1344613"/>
              <a:gd name="connsiteX1181" fmla="*/ 773509 w 1317625"/>
              <a:gd name="connsiteY1181" fmla="*/ 414121 h 1344613"/>
              <a:gd name="connsiteX1182" fmla="*/ 772999 w 1317625"/>
              <a:gd name="connsiteY1182" fmla="*/ 408640 h 1344613"/>
              <a:gd name="connsiteX1183" fmla="*/ 771978 w 1317625"/>
              <a:gd name="connsiteY1183" fmla="*/ 403943 h 1344613"/>
              <a:gd name="connsiteX1184" fmla="*/ 291544 w 1317625"/>
              <a:gd name="connsiteY1184" fmla="*/ 393699 h 1344613"/>
              <a:gd name="connsiteX1185" fmla="*/ 294987 w 1317625"/>
              <a:gd name="connsiteY1185" fmla="*/ 394228 h 1344613"/>
              <a:gd name="connsiteX1186" fmla="*/ 299291 w 1317625"/>
              <a:gd name="connsiteY1186" fmla="*/ 395287 h 1344613"/>
              <a:gd name="connsiteX1187" fmla="*/ 302304 w 1317625"/>
              <a:gd name="connsiteY1187" fmla="*/ 404282 h 1344613"/>
              <a:gd name="connsiteX1188" fmla="*/ 305747 w 1317625"/>
              <a:gd name="connsiteY1188" fmla="*/ 411691 h 1344613"/>
              <a:gd name="connsiteX1189" fmla="*/ 306177 w 1317625"/>
              <a:gd name="connsiteY1189" fmla="*/ 413807 h 1344613"/>
              <a:gd name="connsiteX1190" fmla="*/ 306608 w 1317625"/>
              <a:gd name="connsiteY1190" fmla="*/ 415395 h 1344613"/>
              <a:gd name="connsiteX1191" fmla="*/ 306608 w 1317625"/>
              <a:gd name="connsiteY1191" fmla="*/ 416982 h 1344613"/>
              <a:gd name="connsiteX1192" fmla="*/ 306608 w 1317625"/>
              <a:gd name="connsiteY1192" fmla="*/ 418570 h 1344613"/>
              <a:gd name="connsiteX1193" fmla="*/ 306177 w 1317625"/>
              <a:gd name="connsiteY1193" fmla="*/ 420157 h 1344613"/>
              <a:gd name="connsiteX1194" fmla="*/ 305317 w 1317625"/>
              <a:gd name="connsiteY1194" fmla="*/ 421216 h 1344613"/>
              <a:gd name="connsiteX1195" fmla="*/ 304025 w 1317625"/>
              <a:gd name="connsiteY1195" fmla="*/ 423332 h 1344613"/>
              <a:gd name="connsiteX1196" fmla="*/ 301873 w 1317625"/>
              <a:gd name="connsiteY1196" fmla="*/ 424391 h 1344613"/>
              <a:gd name="connsiteX1197" fmla="*/ 304886 w 1317625"/>
              <a:gd name="connsiteY1197" fmla="*/ 424391 h 1344613"/>
              <a:gd name="connsiteX1198" fmla="*/ 303595 w 1317625"/>
              <a:gd name="connsiteY1198" fmla="*/ 427037 h 1344613"/>
              <a:gd name="connsiteX1199" fmla="*/ 301873 w 1317625"/>
              <a:gd name="connsiteY1199" fmla="*/ 429153 h 1344613"/>
              <a:gd name="connsiteX1200" fmla="*/ 300582 w 1317625"/>
              <a:gd name="connsiteY1200" fmla="*/ 431270 h 1344613"/>
              <a:gd name="connsiteX1201" fmla="*/ 298861 w 1317625"/>
              <a:gd name="connsiteY1201" fmla="*/ 433387 h 1344613"/>
              <a:gd name="connsiteX1202" fmla="*/ 296709 w 1317625"/>
              <a:gd name="connsiteY1202" fmla="*/ 434974 h 1344613"/>
              <a:gd name="connsiteX1203" fmla="*/ 294987 w 1317625"/>
              <a:gd name="connsiteY1203" fmla="*/ 436033 h 1344613"/>
              <a:gd name="connsiteX1204" fmla="*/ 292405 w 1317625"/>
              <a:gd name="connsiteY1204" fmla="*/ 437091 h 1344613"/>
              <a:gd name="connsiteX1205" fmla="*/ 290683 w 1317625"/>
              <a:gd name="connsiteY1205" fmla="*/ 437091 h 1344613"/>
              <a:gd name="connsiteX1206" fmla="*/ 290683 w 1317625"/>
              <a:gd name="connsiteY1206" fmla="*/ 439208 h 1344613"/>
              <a:gd name="connsiteX1207" fmla="*/ 291544 w 1317625"/>
              <a:gd name="connsiteY1207" fmla="*/ 441324 h 1344613"/>
              <a:gd name="connsiteX1208" fmla="*/ 292405 w 1317625"/>
              <a:gd name="connsiteY1208" fmla="*/ 442912 h 1344613"/>
              <a:gd name="connsiteX1209" fmla="*/ 294126 w 1317625"/>
              <a:gd name="connsiteY1209" fmla="*/ 444499 h 1344613"/>
              <a:gd name="connsiteX1210" fmla="*/ 295418 w 1317625"/>
              <a:gd name="connsiteY1210" fmla="*/ 446087 h 1344613"/>
              <a:gd name="connsiteX1211" fmla="*/ 297139 w 1317625"/>
              <a:gd name="connsiteY1211" fmla="*/ 447145 h 1344613"/>
              <a:gd name="connsiteX1212" fmla="*/ 299291 w 1317625"/>
              <a:gd name="connsiteY1212" fmla="*/ 447674 h 1344613"/>
              <a:gd name="connsiteX1213" fmla="*/ 301443 w 1317625"/>
              <a:gd name="connsiteY1213" fmla="*/ 448203 h 1344613"/>
              <a:gd name="connsiteX1214" fmla="*/ 306177 w 1317625"/>
              <a:gd name="connsiteY1214" fmla="*/ 449262 h 1344613"/>
              <a:gd name="connsiteX1215" fmla="*/ 310912 w 1317625"/>
              <a:gd name="connsiteY1215" fmla="*/ 449791 h 1344613"/>
              <a:gd name="connsiteX1216" fmla="*/ 315216 w 1317625"/>
              <a:gd name="connsiteY1216" fmla="*/ 449791 h 1344613"/>
              <a:gd name="connsiteX1217" fmla="*/ 319089 w 1317625"/>
              <a:gd name="connsiteY1217" fmla="*/ 449791 h 1344613"/>
              <a:gd name="connsiteX1218" fmla="*/ 319089 w 1317625"/>
              <a:gd name="connsiteY1218" fmla="*/ 459316 h 1344613"/>
              <a:gd name="connsiteX1219" fmla="*/ 319089 w 1317625"/>
              <a:gd name="connsiteY1219" fmla="*/ 466724 h 1344613"/>
              <a:gd name="connsiteX1220" fmla="*/ 319089 w 1317625"/>
              <a:gd name="connsiteY1220" fmla="*/ 474133 h 1344613"/>
              <a:gd name="connsiteX1221" fmla="*/ 319089 w 1317625"/>
              <a:gd name="connsiteY1221" fmla="*/ 483129 h 1344613"/>
              <a:gd name="connsiteX1222" fmla="*/ 319089 w 1317625"/>
              <a:gd name="connsiteY1222" fmla="*/ 484716 h 1344613"/>
              <a:gd name="connsiteX1223" fmla="*/ 318659 w 1317625"/>
              <a:gd name="connsiteY1223" fmla="*/ 486833 h 1344613"/>
              <a:gd name="connsiteX1224" fmla="*/ 317798 w 1317625"/>
              <a:gd name="connsiteY1224" fmla="*/ 488420 h 1344613"/>
              <a:gd name="connsiteX1225" fmla="*/ 316937 w 1317625"/>
              <a:gd name="connsiteY1225" fmla="*/ 490008 h 1344613"/>
              <a:gd name="connsiteX1226" fmla="*/ 314785 w 1317625"/>
              <a:gd name="connsiteY1226" fmla="*/ 492654 h 1344613"/>
              <a:gd name="connsiteX1227" fmla="*/ 311772 w 1317625"/>
              <a:gd name="connsiteY1227" fmla="*/ 495829 h 1344613"/>
              <a:gd name="connsiteX1228" fmla="*/ 309621 w 1317625"/>
              <a:gd name="connsiteY1228" fmla="*/ 499004 h 1344613"/>
              <a:gd name="connsiteX1229" fmla="*/ 307038 w 1317625"/>
              <a:gd name="connsiteY1229" fmla="*/ 502179 h 1344613"/>
              <a:gd name="connsiteX1230" fmla="*/ 306177 w 1317625"/>
              <a:gd name="connsiteY1230" fmla="*/ 503766 h 1344613"/>
              <a:gd name="connsiteX1231" fmla="*/ 305317 w 1317625"/>
              <a:gd name="connsiteY1231" fmla="*/ 505354 h 1344613"/>
              <a:gd name="connsiteX1232" fmla="*/ 304886 w 1317625"/>
              <a:gd name="connsiteY1232" fmla="*/ 506941 h 1344613"/>
              <a:gd name="connsiteX1233" fmla="*/ 304886 w 1317625"/>
              <a:gd name="connsiteY1233" fmla="*/ 508529 h 1344613"/>
              <a:gd name="connsiteX1234" fmla="*/ 301443 w 1317625"/>
              <a:gd name="connsiteY1234" fmla="*/ 509058 h 1344613"/>
              <a:gd name="connsiteX1235" fmla="*/ 299291 w 1317625"/>
              <a:gd name="connsiteY1235" fmla="*/ 509058 h 1344613"/>
              <a:gd name="connsiteX1236" fmla="*/ 296278 w 1317625"/>
              <a:gd name="connsiteY1236" fmla="*/ 510116 h 1344613"/>
              <a:gd name="connsiteX1237" fmla="*/ 294557 w 1317625"/>
              <a:gd name="connsiteY1237" fmla="*/ 511704 h 1344613"/>
              <a:gd name="connsiteX1238" fmla="*/ 292835 w 1317625"/>
              <a:gd name="connsiteY1238" fmla="*/ 512762 h 1344613"/>
              <a:gd name="connsiteX1239" fmla="*/ 291544 w 1317625"/>
              <a:gd name="connsiteY1239" fmla="*/ 514879 h 1344613"/>
              <a:gd name="connsiteX1240" fmla="*/ 290683 w 1317625"/>
              <a:gd name="connsiteY1240" fmla="*/ 516466 h 1344613"/>
              <a:gd name="connsiteX1241" fmla="*/ 290683 w 1317625"/>
              <a:gd name="connsiteY1241" fmla="*/ 518583 h 1344613"/>
              <a:gd name="connsiteX1242" fmla="*/ 287240 w 1317625"/>
              <a:gd name="connsiteY1242" fmla="*/ 519112 h 1344613"/>
              <a:gd name="connsiteX1243" fmla="*/ 285088 w 1317625"/>
              <a:gd name="connsiteY1243" fmla="*/ 520170 h 1344613"/>
              <a:gd name="connsiteX1244" fmla="*/ 282506 w 1317625"/>
              <a:gd name="connsiteY1244" fmla="*/ 521758 h 1344613"/>
              <a:gd name="connsiteX1245" fmla="*/ 280784 w 1317625"/>
              <a:gd name="connsiteY1245" fmla="*/ 523875 h 1344613"/>
              <a:gd name="connsiteX1246" fmla="*/ 278632 w 1317625"/>
              <a:gd name="connsiteY1246" fmla="*/ 525462 h 1344613"/>
              <a:gd name="connsiteX1247" fmla="*/ 277341 w 1317625"/>
              <a:gd name="connsiteY1247" fmla="*/ 527050 h 1344613"/>
              <a:gd name="connsiteX1248" fmla="*/ 275620 w 1317625"/>
              <a:gd name="connsiteY1248" fmla="*/ 528108 h 1344613"/>
              <a:gd name="connsiteX1249" fmla="*/ 273037 w 1317625"/>
              <a:gd name="connsiteY1249" fmla="*/ 528637 h 1344613"/>
              <a:gd name="connsiteX1250" fmla="*/ 265721 w 1317625"/>
              <a:gd name="connsiteY1250" fmla="*/ 528637 h 1344613"/>
              <a:gd name="connsiteX1251" fmla="*/ 258834 w 1317625"/>
              <a:gd name="connsiteY1251" fmla="*/ 529695 h 1344613"/>
              <a:gd name="connsiteX1252" fmla="*/ 253239 w 1317625"/>
              <a:gd name="connsiteY1252" fmla="*/ 530754 h 1344613"/>
              <a:gd name="connsiteX1253" fmla="*/ 248075 w 1317625"/>
              <a:gd name="connsiteY1253" fmla="*/ 531812 h 1344613"/>
              <a:gd name="connsiteX1254" fmla="*/ 238606 w 1317625"/>
              <a:gd name="connsiteY1254" fmla="*/ 534987 h 1344613"/>
              <a:gd name="connsiteX1255" fmla="*/ 227846 w 1317625"/>
              <a:gd name="connsiteY1255" fmla="*/ 538162 h 1344613"/>
              <a:gd name="connsiteX1256" fmla="*/ 230429 w 1317625"/>
              <a:gd name="connsiteY1256" fmla="*/ 531812 h 1344613"/>
              <a:gd name="connsiteX1257" fmla="*/ 226555 w 1317625"/>
              <a:gd name="connsiteY1257" fmla="*/ 531812 h 1344613"/>
              <a:gd name="connsiteX1258" fmla="*/ 222251 w 1317625"/>
              <a:gd name="connsiteY1258" fmla="*/ 531812 h 1344613"/>
              <a:gd name="connsiteX1259" fmla="*/ 222251 w 1317625"/>
              <a:gd name="connsiteY1259" fmla="*/ 508529 h 1344613"/>
              <a:gd name="connsiteX1260" fmla="*/ 225694 w 1317625"/>
              <a:gd name="connsiteY1260" fmla="*/ 507999 h 1344613"/>
              <a:gd name="connsiteX1261" fmla="*/ 229568 w 1317625"/>
              <a:gd name="connsiteY1261" fmla="*/ 506941 h 1344613"/>
              <a:gd name="connsiteX1262" fmla="*/ 231289 w 1317625"/>
              <a:gd name="connsiteY1262" fmla="*/ 505883 h 1344613"/>
              <a:gd name="connsiteX1263" fmla="*/ 232581 w 1317625"/>
              <a:gd name="connsiteY1263" fmla="*/ 504824 h 1344613"/>
              <a:gd name="connsiteX1264" fmla="*/ 233011 w 1317625"/>
              <a:gd name="connsiteY1264" fmla="*/ 503766 h 1344613"/>
              <a:gd name="connsiteX1265" fmla="*/ 233441 w 1317625"/>
              <a:gd name="connsiteY1265" fmla="*/ 502179 h 1344613"/>
              <a:gd name="connsiteX1266" fmla="*/ 239467 w 1317625"/>
              <a:gd name="connsiteY1266" fmla="*/ 502179 h 1344613"/>
              <a:gd name="connsiteX1267" fmla="*/ 245492 w 1317625"/>
              <a:gd name="connsiteY1267" fmla="*/ 501649 h 1344613"/>
              <a:gd name="connsiteX1268" fmla="*/ 248075 w 1317625"/>
              <a:gd name="connsiteY1268" fmla="*/ 500591 h 1344613"/>
              <a:gd name="connsiteX1269" fmla="*/ 249796 w 1317625"/>
              <a:gd name="connsiteY1269" fmla="*/ 499533 h 1344613"/>
              <a:gd name="connsiteX1270" fmla="*/ 251948 w 1317625"/>
              <a:gd name="connsiteY1270" fmla="*/ 497945 h 1344613"/>
              <a:gd name="connsiteX1271" fmla="*/ 253239 w 1317625"/>
              <a:gd name="connsiteY1271" fmla="*/ 495829 h 1344613"/>
              <a:gd name="connsiteX1272" fmla="*/ 249796 w 1317625"/>
              <a:gd name="connsiteY1272" fmla="*/ 496887 h 1344613"/>
              <a:gd name="connsiteX1273" fmla="*/ 245492 w 1317625"/>
              <a:gd name="connsiteY1273" fmla="*/ 498474 h 1344613"/>
              <a:gd name="connsiteX1274" fmla="*/ 242910 w 1317625"/>
              <a:gd name="connsiteY1274" fmla="*/ 498474 h 1344613"/>
              <a:gd name="connsiteX1275" fmla="*/ 241188 w 1317625"/>
              <a:gd name="connsiteY1275" fmla="*/ 498474 h 1344613"/>
              <a:gd name="connsiteX1276" fmla="*/ 239897 w 1317625"/>
              <a:gd name="connsiteY1276" fmla="*/ 498474 h 1344613"/>
              <a:gd name="connsiteX1277" fmla="*/ 239467 w 1317625"/>
              <a:gd name="connsiteY1277" fmla="*/ 497945 h 1344613"/>
              <a:gd name="connsiteX1278" fmla="*/ 239036 w 1317625"/>
              <a:gd name="connsiteY1278" fmla="*/ 496887 h 1344613"/>
              <a:gd name="connsiteX1279" fmla="*/ 239036 w 1317625"/>
              <a:gd name="connsiteY1279" fmla="*/ 495829 h 1344613"/>
              <a:gd name="connsiteX1280" fmla="*/ 239036 w 1317625"/>
              <a:gd name="connsiteY1280" fmla="*/ 493183 h 1344613"/>
              <a:gd name="connsiteX1281" fmla="*/ 239897 w 1317625"/>
              <a:gd name="connsiteY1281" fmla="*/ 490537 h 1344613"/>
              <a:gd name="connsiteX1282" fmla="*/ 241188 w 1317625"/>
              <a:gd name="connsiteY1282" fmla="*/ 487891 h 1344613"/>
              <a:gd name="connsiteX1283" fmla="*/ 242049 w 1317625"/>
              <a:gd name="connsiteY1283" fmla="*/ 485245 h 1344613"/>
              <a:gd name="connsiteX1284" fmla="*/ 243771 w 1317625"/>
              <a:gd name="connsiteY1284" fmla="*/ 481541 h 1344613"/>
              <a:gd name="connsiteX1285" fmla="*/ 244631 w 1317625"/>
              <a:gd name="connsiteY1285" fmla="*/ 479424 h 1344613"/>
              <a:gd name="connsiteX1286" fmla="*/ 239036 w 1317625"/>
              <a:gd name="connsiteY1286" fmla="*/ 478366 h 1344613"/>
              <a:gd name="connsiteX1287" fmla="*/ 234302 w 1317625"/>
              <a:gd name="connsiteY1287" fmla="*/ 476779 h 1344613"/>
              <a:gd name="connsiteX1288" fmla="*/ 231289 w 1317625"/>
              <a:gd name="connsiteY1288" fmla="*/ 475191 h 1344613"/>
              <a:gd name="connsiteX1289" fmla="*/ 228277 w 1317625"/>
              <a:gd name="connsiteY1289" fmla="*/ 473074 h 1344613"/>
              <a:gd name="connsiteX1290" fmla="*/ 226555 w 1317625"/>
              <a:gd name="connsiteY1290" fmla="*/ 470428 h 1344613"/>
              <a:gd name="connsiteX1291" fmla="*/ 225264 w 1317625"/>
              <a:gd name="connsiteY1291" fmla="*/ 466724 h 1344613"/>
              <a:gd name="connsiteX1292" fmla="*/ 224833 w 1317625"/>
              <a:gd name="connsiteY1292" fmla="*/ 462491 h 1344613"/>
              <a:gd name="connsiteX1293" fmla="*/ 224833 w 1317625"/>
              <a:gd name="connsiteY1293" fmla="*/ 457199 h 1344613"/>
              <a:gd name="connsiteX1294" fmla="*/ 228707 w 1317625"/>
              <a:gd name="connsiteY1294" fmla="*/ 455612 h 1344613"/>
              <a:gd name="connsiteX1295" fmla="*/ 231720 w 1317625"/>
              <a:gd name="connsiteY1295" fmla="*/ 454553 h 1344613"/>
              <a:gd name="connsiteX1296" fmla="*/ 233441 w 1317625"/>
              <a:gd name="connsiteY1296" fmla="*/ 452966 h 1344613"/>
              <a:gd name="connsiteX1297" fmla="*/ 235163 w 1317625"/>
              <a:gd name="connsiteY1297" fmla="*/ 451378 h 1344613"/>
              <a:gd name="connsiteX1298" fmla="*/ 237315 w 1317625"/>
              <a:gd name="connsiteY1298" fmla="*/ 447674 h 1344613"/>
              <a:gd name="connsiteX1299" fmla="*/ 239036 w 1317625"/>
              <a:gd name="connsiteY1299" fmla="*/ 443441 h 1344613"/>
              <a:gd name="connsiteX1300" fmla="*/ 246353 w 1317625"/>
              <a:gd name="connsiteY1300" fmla="*/ 443441 h 1344613"/>
              <a:gd name="connsiteX1301" fmla="*/ 251518 w 1317625"/>
              <a:gd name="connsiteY1301" fmla="*/ 443441 h 1344613"/>
              <a:gd name="connsiteX1302" fmla="*/ 255391 w 1317625"/>
              <a:gd name="connsiteY1302" fmla="*/ 443441 h 1344613"/>
              <a:gd name="connsiteX1303" fmla="*/ 258834 w 1317625"/>
              <a:gd name="connsiteY1303" fmla="*/ 443441 h 1344613"/>
              <a:gd name="connsiteX1304" fmla="*/ 260986 w 1317625"/>
              <a:gd name="connsiteY1304" fmla="*/ 443441 h 1344613"/>
              <a:gd name="connsiteX1305" fmla="*/ 262708 w 1317625"/>
              <a:gd name="connsiteY1305" fmla="*/ 442912 h 1344613"/>
              <a:gd name="connsiteX1306" fmla="*/ 263999 w 1317625"/>
              <a:gd name="connsiteY1306" fmla="*/ 441853 h 1344613"/>
              <a:gd name="connsiteX1307" fmla="*/ 265290 w 1317625"/>
              <a:gd name="connsiteY1307" fmla="*/ 440266 h 1344613"/>
              <a:gd name="connsiteX1308" fmla="*/ 267012 w 1317625"/>
              <a:gd name="connsiteY1308" fmla="*/ 437091 h 1344613"/>
              <a:gd name="connsiteX1309" fmla="*/ 267873 w 1317625"/>
              <a:gd name="connsiteY1309" fmla="*/ 432328 h 1344613"/>
              <a:gd name="connsiteX1310" fmla="*/ 268733 w 1317625"/>
              <a:gd name="connsiteY1310" fmla="*/ 421216 h 1344613"/>
              <a:gd name="connsiteX1311" fmla="*/ 270455 w 1317625"/>
              <a:gd name="connsiteY1311" fmla="*/ 411162 h 1344613"/>
              <a:gd name="connsiteX1312" fmla="*/ 272607 w 1317625"/>
              <a:gd name="connsiteY1312" fmla="*/ 410632 h 1344613"/>
              <a:gd name="connsiteX1313" fmla="*/ 273898 w 1317625"/>
              <a:gd name="connsiteY1313" fmla="*/ 410103 h 1344613"/>
              <a:gd name="connsiteX1314" fmla="*/ 275620 w 1317625"/>
              <a:gd name="connsiteY1314" fmla="*/ 409045 h 1344613"/>
              <a:gd name="connsiteX1315" fmla="*/ 276480 w 1317625"/>
              <a:gd name="connsiteY1315" fmla="*/ 407457 h 1344613"/>
              <a:gd name="connsiteX1316" fmla="*/ 278202 w 1317625"/>
              <a:gd name="connsiteY1316" fmla="*/ 404282 h 1344613"/>
              <a:gd name="connsiteX1317" fmla="*/ 280784 w 1317625"/>
              <a:gd name="connsiteY1317" fmla="*/ 400578 h 1344613"/>
              <a:gd name="connsiteX1318" fmla="*/ 281645 w 1317625"/>
              <a:gd name="connsiteY1318" fmla="*/ 398991 h 1344613"/>
              <a:gd name="connsiteX1319" fmla="*/ 282936 w 1317625"/>
              <a:gd name="connsiteY1319" fmla="*/ 397403 h 1344613"/>
              <a:gd name="connsiteX1320" fmla="*/ 284658 w 1317625"/>
              <a:gd name="connsiteY1320" fmla="*/ 395816 h 1344613"/>
              <a:gd name="connsiteX1321" fmla="*/ 286379 w 1317625"/>
              <a:gd name="connsiteY1321" fmla="*/ 394757 h 1344613"/>
              <a:gd name="connsiteX1322" fmla="*/ 288962 w 1317625"/>
              <a:gd name="connsiteY1322" fmla="*/ 394228 h 1344613"/>
              <a:gd name="connsiteX1323" fmla="*/ 813329 w 1317625"/>
              <a:gd name="connsiteY1323" fmla="*/ 376238 h 1344613"/>
              <a:gd name="connsiteX1324" fmla="*/ 817827 w 1317625"/>
              <a:gd name="connsiteY1324" fmla="*/ 384082 h 1344613"/>
              <a:gd name="connsiteX1325" fmla="*/ 822325 w 1317625"/>
              <a:gd name="connsiteY1325" fmla="*/ 390806 h 1344613"/>
              <a:gd name="connsiteX1326" fmla="*/ 821875 w 1317625"/>
              <a:gd name="connsiteY1326" fmla="*/ 398650 h 1344613"/>
              <a:gd name="connsiteX1327" fmla="*/ 820526 w 1317625"/>
              <a:gd name="connsiteY1327" fmla="*/ 408735 h 1344613"/>
              <a:gd name="connsiteX1328" fmla="*/ 819626 w 1317625"/>
              <a:gd name="connsiteY1328" fmla="*/ 414338 h 1344613"/>
              <a:gd name="connsiteX1329" fmla="*/ 818727 w 1317625"/>
              <a:gd name="connsiteY1329" fmla="*/ 418820 h 1344613"/>
              <a:gd name="connsiteX1330" fmla="*/ 817377 w 1317625"/>
              <a:gd name="connsiteY1330" fmla="*/ 423303 h 1344613"/>
              <a:gd name="connsiteX1331" fmla="*/ 815578 w 1317625"/>
              <a:gd name="connsiteY1331" fmla="*/ 426665 h 1344613"/>
              <a:gd name="connsiteX1332" fmla="*/ 813779 w 1317625"/>
              <a:gd name="connsiteY1332" fmla="*/ 430026 h 1344613"/>
              <a:gd name="connsiteX1333" fmla="*/ 811980 w 1317625"/>
              <a:gd name="connsiteY1333" fmla="*/ 432267 h 1344613"/>
              <a:gd name="connsiteX1334" fmla="*/ 809281 w 1317625"/>
              <a:gd name="connsiteY1334" fmla="*/ 433388 h 1344613"/>
              <a:gd name="connsiteX1335" fmla="*/ 807482 w 1317625"/>
              <a:gd name="connsiteY1335" fmla="*/ 433388 h 1344613"/>
              <a:gd name="connsiteX1336" fmla="*/ 804333 w 1317625"/>
              <a:gd name="connsiteY1336" fmla="*/ 432267 h 1344613"/>
              <a:gd name="connsiteX1337" fmla="*/ 802084 w 1317625"/>
              <a:gd name="connsiteY1337" fmla="*/ 428906 h 1344613"/>
              <a:gd name="connsiteX1338" fmla="*/ 798486 w 1317625"/>
              <a:gd name="connsiteY1338" fmla="*/ 424423 h 1344613"/>
              <a:gd name="connsiteX1339" fmla="*/ 795337 w 1317625"/>
              <a:gd name="connsiteY1339" fmla="*/ 417700 h 1344613"/>
              <a:gd name="connsiteX1340" fmla="*/ 798036 w 1317625"/>
              <a:gd name="connsiteY1340" fmla="*/ 409856 h 1344613"/>
              <a:gd name="connsiteX1341" fmla="*/ 802084 w 1317625"/>
              <a:gd name="connsiteY1341" fmla="*/ 397529 h 1344613"/>
              <a:gd name="connsiteX1342" fmla="*/ 804333 w 1317625"/>
              <a:gd name="connsiteY1342" fmla="*/ 390806 h 1344613"/>
              <a:gd name="connsiteX1343" fmla="*/ 807482 w 1317625"/>
              <a:gd name="connsiteY1343" fmla="*/ 385203 h 1344613"/>
              <a:gd name="connsiteX1344" fmla="*/ 810181 w 1317625"/>
              <a:gd name="connsiteY1344" fmla="*/ 380720 h 1344613"/>
              <a:gd name="connsiteX1345" fmla="*/ 923153 w 1317625"/>
              <a:gd name="connsiteY1345" fmla="*/ 328613 h 1344613"/>
              <a:gd name="connsiteX1346" fmla="*/ 930447 w 1317625"/>
              <a:gd name="connsiteY1346" fmla="*/ 328613 h 1344613"/>
              <a:gd name="connsiteX1347" fmla="*/ 937312 w 1317625"/>
              <a:gd name="connsiteY1347" fmla="*/ 328613 h 1344613"/>
              <a:gd name="connsiteX1348" fmla="*/ 944177 w 1317625"/>
              <a:gd name="connsiteY1348" fmla="*/ 328613 h 1344613"/>
              <a:gd name="connsiteX1349" fmla="*/ 952329 w 1317625"/>
              <a:gd name="connsiteY1349" fmla="*/ 329118 h 1344613"/>
              <a:gd name="connsiteX1350" fmla="*/ 959193 w 1317625"/>
              <a:gd name="connsiteY1350" fmla="*/ 330127 h 1344613"/>
              <a:gd name="connsiteX1351" fmla="*/ 964342 w 1317625"/>
              <a:gd name="connsiteY1351" fmla="*/ 331640 h 1344613"/>
              <a:gd name="connsiteX1352" fmla="*/ 968633 w 1317625"/>
              <a:gd name="connsiteY1352" fmla="*/ 333154 h 1344613"/>
              <a:gd name="connsiteX1353" fmla="*/ 971636 w 1317625"/>
              <a:gd name="connsiteY1353" fmla="*/ 334668 h 1344613"/>
              <a:gd name="connsiteX1354" fmla="*/ 975498 w 1317625"/>
              <a:gd name="connsiteY1354" fmla="*/ 336181 h 1344613"/>
              <a:gd name="connsiteX1355" fmla="*/ 979359 w 1317625"/>
              <a:gd name="connsiteY1355" fmla="*/ 337190 h 1344613"/>
              <a:gd name="connsiteX1356" fmla="*/ 984079 w 1317625"/>
              <a:gd name="connsiteY1356" fmla="*/ 337695 h 1344613"/>
              <a:gd name="connsiteX1357" fmla="*/ 989656 w 1317625"/>
              <a:gd name="connsiteY1357" fmla="*/ 338200 h 1344613"/>
              <a:gd name="connsiteX1358" fmla="*/ 999525 w 1317625"/>
              <a:gd name="connsiteY1358" fmla="*/ 338200 h 1344613"/>
              <a:gd name="connsiteX1359" fmla="*/ 1004244 w 1317625"/>
              <a:gd name="connsiteY1359" fmla="*/ 338200 h 1344613"/>
              <a:gd name="connsiteX1360" fmla="*/ 1008535 w 1317625"/>
              <a:gd name="connsiteY1360" fmla="*/ 337695 h 1344613"/>
              <a:gd name="connsiteX1361" fmla="*/ 1010251 w 1317625"/>
              <a:gd name="connsiteY1361" fmla="*/ 337190 h 1344613"/>
              <a:gd name="connsiteX1362" fmla="*/ 1011538 w 1317625"/>
              <a:gd name="connsiteY1362" fmla="*/ 336686 h 1344613"/>
              <a:gd name="connsiteX1363" fmla="*/ 1012396 w 1317625"/>
              <a:gd name="connsiteY1363" fmla="*/ 335677 h 1344613"/>
              <a:gd name="connsiteX1364" fmla="*/ 1012825 w 1317625"/>
              <a:gd name="connsiteY1364" fmla="*/ 334668 h 1344613"/>
              <a:gd name="connsiteX1365" fmla="*/ 1011967 w 1317625"/>
              <a:gd name="connsiteY1365" fmla="*/ 343245 h 1344613"/>
              <a:gd name="connsiteX1366" fmla="*/ 1010251 w 1317625"/>
              <a:gd name="connsiteY1366" fmla="*/ 353841 h 1344613"/>
              <a:gd name="connsiteX1367" fmla="*/ 1009822 w 1317625"/>
              <a:gd name="connsiteY1367" fmla="*/ 360400 h 1344613"/>
              <a:gd name="connsiteX1368" fmla="*/ 1009822 w 1317625"/>
              <a:gd name="connsiteY1368" fmla="*/ 368977 h 1344613"/>
              <a:gd name="connsiteX1369" fmla="*/ 1011109 w 1317625"/>
              <a:gd name="connsiteY1369" fmla="*/ 380077 h 1344613"/>
              <a:gd name="connsiteX1370" fmla="*/ 1012825 w 1317625"/>
              <a:gd name="connsiteY1370" fmla="*/ 393700 h 1344613"/>
              <a:gd name="connsiteX1371" fmla="*/ 1011014 w 1317625"/>
              <a:gd name="connsiteY1371" fmla="*/ 393294 h 1344613"/>
              <a:gd name="connsiteX1372" fmla="*/ 1011795 w 1317625"/>
              <a:gd name="connsiteY1372" fmla="*/ 394955 h 1344613"/>
              <a:gd name="connsiteX1373" fmla="*/ 1016171 w 1317625"/>
              <a:gd name="connsiteY1373" fmla="*/ 405809 h 1344613"/>
              <a:gd name="connsiteX1374" fmla="*/ 1021861 w 1317625"/>
              <a:gd name="connsiteY1374" fmla="*/ 419765 h 1344613"/>
              <a:gd name="connsiteX1375" fmla="*/ 1027112 w 1317625"/>
              <a:gd name="connsiteY1375" fmla="*/ 431136 h 1344613"/>
              <a:gd name="connsiteX1376" fmla="*/ 997791 w 1317625"/>
              <a:gd name="connsiteY1376" fmla="*/ 447675 h 1344613"/>
              <a:gd name="connsiteX1377" fmla="*/ 994290 w 1317625"/>
              <a:gd name="connsiteY1377" fmla="*/ 446641 h 1344613"/>
              <a:gd name="connsiteX1378" fmla="*/ 993202 w 1317625"/>
              <a:gd name="connsiteY1378" fmla="*/ 446356 h 1344613"/>
              <a:gd name="connsiteX1379" fmla="*/ 994518 w 1317625"/>
              <a:gd name="connsiteY1379" fmla="*/ 447624 h 1344613"/>
              <a:gd name="connsiteX1380" fmla="*/ 995362 w 1317625"/>
              <a:gd name="connsiteY1380" fmla="*/ 449795 h 1344613"/>
              <a:gd name="connsiteX1381" fmla="*/ 995362 w 1317625"/>
              <a:gd name="connsiteY1381" fmla="*/ 452509 h 1344613"/>
              <a:gd name="connsiteX1382" fmla="*/ 978470 w 1317625"/>
              <a:gd name="connsiteY1382" fmla="*/ 472594 h 1344613"/>
              <a:gd name="connsiteX1383" fmla="*/ 977203 w 1317625"/>
              <a:gd name="connsiteY1383" fmla="*/ 473137 h 1344613"/>
              <a:gd name="connsiteX1384" fmla="*/ 976358 w 1317625"/>
              <a:gd name="connsiteY1384" fmla="*/ 475308 h 1344613"/>
              <a:gd name="connsiteX1385" fmla="*/ 975091 w 1317625"/>
              <a:gd name="connsiteY1385" fmla="*/ 478022 h 1344613"/>
              <a:gd name="connsiteX1386" fmla="*/ 973402 w 1317625"/>
              <a:gd name="connsiteY1386" fmla="*/ 481279 h 1344613"/>
              <a:gd name="connsiteX1387" fmla="*/ 971290 w 1317625"/>
              <a:gd name="connsiteY1387" fmla="*/ 487793 h 1344613"/>
              <a:gd name="connsiteX1388" fmla="*/ 970446 w 1317625"/>
              <a:gd name="connsiteY1388" fmla="*/ 492136 h 1344613"/>
              <a:gd name="connsiteX1389" fmla="*/ 968394 w 1317625"/>
              <a:gd name="connsiteY1389" fmla="*/ 493191 h 1344613"/>
              <a:gd name="connsiteX1390" fmla="*/ 969030 w 1317625"/>
              <a:gd name="connsiteY1390" fmla="*/ 492987 h 1344613"/>
              <a:gd name="connsiteX1391" fmla="*/ 974215 w 1317625"/>
              <a:gd name="connsiteY1391" fmla="*/ 490914 h 1344613"/>
              <a:gd name="connsiteX1392" fmla="*/ 974215 w 1317625"/>
              <a:gd name="connsiteY1392" fmla="*/ 489878 h 1344613"/>
              <a:gd name="connsiteX1393" fmla="*/ 975079 w 1317625"/>
              <a:gd name="connsiteY1393" fmla="*/ 488323 h 1344613"/>
              <a:gd name="connsiteX1394" fmla="*/ 975943 w 1317625"/>
              <a:gd name="connsiteY1394" fmla="*/ 486768 h 1344613"/>
              <a:gd name="connsiteX1395" fmla="*/ 977239 w 1317625"/>
              <a:gd name="connsiteY1395" fmla="*/ 485213 h 1344613"/>
              <a:gd name="connsiteX1396" fmla="*/ 978967 w 1317625"/>
              <a:gd name="connsiteY1396" fmla="*/ 483659 h 1344613"/>
              <a:gd name="connsiteX1397" fmla="*/ 980263 w 1317625"/>
              <a:gd name="connsiteY1397" fmla="*/ 482622 h 1344613"/>
              <a:gd name="connsiteX1398" fmla="*/ 981128 w 1317625"/>
              <a:gd name="connsiteY1398" fmla="*/ 482104 h 1344613"/>
              <a:gd name="connsiteX1399" fmla="*/ 982424 w 1317625"/>
              <a:gd name="connsiteY1399" fmla="*/ 481586 h 1344613"/>
              <a:gd name="connsiteX1400" fmla="*/ 982424 w 1317625"/>
              <a:gd name="connsiteY1400" fmla="*/ 475367 h 1344613"/>
              <a:gd name="connsiteX1401" fmla="*/ 982424 w 1317625"/>
              <a:gd name="connsiteY1401" fmla="*/ 472775 h 1344613"/>
              <a:gd name="connsiteX1402" fmla="*/ 982856 w 1317625"/>
              <a:gd name="connsiteY1402" fmla="*/ 470702 h 1344613"/>
              <a:gd name="connsiteX1403" fmla="*/ 983720 w 1317625"/>
              <a:gd name="connsiteY1403" fmla="*/ 469666 h 1344613"/>
              <a:gd name="connsiteX1404" fmla="*/ 984152 w 1317625"/>
              <a:gd name="connsiteY1404" fmla="*/ 468629 h 1344613"/>
              <a:gd name="connsiteX1405" fmla="*/ 985448 w 1317625"/>
              <a:gd name="connsiteY1405" fmla="*/ 468111 h 1344613"/>
              <a:gd name="connsiteX1406" fmla="*/ 987176 w 1317625"/>
              <a:gd name="connsiteY1406" fmla="*/ 468629 h 1344613"/>
              <a:gd name="connsiteX1407" fmla="*/ 989337 w 1317625"/>
              <a:gd name="connsiteY1407" fmla="*/ 469148 h 1344613"/>
              <a:gd name="connsiteX1408" fmla="*/ 991065 w 1317625"/>
              <a:gd name="connsiteY1408" fmla="*/ 469148 h 1344613"/>
              <a:gd name="connsiteX1409" fmla="*/ 991929 w 1317625"/>
              <a:gd name="connsiteY1409" fmla="*/ 469148 h 1344613"/>
              <a:gd name="connsiteX1410" fmla="*/ 992361 w 1317625"/>
              <a:gd name="connsiteY1410" fmla="*/ 468629 h 1344613"/>
              <a:gd name="connsiteX1411" fmla="*/ 993657 w 1317625"/>
              <a:gd name="connsiteY1411" fmla="*/ 467593 h 1344613"/>
              <a:gd name="connsiteX1412" fmla="*/ 994089 w 1317625"/>
              <a:gd name="connsiteY1412" fmla="*/ 465520 h 1344613"/>
              <a:gd name="connsiteX1413" fmla="*/ 994522 w 1317625"/>
              <a:gd name="connsiteY1413" fmla="*/ 462410 h 1344613"/>
              <a:gd name="connsiteX1414" fmla="*/ 995818 w 1317625"/>
              <a:gd name="connsiteY1414" fmla="*/ 458264 h 1344613"/>
              <a:gd name="connsiteX1415" fmla="*/ 996682 w 1317625"/>
              <a:gd name="connsiteY1415" fmla="*/ 456191 h 1344613"/>
              <a:gd name="connsiteX1416" fmla="*/ 997978 w 1317625"/>
              <a:gd name="connsiteY1416" fmla="*/ 454636 h 1344613"/>
              <a:gd name="connsiteX1417" fmla="*/ 998842 w 1317625"/>
              <a:gd name="connsiteY1417" fmla="*/ 453600 h 1344613"/>
              <a:gd name="connsiteX1418" fmla="*/ 999706 w 1317625"/>
              <a:gd name="connsiteY1418" fmla="*/ 453082 h 1344613"/>
              <a:gd name="connsiteX1419" fmla="*/ 1028654 w 1317625"/>
              <a:gd name="connsiteY1419" fmla="*/ 433388 h 1344613"/>
              <a:gd name="connsiteX1420" fmla="*/ 1025630 w 1317625"/>
              <a:gd name="connsiteY1420" fmla="*/ 436498 h 1344613"/>
              <a:gd name="connsiteX1421" fmla="*/ 1045505 w 1317625"/>
              <a:gd name="connsiteY1421" fmla="*/ 443753 h 1344613"/>
              <a:gd name="connsiteX1422" fmla="*/ 1062787 w 1317625"/>
              <a:gd name="connsiteY1422" fmla="*/ 443753 h 1344613"/>
              <a:gd name="connsiteX1423" fmla="*/ 1066244 w 1317625"/>
              <a:gd name="connsiteY1423" fmla="*/ 456191 h 1344613"/>
              <a:gd name="connsiteX1424" fmla="*/ 1083094 w 1317625"/>
              <a:gd name="connsiteY1424" fmla="*/ 449972 h 1344613"/>
              <a:gd name="connsiteX1425" fmla="*/ 1097352 w 1317625"/>
              <a:gd name="connsiteY1425" fmla="*/ 456191 h 1344613"/>
              <a:gd name="connsiteX1426" fmla="*/ 1100377 w 1317625"/>
              <a:gd name="connsiteY1426" fmla="*/ 481586 h 1344613"/>
              <a:gd name="connsiteX1427" fmla="*/ 1120252 w 1317625"/>
              <a:gd name="connsiteY1427" fmla="*/ 501279 h 1344613"/>
              <a:gd name="connsiteX1428" fmla="*/ 1134942 w 1317625"/>
              <a:gd name="connsiteY1428" fmla="*/ 510608 h 1344613"/>
              <a:gd name="connsiteX1429" fmla="*/ 1146175 w 1317625"/>
              <a:gd name="connsiteY1429" fmla="*/ 519937 h 1344613"/>
              <a:gd name="connsiteX1430" fmla="*/ 1134942 w 1317625"/>
              <a:gd name="connsiteY1430" fmla="*/ 529783 h 1344613"/>
              <a:gd name="connsiteX1431" fmla="*/ 1114635 w 1317625"/>
              <a:gd name="connsiteY1431" fmla="*/ 523046 h 1344613"/>
              <a:gd name="connsiteX1432" fmla="*/ 1117227 w 1317625"/>
              <a:gd name="connsiteY1432" fmla="*/ 536002 h 1344613"/>
              <a:gd name="connsiteX1433" fmla="*/ 1123708 w 1317625"/>
              <a:gd name="connsiteY1433" fmla="*/ 542221 h 1344613"/>
              <a:gd name="connsiteX1434" fmla="*/ 1123708 w 1317625"/>
              <a:gd name="connsiteY1434" fmla="*/ 557728 h 1344613"/>
              <a:gd name="connsiteX1435" fmla="*/ 1124736 w 1317625"/>
              <a:gd name="connsiteY1435" fmla="*/ 557728 h 1344613"/>
              <a:gd name="connsiteX1436" fmla="*/ 1138638 w 1317625"/>
              <a:gd name="connsiteY1436" fmla="*/ 557728 h 1344613"/>
              <a:gd name="connsiteX1437" fmla="*/ 1147326 w 1317625"/>
              <a:gd name="connsiteY1437" fmla="*/ 550863 h 1344613"/>
              <a:gd name="connsiteX1438" fmla="*/ 1167311 w 1317625"/>
              <a:gd name="connsiteY1438" fmla="*/ 550863 h 1344613"/>
              <a:gd name="connsiteX1439" fmla="*/ 1175999 w 1317625"/>
              <a:gd name="connsiteY1439" fmla="*/ 557728 h 1344613"/>
              <a:gd name="connsiteX1440" fmla="*/ 1188163 w 1317625"/>
              <a:gd name="connsiteY1440" fmla="*/ 570929 h 1344613"/>
              <a:gd name="connsiteX1441" fmla="*/ 1182081 w 1317625"/>
              <a:gd name="connsiteY1441" fmla="*/ 584129 h 1344613"/>
              <a:gd name="connsiteX1442" fmla="*/ 1205106 w 1317625"/>
              <a:gd name="connsiteY1442" fmla="*/ 584129 h 1344613"/>
              <a:gd name="connsiteX1443" fmla="*/ 1213795 w 1317625"/>
              <a:gd name="connsiteY1443" fmla="*/ 609475 h 1344613"/>
              <a:gd name="connsiteX1444" fmla="*/ 1225090 w 1317625"/>
              <a:gd name="connsiteY1444" fmla="*/ 606307 h 1344613"/>
              <a:gd name="connsiteX1445" fmla="*/ 1237255 w 1317625"/>
              <a:gd name="connsiteY1445" fmla="*/ 616340 h 1344613"/>
              <a:gd name="connsiteX1446" fmla="*/ 1251591 w 1317625"/>
              <a:gd name="connsiteY1446" fmla="*/ 609475 h 1344613"/>
              <a:gd name="connsiteX1447" fmla="*/ 1265927 w 1317625"/>
              <a:gd name="connsiteY1447" fmla="*/ 622676 h 1344613"/>
              <a:gd name="connsiteX1448" fmla="*/ 1282870 w 1317625"/>
              <a:gd name="connsiteY1448" fmla="*/ 622676 h 1344613"/>
              <a:gd name="connsiteX1449" fmla="*/ 1300682 w 1317625"/>
              <a:gd name="connsiteY1449" fmla="*/ 632709 h 1344613"/>
              <a:gd name="connsiteX1450" fmla="*/ 1317625 w 1317625"/>
              <a:gd name="connsiteY1450" fmla="*/ 639046 h 1344613"/>
              <a:gd name="connsiteX1451" fmla="*/ 1315019 w 1317625"/>
              <a:gd name="connsiteY1451" fmla="*/ 655415 h 1344613"/>
              <a:gd name="connsiteX1452" fmla="*/ 1311978 w 1317625"/>
              <a:gd name="connsiteY1452" fmla="*/ 674952 h 1344613"/>
              <a:gd name="connsiteX1453" fmla="*/ 1317625 w 1317625"/>
              <a:gd name="connsiteY1453" fmla="*/ 687625 h 1344613"/>
              <a:gd name="connsiteX1454" fmla="*/ 1303289 w 1317625"/>
              <a:gd name="connsiteY1454" fmla="*/ 687625 h 1344613"/>
              <a:gd name="connsiteX1455" fmla="*/ 1285911 w 1317625"/>
              <a:gd name="connsiteY1455" fmla="*/ 694490 h 1344613"/>
              <a:gd name="connsiteX1456" fmla="*/ 1282870 w 1317625"/>
              <a:gd name="connsiteY1456" fmla="*/ 710859 h 1344613"/>
              <a:gd name="connsiteX1457" fmla="*/ 1274182 w 1317625"/>
              <a:gd name="connsiteY1457" fmla="*/ 714027 h 1344613"/>
              <a:gd name="connsiteX1458" fmla="*/ 1264190 w 1317625"/>
              <a:gd name="connsiteY1458" fmla="*/ 716139 h 1344613"/>
              <a:gd name="connsiteX1459" fmla="*/ 1254198 w 1317625"/>
              <a:gd name="connsiteY1459" fmla="*/ 718779 h 1344613"/>
              <a:gd name="connsiteX1460" fmla="*/ 1244640 w 1317625"/>
              <a:gd name="connsiteY1460" fmla="*/ 721948 h 1344613"/>
              <a:gd name="connsiteX1461" fmla="*/ 1235517 w 1317625"/>
              <a:gd name="connsiteY1461" fmla="*/ 725116 h 1344613"/>
              <a:gd name="connsiteX1462" fmla="*/ 1232041 w 1317625"/>
              <a:gd name="connsiteY1462" fmla="*/ 727228 h 1344613"/>
              <a:gd name="connsiteX1463" fmla="*/ 1228132 w 1317625"/>
              <a:gd name="connsiteY1463" fmla="*/ 728812 h 1344613"/>
              <a:gd name="connsiteX1464" fmla="*/ 1224656 w 1317625"/>
              <a:gd name="connsiteY1464" fmla="*/ 731980 h 1344613"/>
              <a:gd name="connsiteX1465" fmla="*/ 1221615 w 1317625"/>
              <a:gd name="connsiteY1465" fmla="*/ 734092 h 1344613"/>
              <a:gd name="connsiteX1466" fmla="*/ 1219877 w 1317625"/>
              <a:gd name="connsiteY1466" fmla="*/ 736733 h 1344613"/>
              <a:gd name="connsiteX1467" fmla="*/ 1218139 w 1317625"/>
              <a:gd name="connsiteY1467" fmla="*/ 739901 h 1344613"/>
              <a:gd name="connsiteX1468" fmla="*/ 1217271 w 1317625"/>
              <a:gd name="connsiteY1468" fmla="*/ 743069 h 1344613"/>
              <a:gd name="connsiteX1469" fmla="*/ 1216402 w 1317625"/>
              <a:gd name="connsiteY1469" fmla="*/ 746237 h 1344613"/>
              <a:gd name="connsiteX1470" fmla="*/ 1217271 w 1317625"/>
              <a:gd name="connsiteY1470" fmla="*/ 748878 h 1344613"/>
              <a:gd name="connsiteX1471" fmla="*/ 1217705 w 1317625"/>
              <a:gd name="connsiteY1471" fmla="*/ 751518 h 1344613"/>
              <a:gd name="connsiteX1472" fmla="*/ 1219008 w 1317625"/>
              <a:gd name="connsiteY1472" fmla="*/ 754158 h 1344613"/>
              <a:gd name="connsiteX1473" fmla="*/ 1220312 w 1317625"/>
              <a:gd name="connsiteY1473" fmla="*/ 756798 h 1344613"/>
              <a:gd name="connsiteX1474" fmla="*/ 1221615 w 1317625"/>
              <a:gd name="connsiteY1474" fmla="*/ 759438 h 1344613"/>
              <a:gd name="connsiteX1475" fmla="*/ 1223787 w 1317625"/>
              <a:gd name="connsiteY1475" fmla="*/ 761550 h 1344613"/>
              <a:gd name="connsiteX1476" fmla="*/ 1225959 w 1317625"/>
              <a:gd name="connsiteY1476" fmla="*/ 762607 h 1344613"/>
              <a:gd name="connsiteX1477" fmla="*/ 1228132 w 1317625"/>
              <a:gd name="connsiteY1477" fmla="*/ 763135 h 1344613"/>
              <a:gd name="connsiteX1478" fmla="*/ 1237255 w 1317625"/>
              <a:gd name="connsiteY1478" fmla="*/ 762078 h 1344613"/>
              <a:gd name="connsiteX1479" fmla="*/ 1245509 w 1317625"/>
              <a:gd name="connsiteY1479" fmla="*/ 759966 h 1344613"/>
              <a:gd name="connsiteX1480" fmla="*/ 1249853 w 1317625"/>
              <a:gd name="connsiteY1480" fmla="*/ 759438 h 1344613"/>
              <a:gd name="connsiteX1481" fmla="*/ 1254198 w 1317625"/>
              <a:gd name="connsiteY1481" fmla="*/ 758910 h 1344613"/>
              <a:gd name="connsiteX1482" fmla="*/ 1258542 w 1317625"/>
              <a:gd name="connsiteY1482" fmla="*/ 758910 h 1344613"/>
              <a:gd name="connsiteX1483" fmla="*/ 1262886 w 1317625"/>
              <a:gd name="connsiteY1483" fmla="*/ 759966 h 1344613"/>
              <a:gd name="connsiteX1484" fmla="*/ 1258976 w 1317625"/>
              <a:gd name="connsiteY1484" fmla="*/ 761550 h 1344613"/>
              <a:gd name="connsiteX1485" fmla="*/ 1255501 w 1317625"/>
              <a:gd name="connsiteY1485" fmla="*/ 763663 h 1344613"/>
              <a:gd name="connsiteX1486" fmla="*/ 1252894 w 1317625"/>
              <a:gd name="connsiteY1486" fmla="*/ 766303 h 1344613"/>
              <a:gd name="connsiteX1487" fmla="*/ 1249853 w 1317625"/>
              <a:gd name="connsiteY1487" fmla="*/ 769471 h 1344613"/>
              <a:gd name="connsiteX1488" fmla="*/ 1247681 w 1317625"/>
              <a:gd name="connsiteY1488" fmla="*/ 773167 h 1344613"/>
              <a:gd name="connsiteX1489" fmla="*/ 1245074 w 1317625"/>
              <a:gd name="connsiteY1489" fmla="*/ 776336 h 1344613"/>
              <a:gd name="connsiteX1490" fmla="*/ 1242902 w 1317625"/>
              <a:gd name="connsiteY1490" fmla="*/ 779504 h 1344613"/>
              <a:gd name="connsiteX1491" fmla="*/ 1239861 w 1317625"/>
              <a:gd name="connsiteY1491" fmla="*/ 782144 h 1344613"/>
              <a:gd name="connsiteX1492" fmla="*/ 1238558 w 1317625"/>
              <a:gd name="connsiteY1492" fmla="*/ 777920 h 1344613"/>
              <a:gd name="connsiteX1493" fmla="*/ 1237689 w 1317625"/>
              <a:gd name="connsiteY1493" fmla="*/ 774751 h 1344613"/>
              <a:gd name="connsiteX1494" fmla="*/ 1235951 w 1317625"/>
              <a:gd name="connsiteY1494" fmla="*/ 772111 h 1344613"/>
              <a:gd name="connsiteX1495" fmla="*/ 1235082 w 1317625"/>
              <a:gd name="connsiteY1495" fmla="*/ 770527 h 1344613"/>
              <a:gd name="connsiteX1496" fmla="*/ 1232041 w 1317625"/>
              <a:gd name="connsiteY1496" fmla="*/ 768415 h 1344613"/>
              <a:gd name="connsiteX1497" fmla="*/ 1228132 w 1317625"/>
              <a:gd name="connsiteY1497" fmla="*/ 766303 h 1344613"/>
              <a:gd name="connsiteX1498" fmla="*/ 1228132 w 1317625"/>
              <a:gd name="connsiteY1498" fmla="*/ 768943 h 1344613"/>
              <a:gd name="connsiteX1499" fmla="*/ 1227263 w 1317625"/>
              <a:gd name="connsiteY1499" fmla="*/ 771583 h 1344613"/>
              <a:gd name="connsiteX1500" fmla="*/ 1225959 w 1317625"/>
              <a:gd name="connsiteY1500" fmla="*/ 774223 h 1344613"/>
              <a:gd name="connsiteX1501" fmla="*/ 1224656 w 1317625"/>
              <a:gd name="connsiteY1501" fmla="*/ 776336 h 1344613"/>
              <a:gd name="connsiteX1502" fmla="*/ 1220746 w 1317625"/>
              <a:gd name="connsiteY1502" fmla="*/ 780560 h 1344613"/>
              <a:gd name="connsiteX1503" fmla="*/ 1215967 w 1317625"/>
              <a:gd name="connsiteY1503" fmla="*/ 784256 h 1344613"/>
              <a:gd name="connsiteX1504" fmla="*/ 1211623 w 1317625"/>
              <a:gd name="connsiteY1504" fmla="*/ 788480 h 1344613"/>
              <a:gd name="connsiteX1505" fmla="*/ 1207713 w 1317625"/>
              <a:gd name="connsiteY1505" fmla="*/ 791649 h 1344613"/>
              <a:gd name="connsiteX1506" fmla="*/ 1205541 w 1317625"/>
              <a:gd name="connsiteY1506" fmla="*/ 793761 h 1344613"/>
              <a:gd name="connsiteX1507" fmla="*/ 1204238 w 1317625"/>
              <a:gd name="connsiteY1507" fmla="*/ 795345 h 1344613"/>
              <a:gd name="connsiteX1508" fmla="*/ 1202934 w 1317625"/>
              <a:gd name="connsiteY1508" fmla="*/ 796929 h 1344613"/>
              <a:gd name="connsiteX1509" fmla="*/ 1202065 w 1317625"/>
              <a:gd name="connsiteY1509" fmla="*/ 798513 h 1344613"/>
              <a:gd name="connsiteX1510" fmla="*/ 1199459 w 1317625"/>
              <a:gd name="connsiteY1510" fmla="*/ 797985 h 1344613"/>
              <a:gd name="connsiteX1511" fmla="*/ 1197287 w 1317625"/>
              <a:gd name="connsiteY1511" fmla="*/ 796929 h 1344613"/>
              <a:gd name="connsiteX1512" fmla="*/ 1195114 w 1317625"/>
              <a:gd name="connsiteY1512" fmla="*/ 795873 h 1344613"/>
              <a:gd name="connsiteX1513" fmla="*/ 1193377 w 1317625"/>
              <a:gd name="connsiteY1513" fmla="*/ 794289 h 1344613"/>
              <a:gd name="connsiteX1514" fmla="*/ 1191639 w 1317625"/>
              <a:gd name="connsiteY1514" fmla="*/ 793233 h 1344613"/>
              <a:gd name="connsiteX1515" fmla="*/ 1190336 w 1317625"/>
              <a:gd name="connsiteY1515" fmla="*/ 791121 h 1344613"/>
              <a:gd name="connsiteX1516" fmla="*/ 1189467 w 1317625"/>
              <a:gd name="connsiteY1516" fmla="*/ 789536 h 1344613"/>
              <a:gd name="connsiteX1517" fmla="*/ 1188163 w 1317625"/>
              <a:gd name="connsiteY1517" fmla="*/ 786896 h 1344613"/>
              <a:gd name="connsiteX1518" fmla="*/ 1186426 w 1317625"/>
              <a:gd name="connsiteY1518" fmla="*/ 782672 h 1344613"/>
              <a:gd name="connsiteX1519" fmla="*/ 1185557 w 1317625"/>
              <a:gd name="connsiteY1519" fmla="*/ 777392 h 1344613"/>
              <a:gd name="connsiteX1520" fmla="*/ 1185122 w 1317625"/>
              <a:gd name="connsiteY1520" fmla="*/ 772111 h 1344613"/>
              <a:gd name="connsiteX1521" fmla="*/ 1185122 w 1317625"/>
              <a:gd name="connsiteY1521" fmla="*/ 766303 h 1344613"/>
              <a:gd name="connsiteX1522" fmla="*/ 1181212 w 1317625"/>
              <a:gd name="connsiteY1522" fmla="*/ 765775 h 1344613"/>
              <a:gd name="connsiteX1523" fmla="*/ 1177737 w 1317625"/>
              <a:gd name="connsiteY1523" fmla="*/ 765247 h 1344613"/>
              <a:gd name="connsiteX1524" fmla="*/ 1174696 w 1317625"/>
              <a:gd name="connsiteY1524" fmla="*/ 764191 h 1344613"/>
              <a:gd name="connsiteX1525" fmla="*/ 1171220 w 1317625"/>
              <a:gd name="connsiteY1525" fmla="*/ 762607 h 1344613"/>
              <a:gd name="connsiteX1526" fmla="*/ 1165573 w 1317625"/>
              <a:gd name="connsiteY1526" fmla="*/ 759438 h 1344613"/>
              <a:gd name="connsiteX1527" fmla="*/ 1161663 w 1317625"/>
              <a:gd name="connsiteY1527" fmla="*/ 756270 h 1344613"/>
              <a:gd name="connsiteX1528" fmla="*/ 1167745 w 1317625"/>
              <a:gd name="connsiteY1528" fmla="*/ 754158 h 1344613"/>
              <a:gd name="connsiteX1529" fmla="*/ 1174262 w 1317625"/>
              <a:gd name="connsiteY1529" fmla="*/ 752046 h 1344613"/>
              <a:gd name="connsiteX1530" fmla="*/ 1179475 w 1317625"/>
              <a:gd name="connsiteY1530" fmla="*/ 750990 h 1344613"/>
              <a:gd name="connsiteX1531" fmla="*/ 1185122 w 1317625"/>
              <a:gd name="connsiteY1531" fmla="*/ 749934 h 1344613"/>
              <a:gd name="connsiteX1532" fmla="*/ 1195983 w 1317625"/>
              <a:gd name="connsiteY1532" fmla="*/ 748349 h 1344613"/>
              <a:gd name="connsiteX1533" fmla="*/ 1208147 w 1317625"/>
              <a:gd name="connsiteY1533" fmla="*/ 746237 h 1344613"/>
              <a:gd name="connsiteX1534" fmla="*/ 1159056 w 1317625"/>
              <a:gd name="connsiteY1534" fmla="*/ 746237 h 1344613"/>
              <a:gd name="connsiteX1535" fmla="*/ 1155146 w 1317625"/>
              <a:gd name="connsiteY1535" fmla="*/ 742013 h 1344613"/>
              <a:gd name="connsiteX1536" fmla="*/ 1150802 w 1317625"/>
              <a:gd name="connsiteY1536" fmla="*/ 737789 h 1344613"/>
              <a:gd name="connsiteX1537" fmla="*/ 1145589 w 1317625"/>
              <a:gd name="connsiteY1537" fmla="*/ 734620 h 1344613"/>
              <a:gd name="connsiteX1538" fmla="*/ 1140376 w 1317625"/>
              <a:gd name="connsiteY1538" fmla="*/ 731452 h 1344613"/>
              <a:gd name="connsiteX1539" fmla="*/ 1129949 w 1317625"/>
              <a:gd name="connsiteY1539" fmla="*/ 726700 h 1344613"/>
              <a:gd name="connsiteX1540" fmla="*/ 1121260 w 1317625"/>
              <a:gd name="connsiteY1540" fmla="*/ 723532 h 1344613"/>
              <a:gd name="connsiteX1541" fmla="*/ 1115613 w 1317625"/>
              <a:gd name="connsiteY1541" fmla="*/ 735677 h 1344613"/>
              <a:gd name="connsiteX1542" fmla="*/ 1109531 w 1317625"/>
              <a:gd name="connsiteY1542" fmla="*/ 745709 h 1344613"/>
              <a:gd name="connsiteX1543" fmla="*/ 1107358 w 1317625"/>
              <a:gd name="connsiteY1543" fmla="*/ 750462 h 1344613"/>
              <a:gd name="connsiteX1544" fmla="*/ 1104317 w 1317625"/>
              <a:gd name="connsiteY1544" fmla="*/ 754686 h 1344613"/>
              <a:gd name="connsiteX1545" fmla="*/ 1101711 w 1317625"/>
              <a:gd name="connsiteY1545" fmla="*/ 759438 h 1344613"/>
              <a:gd name="connsiteX1546" fmla="*/ 1098235 w 1317625"/>
              <a:gd name="connsiteY1546" fmla="*/ 763135 h 1344613"/>
              <a:gd name="connsiteX1547" fmla="*/ 1093891 w 1317625"/>
              <a:gd name="connsiteY1547" fmla="*/ 762607 h 1344613"/>
              <a:gd name="connsiteX1548" fmla="*/ 1092780 w 1317625"/>
              <a:gd name="connsiteY1548" fmla="*/ 762457 h 1344613"/>
              <a:gd name="connsiteX1549" fmla="*/ 1090833 w 1317625"/>
              <a:gd name="connsiteY1549" fmla="*/ 765572 h 1344613"/>
              <a:gd name="connsiteX1550" fmla="*/ 1087034 w 1317625"/>
              <a:gd name="connsiteY1550" fmla="*/ 770299 h 1344613"/>
              <a:gd name="connsiteX1551" fmla="*/ 1082391 w 1317625"/>
              <a:gd name="connsiteY1551" fmla="*/ 775027 h 1344613"/>
              <a:gd name="connsiteX1552" fmla="*/ 1076904 w 1317625"/>
              <a:gd name="connsiteY1552" fmla="*/ 779754 h 1344613"/>
              <a:gd name="connsiteX1553" fmla="*/ 1076060 w 1317625"/>
              <a:gd name="connsiteY1553" fmla="*/ 784482 h 1344613"/>
              <a:gd name="connsiteX1554" fmla="*/ 1076060 w 1317625"/>
              <a:gd name="connsiteY1554" fmla="*/ 788684 h 1344613"/>
              <a:gd name="connsiteX1555" fmla="*/ 1076482 w 1317625"/>
              <a:gd name="connsiteY1555" fmla="*/ 792361 h 1344613"/>
              <a:gd name="connsiteX1556" fmla="*/ 1076904 w 1317625"/>
              <a:gd name="connsiteY1556" fmla="*/ 795513 h 1344613"/>
              <a:gd name="connsiteX1557" fmla="*/ 1078592 w 1317625"/>
              <a:gd name="connsiteY1557" fmla="*/ 800765 h 1344613"/>
              <a:gd name="connsiteX1558" fmla="*/ 1079858 w 1317625"/>
              <a:gd name="connsiteY1558" fmla="*/ 805493 h 1344613"/>
              <a:gd name="connsiteX1559" fmla="*/ 1072683 w 1317625"/>
              <a:gd name="connsiteY1559" fmla="*/ 804442 h 1344613"/>
              <a:gd name="connsiteX1560" fmla="*/ 1064663 w 1317625"/>
              <a:gd name="connsiteY1560" fmla="*/ 802341 h 1344613"/>
              <a:gd name="connsiteX1561" fmla="*/ 1060864 w 1317625"/>
              <a:gd name="connsiteY1561" fmla="*/ 801291 h 1344613"/>
              <a:gd name="connsiteX1562" fmla="*/ 1056221 w 1317625"/>
              <a:gd name="connsiteY1562" fmla="*/ 800240 h 1344613"/>
              <a:gd name="connsiteX1563" fmla="*/ 1051156 w 1317625"/>
              <a:gd name="connsiteY1563" fmla="*/ 799715 h 1344613"/>
              <a:gd name="connsiteX1564" fmla="*/ 1045669 w 1317625"/>
              <a:gd name="connsiteY1564" fmla="*/ 799190 h 1344613"/>
              <a:gd name="connsiteX1565" fmla="*/ 1038916 w 1317625"/>
              <a:gd name="connsiteY1565" fmla="*/ 799715 h 1344613"/>
              <a:gd name="connsiteX1566" fmla="*/ 1031740 w 1317625"/>
              <a:gd name="connsiteY1566" fmla="*/ 801291 h 1344613"/>
              <a:gd name="connsiteX1567" fmla="*/ 1030055 w 1317625"/>
              <a:gd name="connsiteY1567" fmla="*/ 801990 h 1344613"/>
              <a:gd name="connsiteX1568" fmla="*/ 1036112 w 1317625"/>
              <a:gd name="connsiteY1568" fmla="*/ 800641 h 1344613"/>
              <a:gd name="connsiteX1569" fmla="*/ 1042972 w 1317625"/>
              <a:gd name="connsiteY1569" fmla="*/ 800100 h 1344613"/>
              <a:gd name="connsiteX1570" fmla="*/ 1048547 w 1317625"/>
              <a:gd name="connsiteY1570" fmla="*/ 800641 h 1344613"/>
              <a:gd name="connsiteX1571" fmla="*/ 1053692 w 1317625"/>
              <a:gd name="connsiteY1571" fmla="*/ 801182 h 1344613"/>
              <a:gd name="connsiteX1572" fmla="*/ 1058408 w 1317625"/>
              <a:gd name="connsiteY1572" fmla="*/ 802264 h 1344613"/>
              <a:gd name="connsiteX1573" fmla="*/ 1062267 w 1317625"/>
              <a:gd name="connsiteY1573" fmla="*/ 803346 h 1344613"/>
              <a:gd name="connsiteX1574" fmla="*/ 1070414 w 1317625"/>
              <a:gd name="connsiteY1574" fmla="*/ 805510 h 1344613"/>
              <a:gd name="connsiteX1575" fmla="*/ 1077703 w 1317625"/>
              <a:gd name="connsiteY1575" fmla="*/ 806592 h 1344613"/>
              <a:gd name="connsiteX1576" fmla="*/ 1076846 w 1317625"/>
              <a:gd name="connsiteY1576" fmla="*/ 811461 h 1344613"/>
              <a:gd name="connsiteX1577" fmla="*/ 1075560 w 1317625"/>
              <a:gd name="connsiteY1577" fmla="*/ 815248 h 1344613"/>
              <a:gd name="connsiteX1578" fmla="*/ 1073844 w 1317625"/>
              <a:gd name="connsiteY1578" fmla="*/ 819576 h 1344613"/>
              <a:gd name="connsiteX1579" fmla="*/ 1071701 w 1317625"/>
              <a:gd name="connsiteY1579" fmla="*/ 822822 h 1344613"/>
              <a:gd name="connsiteX1580" fmla="*/ 1069557 w 1317625"/>
              <a:gd name="connsiteY1580" fmla="*/ 826068 h 1344613"/>
              <a:gd name="connsiteX1581" fmla="*/ 1067842 w 1317625"/>
              <a:gd name="connsiteY1581" fmla="*/ 828773 h 1344613"/>
              <a:gd name="connsiteX1582" fmla="*/ 1066555 w 1317625"/>
              <a:gd name="connsiteY1582" fmla="*/ 830937 h 1344613"/>
              <a:gd name="connsiteX1583" fmla="*/ 1066126 w 1317625"/>
              <a:gd name="connsiteY1583" fmla="*/ 833642 h 1344613"/>
              <a:gd name="connsiteX1584" fmla="*/ 1066126 w 1317625"/>
              <a:gd name="connsiteY1584" fmla="*/ 834724 h 1344613"/>
              <a:gd name="connsiteX1585" fmla="*/ 1066555 w 1317625"/>
              <a:gd name="connsiteY1585" fmla="*/ 835806 h 1344613"/>
              <a:gd name="connsiteX1586" fmla="*/ 1067842 w 1317625"/>
              <a:gd name="connsiteY1586" fmla="*/ 837429 h 1344613"/>
              <a:gd name="connsiteX1587" fmla="*/ 1068699 w 1317625"/>
              <a:gd name="connsiteY1587" fmla="*/ 838511 h 1344613"/>
              <a:gd name="connsiteX1588" fmla="*/ 1071272 w 1317625"/>
              <a:gd name="connsiteY1588" fmla="*/ 840675 h 1344613"/>
              <a:gd name="connsiteX1589" fmla="*/ 1074702 w 1317625"/>
              <a:gd name="connsiteY1589" fmla="*/ 842839 h 1344613"/>
              <a:gd name="connsiteX1590" fmla="*/ 1081562 w 1317625"/>
              <a:gd name="connsiteY1590" fmla="*/ 847167 h 1344613"/>
              <a:gd name="connsiteX1591" fmla="*/ 1085850 w 1317625"/>
              <a:gd name="connsiteY1591" fmla="*/ 850413 h 1344613"/>
              <a:gd name="connsiteX1592" fmla="*/ 1080276 w 1317625"/>
              <a:gd name="connsiteY1592" fmla="*/ 854200 h 1344613"/>
              <a:gd name="connsiteX1593" fmla="*/ 1075560 w 1317625"/>
              <a:gd name="connsiteY1593" fmla="*/ 857987 h 1344613"/>
              <a:gd name="connsiteX1594" fmla="*/ 1073844 w 1317625"/>
              <a:gd name="connsiteY1594" fmla="*/ 859610 h 1344613"/>
              <a:gd name="connsiteX1595" fmla="*/ 1072987 w 1317625"/>
              <a:gd name="connsiteY1595" fmla="*/ 862314 h 1344613"/>
              <a:gd name="connsiteX1596" fmla="*/ 1071701 w 1317625"/>
              <a:gd name="connsiteY1596" fmla="*/ 865560 h 1344613"/>
              <a:gd name="connsiteX1597" fmla="*/ 1071701 w 1317625"/>
              <a:gd name="connsiteY1597" fmla="*/ 869888 h 1344613"/>
              <a:gd name="connsiteX1598" fmla="*/ 1068699 w 1317625"/>
              <a:gd name="connsiteY1598" fmla="*/ 870970 h 1344613"/>
              <a:gd name="connsiteX1599" fmla="*/ 1060552 w 1317625"/>
              <a:gd name="connsiteY1599" fmla="*/ 873675 h 1344613"/>
              <a:gd name="connsiteX1600" fmla="*/ 1051119 w 1317625"/>
              <a:gd name="connsiteY1600" fmla="*/ 877462 h 1344613"/>
              <a:gd name="connsiteX1601" fmla="*/ 1043620 w 1317625"/>
              <a:gd name="connsiteY1601" fmla="*/ 879952 h 1344613"/>
              <a:gd name="connsiteX1602" fmla="*/ 1044378 w 1317625"/>
              <a:gd name="connsiteY1602" fmla="*/ 882650 h 1344613"/>
              <a:gd name="connsiteX1603" fmla="*/ 1045270 w 1317625"/>
              <a:gd name="connsiteY1603" fmla="*/ 886883 h 1344613"/>
              <a:gd name="connsiteX1604" fmla="*/ 1045716 w 1317625"/>
              <a:gd name="connsiteY1604" fmla="*/ 891646 h 1344613"/>
              <a:gd name="connsiteX1605" fmla="*/ 1045716 w 1317625"/>
              <a:gd name="connsiteY1605" fmla="*/ 896409 h 1344613"/>
              <a:gd name="connsiteX1606" fmla="*/ 1046162 w 1317625"/>
              <a:gd name="connsiteY1606" fmla="*/ 905404 h 1344613"/>
              <a:gd name="connsiteX1607" fmla="*/ 1046162 w 1317625"/>
              <a:gd name="connsiteY1607" fmla="*/ 909109 h 1344613"/>
              <a:gd name="connsiteX1608" fmla="*/ 1007803 w 1317625"/>
              <a:gd name="connsiteY1608" fmla="*/ 899054 h 1344613"/>
              <a:gd name="connsiteX1609" fmla="*/ 1001113 w 1317625"/>
              <a:gd name="connsiteY1609" fmla="*/ 900642 h 1344613"/>
              <a:gd name="connsiteX1610" fmla="*/ 994868 w 1317625"/>
              <a:gd name="connsiteY1610" fmla="*/ 902759 h 1344613"/>
              <a:gd name="connsiteX1611" fmla="*/ 989516 w 1317625"/>
              <a:gd name="connsiteY1611" fmla="*/ 905934 h 1344613"/>
              <a:gd name="connsiteX1612" fmla="*/ 984610 w 1317625"/>
              <a:gd name="connsiteY1612" fmla="*/ 909109 h 1344613"/>
              <a:gd name="connsiteX1613" fmla="*/ 982826 w 1317625"/>
              <a:gd name="connsiteY1613" fmla="*/ 910696 h 1344613"/>
              <a:gd name="connsiteX1614" fmla="*/ 981041 w 1317625"/>
              <a:gd name="connsiteY1614" fmla="*/ 912813 h 1344613"/>
              <a:gd name="connsiteX1615" fmla="*/ 979703 w 1317625"/>
              <a:gd name="connsiteY1615" fmla="*/ 914929 h 1344613"/>
              <a:gd name="connsiteX1616" fmla="*/ 979257 w 1317625"/>
              <a:gd name="connsiteY1616" fmla="*/ 917575 h 1344613"/>
              <a:gd name="connsiteX1617" fmla="*/ 978811 w 1317625"/>
              <a:gd name="connsiteY1617" fmla="*/ 920221 h 1344613"/>
              <a:gd name="connsiteX1618" fmla="*/ 979257 w 1317625"/>
              <a:gd name="connsiteY1618" fmla="*/ 922338 h 1344613"/>
              <a:gd name="connsiteX1619" fmla="*/ 979703 w 1317625"/>
              <a:gd name="connsiteY1619" fmla="*/ 925513 h 1344613"/>
              <a:gd name="connsiteX1620" fmla="*/ 981041 w 1317625"/>
              <a:gd name="connsiteY1620" fmla="*/ 928159 h 1344613"/>
              <a:gd name="connsiteX1621" fmla="*/ 980595 w 1317625"/>
              <a:gd name="connsiteY1621" fmla="*/ 929217 h 1344613"/>
              <a:gd name="connsiteX1622" fmla="*/ 979257 w 1317625"/>
              <a:gd name="connsiteY1622" fmla="*/ 931334 h 1344613"/>
              <a:gd name="connsiteX1623" fmla="*/ 978365 w 1317625"/>
              <a:gd name="connsiteY1623" fmla="*/ 932921 h 1344613"/>
              <a:gd name="connsiteX1624" fmla="*/ 977473 w 1317625"/>
              <a:gd name="connsiteY1624" fmla="*/ 933450 h 1344613"/>
              <a:gd name="connsiteX1625" fmla="*/ 976135 w 1317625"/>
              <a:gd name="connsiteY1625" fmla="*/ 935038 h 1344613"/>
              <a:gd name="connsiteX1626" fmla="*/ 975243 w 1317625"/>
              <a:gd name="connsiteY1626" fmla="*/ 935038 h 1344613"/>
              <a:gd name="connsiteX1627" fmla="*/ 973459 w 1317625"/>
              <a:gd name="connsiteY1627" fmla="*/ 935038 h 1344613"/>
              <a:gd name="connsiteX1628" fmla="*/ 972121 w 1317625"/>
              <a:gd name="connsiteY1628" fmla="*/ 933450 h 1344613"/>
              <a:gd name="connsiteX1629" fmla="*/ 970783 w 1317625"/>
              <a:gd name="connsiteY1629" fmla="*/ 932392 h 1344613"/>
              <a:gd name="connsiteX1630" fmla="*/ 969891 w 1317625"/>
              <a:gd name="connsiteY1630" fmla="*/ 931334 h 1344613"/>
              <a:gd name="connsiteX1631" fmla="*/ 969445 w 1317625"/>
              <a:gd name="connsiteY1631" fmla="*/ 928159 h 1344613"/>
              <a:gd name="connsiteX1632" fmla="*/ 969445 w 1317625"/>
              <a:gd name="connsiteY1632" fmla="*/ 924984 h 1344613"/>
              <a:gd name="connsiteX1633" fmla="*/ 964984 w 1317625"/>
              <a:gd name="connsiteY1633" fmla="*/ 924454 h 1344613"/>
              <a:gd name="connsiteX1634" fmla="*/ 960524 w 1317625"/>
              <a:gd name="connsiteY1634" fmla="*/ 922867 h 1344613"/>
              <a:gd name="connsiteX1635" fmla="*/ 957402 w 1317625"/>
              <a:gd name="connsiteY1635" fmla="*/ 921279 h 1344613"/>
              <a:gd name="connsiteX1636" fmla="*/ 954725 w 1317625"/>
              <a:gd name="connsiteY1636" fmla="*/ 918634 h 1344613"/>
              <a:gd name="connsiteX1637" fmla="*/ 954725 w 1317625"/>
              <a:gd name="connsiteY1637" fmla="*/ 923396 h 1344613"/>
              <a:gd name="connsiteX1638" fmla="*/ 954725 w 1317625"/>
              <a:gd name="connsiteY1638" fmla="*/ 928159 h 1344613"/>
              <a:gd name="connsiteX1639" fmla="*/ 955171 w 1317625"/>
              <a:gd name="connsiteY1639" fmla="*/ 930275 h 1344613"/>
              <a:gd name="connsiteX1640" fmla="*/ 956064 w 1317625"/>
              <a:gd name="connsiteY1640" fmla="*/ 932921 h 1344613"/>
              <a:gd name="connsiteX1641" fmla="*/ 958740 w 1317625"/>
              <a:gd name="connsiteY1641" fmla="*/ 937154 h 1344613"/>
              <a:gd name="connsiteX1642" fmla="*/ 960524 w 1317625"/>
              <a:gd name="connsiteY1642" fmla="*/ 940859 h 1344613"/>
              <a:gd name="connsiteX1643" fmla="*/ 963646 w 1317625"/>
              <a:gd name="connsiteY1643" fmla="*/ 944034 h 1344613"/>
              <a:gd name="connsiteX1644" fmla="*/ 965876 w 1317625"/>
              <a:gd name="connsiteY1644" fmla="*/ 946679 h 1344613"/>
              <a:gd name="connsiteX1645" fmla="*/ 967214 w 1317625"/>
              <a:gd name="connsiteY1645" fmla="*/ 947738 h 1344613"/>
              <a:gd name="connsiteX1646" fmla="*/ 968106 w 1317625"/>
              <a:gd name="connsiteY1646" fmla="*/ 948267 h 1344613"/>
              <a:gd name="connsiteX1647" fmla="*/ 968552 w 1317625"/>
              <a:gd name="connsiteY1647" fmla="*/ 948267 h 1344613"/>
              <a:gd name="connsiteX1648" fmla="*/ 969445 w 1317625"/>
              <a:gd name="connsiteY1648" fmla="*/ 948267 h 1344613"/>
              <a:gd name="connsiteX1649" fmla="*/ 969445 w 1317625"/>
              <a:gd name="connsiteY1649" fmla="*/ 957263 h 1344613"/>
              <a:gd name="connsiteX1650" fmla="*/ 969445 w 1317625"/>
              <a:gd name="connsiteY1650" fmla="*/ 965730 h 1344613"/>
              <a:gd name="connsiteX1651" fmla="*/ 969445 w 1317625"/>
              <a:gd name="connsiteY1651" fmla="*/ 973138 h 1344613"/>
              <a:gd name="connsiteX1652" fmla="*/ 969445 w 1317625"/>
              <a:gd name="connsiteY1652" fmla="*/ 980546 h 1344613"/>
              <a:gd name="connsiteX1653" fmla="*/ 969445 w 1317625"/>
              <a:gd name="connsiteY1653" fmla="*/ 992188 h 1344613"/>
              <a:gd name="connsiteX1654" fmla="*/ 969445 w 1317625"/>
              <a:gd name="connsiteY1654" fmla="*/ 1004888 h 1344613"/>
              <a:gd name="connsiteX1655" fmla="*/ 968998 w 1317625"/>
              <a:gd name="connsiteY1655" fmla="*/ 1007534 h 1344613"/>
              <a:gd name="connsiteX1656" fmla="*/ 968552 w 1317625"/>
              <a:gd name="connsiteY1656" fmla="*/ 1010180 h 1344613"/>
              <a:gd name="connsiteX1657" fmla="*/ 968106 w 1317625"/>
              <a:gd name="connsiteY1657" fmla="*/ 1012296 h 1344613"/>
              <a:gd name="connsiteX1658" fmla="*/ 967214 w 1317625"/>
              <a:gd name="connsiteY1658" fmla="*/ 1013884 h 1344613"/>
              <a:gd name="connsiteX1659" fmla="*/ 965430 w 1317625"/>
              <a:gd name="connsiteY1659" fmla="*/ 1015471 h 1344613"/>
              <a:gd name="connsiteX1660" fmla="*/ 964092 w 1317625"/>
              <a:gd name="connsiteY1660" fmla="*/ 1016530 h 1344613"/>
              <a:gd name="connsiteX1661" fmla="*/ 962754 w 1317625"/>
              <a:gd name="connsiteY1661" fmla="*/ 1016530 h 1344613"/>
              <a:gd name="connsiteX1662" fmla="*/ 960524 w 1317625"/>
              <a:gd name="connsiteY1662" fmla="*/ 1016530 h 1344613"/>
              <a:gd name="connsiteX1663" fmla="*/ 963200 w 1317625"/>
              <a:gd name="connsiteY1663" fmla="*/ 1019176 h 1344613"/>
              <a:gd name="connsiteX1664" fmla="*/ 967214 w 1317625"/>
              <a:gd name="connsiteY1664" fmla="*/ 1022351 h 1344613"/>
              <a:gd name="connsiteX1665" fmla="*/ 968998 w 1317625"/>
              <a:gd name="connsiteY1665" fmla="*/ 1024467 h 1344613"/>
              <a:gd name="connsiteX1666" fmla="*/ 970783 w 1317625"/>
              <a:gd name="connsiteY1666" fmla="*/ 1025526 h 1344613"/>
              <a:gd name="connsiteX1667" fmla="*/ 973013 w 1317625"/>
              <a:gd name="connsiteY1667" fmla="*/ 1026055 h 1344613"/>
              <a:gd name="connsiteX1668" fmla="*/ 975243 w 1317625"/>
              <a:gd name="connsiteY1668" fmla="*/ 1026584 h 1344613"/>
              <a:gd name="connsiteX1669" fmla="*/ 973013 w 1317625"/>
              <a:gd name="connsiteY1669" fmla="*/ 1030817 h 1344613"/>
              <a:gd name="connsiteX1670" fmla="*/ 970337 w 1317625"/>
              <a:gd name="connsiteY1670" fmla="*/ 1033463 h 1344613"/>
              <a:gd name="connsiteX1671" fmla="*/ 968998 w 1317625"/>
              <a:gd name="connsiteY1671" fmla="*/ 1034521 h 1344613"/>
              <a:gd name="connsiteX1672" fmla="*/ 967660 w 1317625"/>
              <a:gd name="connsiteY1672" fmla="*/ 1035580 h 1344613"/>
              <a:gd name="connsiteX1673" fmla="*/ 965430 w 1317625"/>
              <a:gd name="connsiteY1673" fmla="*/ 1036109 h 1344613"/>
              <a:gd name="connsiteX1674" fmla="*/ 963646 w 1317625"/>
              <a:gd name="connsiteY1674" fmla="*/ 1036109 h 1344613"/>
              <a:gd name="connsiteX1675" fmla="*/ 960970 w 1317625"/>
              <a:gd name="connsiteY1675" fmla="*/ 1036638 h 1344613"/>
              <a:gd name="connsiteX1676" fmla="*/ 959632 w 1317625"/>
              <a:gd name="connsiteY1676" fmla="*/ 1037696 h 1344613"/>
              <a:gd name="connsiteX1677" fmla="*/ 958294 w 1317625"/>
              <a:gd name="connsiteY1677" fmla="*/ 1039284 h 1344613"/>
              <a:gd name="connsiteX1678" fmla="*/ 956510 w 1317625"/>
              <a:gd name="connsiteY1678" fmla="*/ 1041930 h 1344613"/>
              <a:gd name="connsiteX1679" fmla="*/ 955618 w 1317625"/>
              <a:gd name="connsiteY1679" fmla="*/ 1044046 h 1344613"/>
              <a:gd name="connsiteX1680" fmla="*/ 955171 w 1317625"/>
              <a:gd name="connsiteY1680" fmla="*/ 1046692 h 1344613"/>
              <a:gd name="connsiteX1681" fmla="*/ 954725 w 1317625"/>
              <a:gd name="connsiteY1681" fmla="*/ 1049338 h 1344613"/>
              <a:gd name="connsiteX1682" fmla="*/ 954725 w 1317625"/>
              <a:gd name="connsiteY1682" fmla="*/ 1052513 h 1344613"/>
              <a:gd name="connsiteX1683" fmla="*/ 952941 w 1317625"/>
              <a:gd name="connsiteY1683" fmla="*/ 1044046 h 1344613"/>
              <a:gd name="connsiteX1684" fmla="*/ 952495 w 1317625"/>
              <a:gd name="connsiteY1684" fmla="*/ 1038226 h 1344613"/>
              <a:gd name="connsiteX1685" fmla="*/ 952495 w 1317625"/>
              <a:gd name="connsiteY1685" fmla="*/ 1036109 h 1344613"/>
              <a:gd name="connsiteX1686" fmla="*/ 952941 w 1317625"/>
              <a:gd name="connsiteY1686" fmla="*/ 1033992 h 1344613"/>
              <a:gd name="connsiteX1687" fmla="*/ 953833 w 1317625"/>
              <a:gd name="connsiteY1687" fmla="*/ 1031876 h 1344613"/>
              <a:gd name="connsiteX1688" fmla="*/ 954725 w 1317625"/>
              <a:gd name="connsiteY1688" fmla="*/ 1029759 h 1344613"/>
              <a:gd name="connsiteX1689" fmla="*/ 950265 w 1317625"/>
              <a:gd name="connsiteY1689" fmla="*/ 1029759 h 1344613"/>
              <a:gd name="connsiteX1690" fmla="*/ 947143 w 1317625"/>
              <a:gd name="connsiteY1690" fmla="*/ 1030817 h 1344613"/>
              <a:gd name="connsiteX1691" fmla="*/ 944467 w 1317625"/>
              <a:gd name="connsiteY1691" fmla="*/ 1031876 h 1344613"/>
              <a:gd name="connsiteX1692" fmla="*/ 942237 w 1317625"/>
              <a:gd name="connsiteY1692" fmla="*/ 1032934 h 1344613"/>
              <a:gd name="connsiteX1693" fmla="*/ 940006 w 1317625"/>
              <a:gd name="connsiteY1693" fmla="*/ 1033992 h 1344613"/>
              <a:gd name="connsiteX1694" fmla="*/ 938222 w 1317625"/>
              <a:gd name="connsiteY1694" fmla="*/ 1035051 h 1344613"/>
              <a:gd name="connsiteX1695" fmla="*/ 935546 w 1317625"/>
              <a:gd name="connsiteY1695" fmla="*/ 1035580 h 1344613"/>
              <a:gd name="connsiteX1696" fmla="*/ 933762 w 1317625"/>
              <a:gd name="connsiteY1696" fmla="*/ 1036109 h 1344613"/>
              <a:gd name="connsiteX1697" fmla="*/ 933316 w 1317625"/>
              <a:gd name="connsiteY1697" fmla="*/ 1023409 h 1344613"/>
              <a:gd name="connsiteX1698" fmla="*/ 931532 w 1317625"/>
              <a:gd name="connsiteY1698" fmla="*/ 1012296 h 1344613"/>
              <a:gd name="connsiteX1699" fmla="*/ 931086 w 1317625"/>
              <a:gd name="connsiteY1699" fmla="*/ 1007534 h 1344613"/>
              <a:gd name="connsiteX1700" fmla="*/ 931086 w 1317625"/>
              <a:gd name="connsiteY1700" fmla="*/ 1003300 h 1344613"/>
              <a:gd name="connsiteX1701" fmla="*/ 932424 w 1317625"/>
              <a:gd name="connsiteY1701" fmla="*/ 998538 h 1344613"/>
              <a:gd name="connsiteX1702" fmla="*/ 933762 w 1317625"/>
              <a:gd name="connsiteY1702" fmla="*/ 993775 h 1344613"/>
              <a:gd name="connsiteX1703" fmla="*/ 928856 w 1317625"/>
              <a:gd name="connsiteY1703" fmla="*/ 993775 h 1344613"/>
              <a:gd name="connsiteX1704" fmla="*/ 923949 w 1317625"/>
              <a:gd name="connsiteY1704" fmla="*/ 992188 h 1344613"/>
              <a:gd name="connsiteX1705" fmla="*/ 919935 w 1317625"/>
              <a:gd name="connsiteY1705" fmla="*/ 991130 h 1344613"/>
              <a:gd name="connsiteX1706" fmla="*/ 916367 w 1317625"/>
              <a:gd name="connsiteY1706" fmla="*/ 989013 h 1344613"/>
              <a:gd name="connsiteX1707" fmla="*/ 913690 w 1317625"/>
              <a:gd name="connsiteY1707" fmla="*/ 986896 h 1344613"/>
              <a:gd name="connsiteX1708" fmla="*/ 911014 w 1317625"/>
              <a:gd name="connsiteY1708" fmla="*/ 984250 h 1344613"/>
              <a:gd name="connsiteX1709" fmla="*/ 908784 w 1317625"/>
              <a:gd name="connsiteY1709" fmla="*/ 981605 h 1344613"/>
              <a:gd name="connsiteX1710" fmla="*/ 907446 w 1317625"/>
              <a:gd name="connsiteY1710" fmla="*/ 978430 h 1344613"/>
              <a:gd name="connsiteX1711" fmla="*/ 904324 w 1317625"/>
              <a:gd name="connsiteY1711" fmla="*/ 971021 h 1344613"/>
              <a:gd name="connsiteX1712" fmla="*/ 902540 w 1317625"/>
              <a:gd name="connsiteY1712" fmla="*/ 963084 h 1344613"/>
              <a:gd name="connsiteX1713" fmla="*/ 900309 w 1317625"/>
              <a:gd name="connsiteY1713" fmla="*/ 955675 h 1344613"/>
              <a:gd name="connsiteX1714" fmla="*/ 898525 w 1317625"/>
              <a:gd name="connsiteY1714" fmla="*/ 948267 h 1344613"/>
              <a:gd name="connsiteX1715" fmla="*/ 902986 w 1317625"/>
              <a:gd name="connsiteY1715" fmla="*/ 945092 h 1344613"/>
              <a:gd name="connsiteX1716" fmla="*/ 907000 w 1317625"/>
              <a:gd name="connsiteY1716" fmla="*/ 941917 h 1344613"/>
              <a:gd name="connsiteX1717" fmla="*/ 911014 w 1317625"/>
              <a:gd name="connsiteY1717" fmla="*/ 938213 h 1344613"/>
              <a:gd name="connsiteX1718" fmla="*/ 915028 w 1317625"/>
              <a:gd name="connsiteY1718" fmla="*/ 932921 h 1344613"/>
              <a:gd name="connsiteX1719" fmla="*/ 918597 w 1317625"/>
              <a:gd name="connsiteY1719" fmla="*/ 928159 h 1344613"/>
              <a:gd name="connsiteX1720" fmla="*/ 920827 w 1317625"/>
              <a:gd name="connsiteY1720" fmla="*/ 922338 h 1344613"/>
              <a:gd name="connsiteX1721" fmla="*/ 923503 w 1317625"/>
              <a:gd name="connsiteY1721" fmla="*/ 915988 h 1344613"/>
              <a:gd name="connsiteX1722" fmla="*/ 924841 w 1317625"/>
              <a:gd name="connsiteY1722" fmla="*/ 909109 h 1344613"/>
              <a:gd name="connsiteX1723" fmla="*/ 931086 w 1317625"/>
              <a:gd name="connsiteY1723" fmla="*/ 908579 h 1344613"/>
              <a:gd name="connsiteX1724" fmla="*/ 937776 w 1317625"/>
              <a:gd name="connsiteY1724" fmla="*/ 906992 h 1344613"/>
              <a:gd name="connsiteX1725" fmla="*/ 944021 w 1317625"/>
              <a:gd name="connsiteY1725" fmla="*/ 904346 h 1344613"/>
              <a:gd name="connsiteX1726" fmla="*/ 949819 w 1317625"/>
              <a:gd name="connsiteY1726" fmla="*/ 901171 h 1344613"/>
              <a:gd name="connsiteX1727" fmla="*/ 960970 w 1317625"/>
              <a:gd name="connsiteY1727" fmla="*/ 894821 h 1344613"/>
              <a:gd name="connsiteX1728" fmla="*/ 972567 w 1317625"/>
              <a:gd name="connsiteY1728" fmla="*/ 889529 h 1344613"/>
              <a:gd name="connsiteX1729" fmla="*/ 978811 w 1317625"/>
              <a:gd name="connsiteY1729" fmla="*/ 886883 h 1344613"/>
              <a:gd name="connsiteX1730" fmla="*/ 984164 w 1317625"/>
              <a:gd name="connsiteY1730" fmla="*/ 884767 h 1344613"/>
              <a:gd name="connsiteX1731" fmla="*/ 988615 w 1317625"/>
              <a:gd name="connsiteY1731" fmla="*/ 883954 h 1344613"/>
              <a:gd name="connsiteX1732" fmla="*/ 988089 w 1317625"/>
              <a:gd name="connsiteY1732" fmla="*/ 883954 h 1344613"/>
              <a:gd name="connsiteX1733" fmla="*/ 980800 w 1317625"/>
              <a:gd name="connsiteY1733" fmla="*/ 883954 h 1344613"/>
              <a:gd name="connsiteX1734" fmla="*/ 977798 w 1317625"/>
              <a:gd name="connsiteY1734" fmla="*/ 884495 h 1344613"/>
              <a:gd name="connsiteX1735" fmla="*/ 974368 w 1317625"/>
              <a:gd name="connsiteY1735" fmla="*/ 885036 h 1344613"/>
              <a:gd name="connsiteX1736" fmla="*/ 971795 w 1317625"/>
              <a:gd name="connsiteY1736" fmla="*/ 886118 h 1344613"/>
              <a:gd name="connsiteX1737" fmla="*/ 969891 w 1317625"/>
              <a:gd name="connsiteY1737" fmla="*/ 886919 h 1344613"/>
              <a:gd name="connsiteX1738" fmla="*/ 960031 w 1317625"/>
              <a:gd name="connsiteY1738" fmla="*/ 893098 h 1344613"/>
              <a:gd name="connsiteX1739" fmla="*/ 948511 w 1317625"/>
              <a:gd name="connsiteY1739" fmla="*/ 900316 h 1344613"/>
              <a:gd name="connsiteX1740" fmla="*/ 942538 w 1317625"/>
              <a:gd name="connsiteY1740" fmla="*/ 902894 h 1344613"/>
              <a:gd name="connsiteX1741" fmla="*/ 935712 w 1317625"/>
              <a:gd name="connsiteY1741" fmla="*/ 905988 h 1344613"/>
              <a:gd name="connsiteX1742" fmla="*/ 929739 w 1317625"/>
              <a:gd name="connsiteY1742" fmla="*/ 907535 h 1344613"/>
              <a:gd name="connsiteX1743" fmla="*/ 923340 w 1317625"/>
              <a:gd name="connsiteY1743" fmla="*/ 908050 h 1344613"/>
              <a:gd name="connsiteX1744" fmla="*/ 919738 w 1317625"/>
              <a:gd name="connsiteY1744" fmla="*/ 902827 h 1344613"/>
              <a:gd name="connsiteX1745" fmla="*/ 922337 w 1317625"/>
              <a:gd name="connsiteY1745" fmla="*/ 907445 h 1344613"/>
              <a:gd name="connsiteX1746" fmla="*/ 920697 w 1317625"/>
              <a:gd name="connsiteY1746" fmla="*/ 913198 h 1344613"/>
              <a:gd name="connsiteX1747" fmla="*/ 919056 w 1317625"/>
              <a:gd name="connsiteY1747" fmla="*/ 918952 h 1344613"/>
              <a:gd name="connsiteX1748" fmla="*/ 916596 w 1317625"/>
              <a:gd name="connsiteY1748" fmla="*/ 924705 h 1344613"/>
              <a:gd name="connsiteX1749" fmla="*/ 914545 w 1317625"/>
              <a:gd name="connsiteY1749" fmla="*/ 929936 h 1344613"/>
              <a:gd name="connsiteX1750" fmla="*/ 911265 w 1317625"/>
              <a:gd name="connsiteY1750" fmla="*/ 935166 h 1344613"/>
              <a:gd name="connsiteX1751" fmla="*/ 908394 w 1317625"/>
              <a:gd name="connsiteY1751" fmla="*/ 939351 h 1344613"/>
              <a:gd name="connsiteX1752" fmla="*/ 904293 w 1317625"/>
              <a:gd name="connsiteY1752" fmla="*/ 943012 h 1344613"/>
              <a:gd name="connsiteX1753" fmla="*/ 900602 w 1317625"/>
              <a:gd name="connsiteY1753" fmla="*/ 946150 h 1344613"/>
              <a:gd name="connsiteX1754" fmla="*/ 900192 w 1317625"/>
              <a:gd name="connsiteY1754" fmla="*/ 944581 h 1344613"/>
              <a:gd name="connsiteX1755" fmla="*/ 899782 w 1317625"/>
              <a:gd name="connsiteY1755" fmla="*/ 943535 h 1344613"/>
              <a:gd name="connsiteX1756" fmla="*/ 898551 w 1317625"/>
              <a:gd name="connsiteY1756" fmla="*/ 941966 h 1344613"/>
              <a:gd name="connsiteX1757" fmla="*/ 897731 w 1317625"/>
              <a:gd name="connsiteY1757" fmla="*/ 940920 h 1344613"/>
              <a:gd name="connsiteX1758" fmla="*/ 895271 w 1317625"/>
              <a:gd name="connsiteY1758" fmla="*/ 937781 h 1344613"/>
              <a:gd name="connsiteX1759" fmla="*/ 891990 w 1317625"/>
              <a:gd name="connsiteY1759" fmla="*/ 934643 h 1344613"/>
              <a:gd name="connsiteX1760" fmla="*/ 888299 w 1317625"/>
              <a:gd name="connsiteY1760" fmla="*/ 931505 h 1344613"/>
              <a:gd name="connsiteX1761" fmla="*/ 885428 w 1317625"/>
              <a:gd name="connsiteY1761" fmla="*/ 928367 h 1344613"/>
              <a:gd name="connsiteX1762" fmla="*/ 882968 w 1317625"/>
              <a:gd name="connsiteY1762" fmla="*/ 925751 h 1344613"/>
              <a:gd name="connsiteX1763" fmla="*/ 881327 w 1317625"/>
              <a:gd name="connsiteY1763" fmla="*/ 923136 h 1344613"/>
              <a:gd name="connsiteX1764" fmla="*/ 879277 w 1317625"/>
              <a:gd name="connsiteY1764" fmla="*/ 915813 h 1344613"/>
              <a:gd name="connsiteX1765" fmla="*/ 877226 w 1317625"/>
              <a:gd name="connsiteY1765" fmla="*/ 907445 h 1344613"/>
              <a:gd name="connsiteX1766" fmla="*/ 875176 w 1317625"/>
              <a:gd name="connsiteY1766" fmla="*/ 898553 h 1344613"/>
              <a:gd name="connsiteX1767" fmla="*/ 873125 w 1317625"/>
              <a:gd name="connsiteY1767" fmla="*/ 891230 h 1344613"/>
              <a:gd name="connsiteX1768" fmla="*/ 874766 w 1317625"/>
              <a:gd name="connsiteY1768" fmla="*/ 887569 h 1344613"/>
              <a:gd name="connsiteX1769" fmla="*/ 876406 w 1317625"/>
              <a:gd name="connsiteY1769" fmla="*/ 883908 h 1344613"/>
              <a:gd name="connsiteX1770" fmla="*/ 877226 w 1317625"/>
              <a:gd name="connsiteY1770" fmla="*/ 880769 h 1344613"/>
              <a:gd name="connsiteX1771" fmla="*/ 878046 w 1317625"/>
              <a:gd name="connsiteY1771" fmla="*/ 877631 h 1344613"/>
              <a:gd name="connsiteX1772" fmla="*/ 878867 w 1317625"/>
              <a:gd name="connsiteY1772" fmla="*/ 871355 h 1344613"/>
              <a:gd name="connsiteX1773" fmla="*/ 879277 w 1317625"/>
              <a:gd name="connsiteY1773" fmla="*/ 866124 h 1344613"/>
              <a:gd name="connsiteX1774" fmla="*/ 879277 w 1317625"/>
              <a:gd name="connsiteY1774" fmla="*/ 863509 h 1344613"/>
              <a:gd name="connsiteX1775" fmla="*/ 879687 w 1317625"/>
              <a:gd name="connsiteY1775" fmla="*/ 861940 h 1344613"/>
              <a:gd name="connsiteX1776" fmla="*/ 880917 w 1317625"/>
              <a:gd name="connsiteY1776" fmla="*/ 859847 h 1344613"/>
              <a:gd name="connsiteX1777" fmla="*/ 881737 w 1317625"/>
              <a:gd name="connsiteY1777" fmla="*/ 858278 h 1344613"/>
              <a:gd name="connsiteX1778" fmla="*/ 882968 w 1317625"/>
              <a:gd name="connsiteY1778" fmla="*/ 857232 h 1344613"/>
              <a:gd name="connsiteX1779" fmla="*/ 884198 w 1317625"/>
              <a:gd name="connsiteY1779" fmla="*/ 856186 h 1344613"/>
              <a:gd name="connsiteX1780" fmla="*/ 886659 w 1317625"/>
              <a:gd name="connsiteY1780" fmla="*/ 855663 h 1344613"/>
              <a:gd name="connsiteX1781" fmla="*/ 889119 w 1317625"/>
              <a:gd name="connsiteY1781" fmla="*/ 855663 h 1344613"/>
              <a:gd name="connsiteX1782" fmla="*/ 890760 w 1317625"/>
              <a:gd name="connsiteY1782" fmla="*/ 856186 h 1344613"/>
              <a:gd name="connsiteX1783" fmla="*/ 890957 w 1317625"/>
              <a:gd name="connsiteY1783" fmla="*/ 856312 h 1344613"/>
              <a:gd name="connsiteX1784" fmla="*/ 890329 w 1317625"/>
              <a:gd name="connsiteY1784" fmla="*/ 855372 h 1344613"/>
              <a:gd name="connsiteX1785" fmla="*/ 889013 w 1317625"/>
              <a:gd name="connsiteY1785" fmla="*/ 853796 h 1344613"/>
              <a:gd name="connsiteX1786" fmla="*/ 887257 w 1317625"/>
              <a:gd name="connsiteY1786" fmla="*/ 853270 h 1344613"/>
              <a:gd name="connsiteX1787" fmla="*/ 884624 w 1317625"/>
              <a:gd name="connsiteY1787" fmla="*/ 853270 h 1344613"/>
              <a:gd name="connsiteX1788" fmla="*/ 881992 w 1317625"/>
              <a:gd name="connsiteY1788" fmla="*/ 853796 h 1344613"/>
              <a:gd name="connsiteX1789" fmla="*/ 880675 w 1317625"/>
              <a:gd name="connsiteY1789" fmla="*/ 854847 h 1344613"/>
              <a:gd name="connsiteX1790" fmla="*/ 879359 w 1317625"/>
              <a:gd name="connsiteY1790" fmla="*/ 855897 h 1344613"/>
              <a:gd name="connsiteX1791" fmla="*/ 878481 w 1317625"/>
              <a:gd name="connsiteY1791" fmla="*/ 857474 h 1344613"/>
              <a:gd name="connsiteX1792" fmla="*/ 877164 w 1317625"/>
              <a:gd name="connsiteY1792" fmla="*/ 859575 h 1344613"/>
              <a:gd name="connsiteX1793" fmla="*/ 876726 w 1317625"/>
              <a:gd name="connsiteY1793" fmla="*/ 861152 h 1344613"/>
              <a:gd name="connsiteX1794" fmla="*/ 876726 w 1317625"/>
              <a:gd name="connsiteY1794" fmla="*/ 863779 h 1344613"/>
              <a:gd name="connsiteX1795" fmla="*/ 876287 w 1317625"/>
              <a:gd name="connsiteY1795" fmla="*/ 869033 h 1344613"/>
              <a:gd name="connsiteX1796" fmla="*/ 875409 w 1317625"/>
              <a:gd name="connsiteY1796" fmla="*/ 874813 h 1344613"/>
              <a:gd name="connsiteX1797" fmla="*/ 874532 w 1317625"/>
              <a:gd name="connsiteY1797" fmla="*/ 878491 h 1344613"/>
              <a:gd name="connsiteX1798" fmla="*/ 873654 w 1317625"/>
              <a:gd name="connsiteY1798" fmla="*/ 881644 h 1344613"/>
              <a:gd name="connsiteX1799" fmla="*/ 871899 w 1317625"/>
              <a:gd name="connsiteY1799" fmla="*/ 885322 h 1344613"/>
              <a:gd name="connsiteX1800" fmla="*/ 870143 w 1317625"/>
              <a:gd name="connsiteY1800" fmla="*/ 889000 h 1344613"/>
              <a:gd name="connsiteX1801" fmla="*/ 868827 w 1317625"/>
              <a:gd name="connsiteY1801" fmla="*/ 877440 h 1344613"/>
              <a:gd name="connsiteX1802" fmla="*/ 867072 w 1317625"/>
              <a:gd name="connsiteY1802" fmla="*/ 867457 h 1344613"/>
              <a:gd name="connsiteX1803" fmla="*/ 865755 w 1317625"/>
              <a:gd name="connsiteY1803" fmla="*/ 862728 h 1344613"/>
              <a:gd name="connsiteX1804" fmla="*/ 863122 w 1317625"/>
              <a:gd name="connsiteY1804" fmla="*/ 859050 h 1344613"/>
              <a:gd name="connsiteX1805" fmla="*/ 861806 w 1317625"/>
              <a:gd name="connsiteY1805" fmla="*/ 857474 h 1344613"/>
              <a:gd name="connsiteX1806" fmla="*/ 860489 w 1317625"/>
              <a:gd name="connsiteY1806" fmla="*/ 855897 h 1344613"/>
              <a:gd name="connsiteX1807" fmla="*/ 857856 w 1317625"/>
              <a:gd name="connsiteY1807" fmla="*/ 854321 h 1344613"/>
              <a:gd name="connsiteX1808" fmla="*/ 855662 w 1317625"/>
              <a:gd name="connsiteY1808" fmla="*/ 853270 h 1344613"/>
              <a:gd name="connsiteX1809" fmla="*/ 855662 w 1317625"/>
              <a:gd name="connsiteY1809" fmla="*/ 852395 h 1344613"/>
              <a:gd name="connsiteX1810" fmla="*/ 832397 w 1317625"/>
              <a:gd name="connsiteY1810" fmla="*/ 842694 h 1344613"/>
              <a:gd name="connsiteX1811" fmla="*/ 829197 w 1317625"/>
              <a:gd name="connsiteY1811" fmla="*/ 842963 h 1344613"/>
              <a:gd name="connsiteX1812" fmla="*/ 822238 w 1317625"/>
              <a:gd name="connsiteY1812" fmla="*/ 842963 h 1344613"/>
              <a:gd name="connsiteX1813" fmla="*/ 819194 w 1317625"/>
              <a:gd name="connsiteY1813" fmla="*/ 842963 h 1344613"/>
              <a:gd name="connsiteX1814" fmla="*/ 816149 w 1317625"/>
              <a:gd name="connsiteY1814" fmla="*/ 842451 h 1344613"/>
              <a:gd name="connsiteX1815" fmla="*/ 813105 w 1317625"/>
              <a:gd name="connsiteY1815" fmla="*/ 841425 h 1344613"/>
              <a:gd name="connsiteX1816" fmla="*/ 809625 w 1317625"/>
              <a:gd name="connsiteY1816" fmla="*/ 839375 h 1344613"/>
              <a:gd name="connsiteX1817" fmla="*/ 806581 w 1317625"/>
              <a:gd name="connsiteY1817" fmla="*/ 837838 h 1344613"/>
              <a:gd name="connsiteX1818" fmla="*/ 804406 w 1317625"/>
              <a:gd name="connsiteY1818" fmla="*/ 835787 h 1344613"/>
              <a:gd name="connsiteX1819" fmla="*/ 802666 w 1317625"/>
              <a:gd name="connsiteY1819" fmla="*/ 832712 h 1344613"/>
              <a:gd name="connsiteX1820" fmla="*/ 801362 w 1317625"/>
              <a:gd name="connsiteY1820" fmla="*/ 830149 h 1344613"/>
              <a:gd name="connsiteX1821" fmla="*/ 800057 w 1317625"/>
              <a:gd name="connsiteY1821" fmla="*/ 827074 h 1344613"/>
              <a:gd name="connsiteX1822" fmla="*/ 798752 w 1317625"/>
              <a:gd name="connsiteY1822" fmla="*/ 824511 h 1344613"/>
              <a:gd name="connsiteX1823" fmla="*/ 797012 w 1317625"/>
              <a:gd name="connsiteY1823" fmla="*/ 822461 h 1344613"/>
              <a:gd name="connsiteX1824" fmla="*/ 795273 w 1317625"/>
              <a:gd name="connsiteY1824" fmla="*/ 820923 h 1344613"/>
              <a:gd name="connsiteX1825" fmla="*/ 790488 w 1317625"/>
              <a:gd name="connsiteY1825" fmla="*/ 811697 h 1344613"/>
              <a:gd name="connsiteX1826" fmla="*/ 785704 w 1317625"/>
              <a:gd name="connsiteY1826" fmla="*/ 802984 h 1344613"/>
              <a:gd name="connsiteX1827" fmla="*/ 780920 w 1317625"/>
              <a:gd name="connsiteY1827" fmla="*/ 794783 h 1344613"/>
              <a:gd name="connsiteX1828" fmla="*/ 775701 w 1317625"/>
              <a:gd name="connsiteY1828" fmla="*/ 786582 h 1344613"/>
              <a:gd name="connsiteX1829" fmla="*/ 772656 w 1317625"/>
              <a:gd name="connsiteY1829" fmla="*/ 782482 h 1344613"/>
              <a:gd name="connsiteX1830" fmla="*/ 770046 w 1317625"/>
              <a:gd name="connsiteY1830" fmla="*/ 779406 h 1344613"/>
              <a:gd name="connsiteX1831" fmla="*/ 767002 w 1317625"/>
              <a:gd name="connsiteY1831" fmla="*/ 776331 h 1344613"/>
              <a:gd name="connsiteX1832" fmla="*/ 765897 w 1317625"/>
              <a:gd name="connsiteY1832" fmla="*/ 775028 h 1344613"/>
              <a:gd name="connsiteX1833" fmla="*/ 760695 w 1317625"/>
              <a:gd name="connsiteY1833" fmla="*/ 773466 h 1344613"/>
              <a:gd name="connsiteX1834" fmla="*/ 752475 w 1317625"/>
              <a:gd name="connsiteY1834" fmla="*/ 771349 h 1344613"/>
              <a:gd name="connsiteX1835" fmla="*/ 752475 w 1317625"/>
              <a:gd name="connsiteY1835" fmla="*/ 767207 h 1344613"/>
              <a:gd name="connsiteX1836" fmla="*/ 751779 w 1317625"/>
              <a:gd name="connsiteY1836" fmla="*/ 767105 h 1344613"/>
              <a:gd name="connsiteX1837" fmla="*/ 750040 w 1317625"/>
              <a:gd name="connsiteY1837" fmla="*/ 764542 h 1344613"/>
              <a:gd name="connsiteX1838" fmla="*/ 747865 w 1317625"/>
              <a:gd name="connsiteY1838" fmla="*/ 761979 h 1344613"/>
              <a:gd name="connsiteX1839" fmla="*/ 746995 w 1317625"/>
              <a:gd name="connsiteY1839" fmla="*/ 760442 h 1344613"/>
              <a:gd name="connsiteX1840" fmla="*/ 746560 w 1317625"/>
              <a:gd name="connsiteY1840" fmla="*/ 758391 h 1344613"/>
              <a:gd name="connsiteX1841" fmla="*/ 746125 w 1317625"/>
              <a:gd name="connsiteY1841" fmla="*/ 756341 h 1344613"/>
              <a:gd name="connsiteX1842" fmla="*/ 746125 w 1317625"/>
              <a:gd name="connsiteY1842" fmla="*/ 753778 h 1344613"/>
              <a:gd name="connsiteX1843" fmla="*/ 752475 w 1317625"/>
              <a:gd name="connsiteY1843" fmla="*/ 755139 h 1344613"/>
              <a:gd name="connsiteX1844" fmla="*/ 752475 w 1317625"/>
              <a:gd name="connsiteY1844" fmla="*/ 753710 h 1344613"/>
              <a:gd name="connsiteX1845" fmla="*/ 752475 w 1317625"/>
              <a:gd name="connsiteY1845" fmla="*/ 743127 h 1344613"/>
              <a:gd name="connsiteX1846" fmla="*/ 752475 w 1317625"/>
              <a:gd name="connsiteY1846" fmla="*/ 731838 h 1344613"/>
              <a:gd name="connsiteX1847" fmla="*/ 757955 w 1317625"/>
              <a:gd name="connsiteY1847" fmla="*/ 731838 h 1344613"/>
              <a:gd name="connsiteX1848" fmla="*/ 761087 w 1317625"/>
              <a:gd name="connsiteY1848" fmla="*/ 731838 h 1344613"/>
              <a:gd name="connsiteX1849" fmla="*/ 764610 w 1317625"/>
              <a:gd name="connsiteY1849" fmla="*/ 731838 h 1344613"/>
              <a:gd name="connsiteX1850" fmla="*/ 768133 w 1317625"/>
              <a:gd name="connsiteY1850" fmla="*/ 731838 h 1344613"/>
              <a:gd name="connsiteX1851" fmla="*/ 772830 w 1317625"/>
              <a:gd name="connsiteY1851" fmla="*/ 731838 h 1344613"/>
              <a:gd name="connsiteX1852" fmla="*/ 777136 w 1317625"/>
              <a:gd name="connsiteY1852" fmla="*/ 730427 h 1344613"/>
              <a:gd name="connsiteX1853" fmla="*/ 781050 w 1317625"/>
              <a:gd name="connsiteY1853" fmla="*/ 729016 h 1344613"/>
              <a:gd name="connsiteX1854" fmla="*/ 784965 w 1317625"/>
              <a:gd name="connsiteY1854" fmla="*/ 726899 h 1344613"/>
              <a:gd name="connsiteX1855" fmla="*/ 791630 w 1317625"/>
              <a:gd name="connsiteY1855" fmla="*/ 722894 h 1344613"/>
              <a:gd name="connsiteX1856" fmla="*/ 791069 w 1317625"/>
              <a:gd name="connsiteY1856" fmla="*/ 723042 h 1344613"/>
              <a:gd name="connsiteX1857" fmla="*/ 783510 w 1317625"/>
              <a:gd name="connsiteY1857" fmla="*/ 726131 h 1344613"/>
              <a:gd name="connsiteX1858" fmla="*/ 779508 w 1317625"/>
              <a:gd name="connsiteY1858" fmla="*/ 727676 h 1344613"/>
              <a:gd name="connsiteX1859" fmla="*/ 775061 w 1317625"/>
              <a:gd name="connsiteY1859" fmla="*/ 728706 h 1344613"/>
              <a:gd name="connsiteX1860" fmla="*/ 770615 w 1317625"/>
              <a:gd name="connsiteY1860" fmla="*/ 730250 h 1344613"/>
              <a:gd name="connsiteX1861" fmla="*/ 765279 w 1317625"/>
              <a:gd name="connsiteY1861" fmla="*/ 730250 h 1344613"/>
              <a:gd name="connsiteX1862" fmla="*/ 760832 w 1317625"/>
              <a:gd name="connsiteY1862" fmla="*/ 730250 h 1344613"/>
              <a:gd name="connsiteX1863" fmla="*/ 755941 w 1317625"/>
              <a:gd name="connsiteY1863" fmla="*/ 730250 h 1344613"/>
              <a:gd name="connsiteX1864" fmla="*/ 750605 w 1317625"/>
              <a:gd name="connsiteY1864" fmla="*/ 730250 h 1344613"/>
              <a:gd name="connsiteX1865" fmla="*/ 747259 w 1317625"/>
              <a:gd name="connsiteY1865" fmla="*/ 730250 h 1344613"/>
              <a:gd name="connsiteX1866" fmla="*/ 746889 w 1317625"/>
              <a:gd name="connsiteY1866" fmla="*/ 736958 h 1344613"/>
              <a:gd name="connsiteX1867" fmla="*/ 746021 w 1317625"/>
              <a:gd name="connsiteY1867" fmla="*/ 743247 h 1344613"/>
              <a:gd name="connsiteX1868" fmla="*/ 744285 w 1317625"/>
              <a:gd name="connsiteY1868" fmla="*/ 748489 h 1344613"/>
              <a:gd name="connsiteX1869" fmla="*/ 742983 w 1317625"/>
              <a:gd name="connsiteY1869" fmla="*/ 753206 h 1344613"/>
              <a:gd name="connsiteX1870" fmla="*/ 742115 w 1317625"/>
              <a:gd name="connsiteY1870" fmla="*/ 757923 h 1344613"/>
              <a:gd name="connsiteX1871" fmla="*/ 742549 w 1317625"/>
              <a:gd name="connsiteY1871" fmla="*/ 762116 h 1344613"/>
              <a:gd name="connsiteX1872" fmla="*/ 742915 w 1317625"/>
              <a:gd name="connsiteY1872" fmla="*/ 763881 h 1344613"/>
              <a:gd name="connsiteX1873" fmla="*/ 742115 w 1317625"/>
              <a:gd name="connsiteY1873" fmla="*/ 763688 h 1344613"/>
              <a:gd name="connsiteX1874" fmla="*/ 739946 w 1317625"/>
              <a:gd name="connsiteY1874" fmla="*/ 763688 h 1344613"/>
              <a:gd name="connsiteX1875" fmla="*/ 738644 w 1317625"/>
              <a:gd name="connsiteY1875" fmla="*/ 763688 h 1344613"/>
              <a:gd name="connsiteX1876" fmla="*/ 737342 w 1317625"/>
              <a:gd name="connsiteY1876" fmla="*/ 763688 h 1344613"/>
              <a:gd name="connsiteX1877" fmla="*/ 736040 w 1317625"/>
              <a:gd name="connsiteY1877" fmla="*/ 763164 h 1344613"/>
              <a:gd name="connsiteX1878" fmla="*/ 735172 w 1317625"/>
              <a:gd name="connsiteY1878" fmla="*/ 762116 h 1344613"/>
              <a:gd name="connsiteX1879" fmla="*/ 733870 w 1317625"/>
              <a:gd name="connsiteY1879" fmla="*/ 760543 h 1344613"/>
              <a:gd name="connsiteX1880" fmla="*/ 732134 w 1317625"/>
              <a:gd name="connsiteY1880" fmla="*/ 758447 h 1344613"/>
              <a:gd name="connsiteX1881" fmla="*/ 731266 w 1317625"/>
              <a:gd name="connsiteY1881" fmla="*/ 755302 h 1344613"/>
              <a:gd name="connsiteX1882" fmla="*/ 730399 w 1317625"/>
              <a:gd name="connsiteY1882" fmla="*/ 751109 h 1344613"/>
              <a:gd name="connsiteX1883" fmla="*/ 722587 w 1317625"/>
              <a:gd name="connsiteY1883" fmla="*/ 753730 h 1344613"/>
              <a:gd name="connsiteX1884" fmla="*/ 717380 w 1317625"/>
              <a:gd name="connsiteY1884" fmla="*/ 755826 h 1344613"/>
              <a:gd name="connsiteX1885" fmla="*/ 715210 w 1317625"/>
              <a:gd name="connsiteY1885" fmla="*/ 757399 h 1344613"/>
              <a:gd name="connsiteX1886" fmla="*/ 713474 w 1317625"/>
              <a:gd name="connsiteY1886" fmla="*/ 758971 h 1344613"/>
              <a:gd name="connsiteX1887" fmla="*/ 712173 w 1317625"/>
              <a:gd name="connsiteY1887" fmla="*/ 760019 h 1344613"/>
              <a:gd name="connsiteX1888" fmla="*/ 711305 w 1317625"/>
              <a:gd name="connsiteY1888" fmla="*/ 761592 h 1344613"/>
              <a:gd name="connsiteX1889" fmla="*/ 710437 w 1317625"/>
              <a:gd name="connsiteY1889" fmla="*/ 764736 h 1344613"/>
              <a:gd name="connsiteX1890" fmla="*/ 710003 w 1317625"/>
              <a:gd name="connsiteY1890" fmla="*/ 768929 h 1344613"/>
              <a:gd name="connsiteX1891" fmla="*/ 710003 w 1317625"/>
              <a:gd name="connsiteY1891" fmla="*/ 774170 h 1344613"/>
              <a:gd name="connsiteX1892" fmla="*/ 710003 w 1317625"/>
              <a:gd name="connsiteY1892" fmla="*/ 780460 h 1344613"/>
              <a:gd name="connsiteX1893" fmla="*/ 710437 w 1317625"/>
              <a:gd name="connsiteY1893" fmla="*/ 787797 h 1344613"/>
              <a:gd name="connsiteX1894" fmla="*/ 711305 w 1317625"/>
              <a:gd name="connsiteY1894" fmla="*/ 794087 h 1344613"/>
              <a:gd name="connsiteX1895" fmla="*/ 713040 w 1317625"/>
              <a:gd name="connsiteY1895" fmla="*/ 799328 h 1344613"/>
              <a:gd name="connsiteX1896" fmla="*/ 715644 w 1317625"/>
              <a:gd name="connsiteY1896" fmla="*/ 804045 h 1344613"/>
              <a:gd name="connsiteX1897" fmla="*/ 716946 w 1317625"/>
              <a:gd name="connsiteY1897" fmla="*/ 806141 h 1344613"/>
              <a:gd name="connsiteX1898" fmla="*/ 718682 w 1317625"/>
              <a:gd name="connsiteY1898" fmla="*/ 807714 h 1344613"/>
              <a:gd name="connsiteX1899" fmla="*/ 720418 w 1317625"/>
              <a:gd name="connsiteY1899" fmla="*/ 809286 h 1344613"/>
              <a:gd name="connsiteX1900" fmla="*/ 722153 w 1317625"/>
              <a:gd name="connsiteY1900" fmla="*/ 810334 h 1344613"/>
              <a:gd name="connsiteX1901" fmla="*/ 724323 w 1317625"/>
              <a:gd name="connsiteY1901" fmla="*/ 811383 h 1344613"/>
              <a:gd name="connsiteX1902" fmla="*/ 726059 w 1317625"/>
              <a:gd name="connsiteY1902" fmla="*/ 811907 h 1344613"/>
              <a:gd name="connsiteX1903" fmla="*/ 727795 w 1317625"/>
              <a:gd name="connsiteY1903" fmla="*/ 812431 h 1344613"/>
              <a:gd name="connsiteX1904" fmla="*/ 730399 w 1317625"/>
              <a:gd name="connsiteY1904" fmla="*/ 812431 h 1344613"/>
              <a:gd name="connsiteX1905" fmla="*/ 730399 w 1317625"/>
              <a:gd name="connsiteY1905" fmla="*/ 814527 h 1344613"/>
              <a:gd name="connsiteX1906" fmla="*/ 731266 w 1317625"/>
              <a:gd name="connsiteY1906" fmla="*/ 817148 h 1344613"/>
              <a:gd name="connsiteX1907" fmla="*/ 732568 w 1317625"/>
              <a:gd name="connsiteY1907" fmla="*/ 819244 h 1344613"/>
              <a:gd name="connsiteX1908" fmla="*/ 734738 w 1317625"/>
              <a:gd name="connsiteY1908" fmla="*/ 821341 h 1344613"/>
              <a:gd name="connsiteX1909" fmla="*/ 739512 w 1317625"/>
              <a:gd name="connsiteY1909" fmla="*/ 825534 h 1344613"/>
              <a:gd name="connsiteX1910" fmla="*/ 745153 w 1317625"/>
              <a:gd name="connsiteY1910" fmla="*/ 829727 h 1344613"/>
              <a:gd name="connsiteX1911" fmla="*/ 755568 w 1317625"/>
              <a:gd name="connsiteY1911" fmla="*/ 837064 h 1344613"/>
              <a:gd name="connsiteX1912" fmla="*/ 761643 w 1317625"/>
              <a:gd name="connsiteY1912" fmla="*/ 841781 h 1344613"/>
              <a:gd name="connsiteX1913" fmla="*/ 793756 w 1317625"/>
              <a:gd name="connsiteY1913" fmla="*/ 874277 h 1344613"/>
              <a:gd name="connsiteX1914" fmla="*/ 795492 w 1317625"/>
              <a:gd name="connsiteY1914" fmla="*/ 877945 h 1344613"/>
              <a:gd name="connsiteX1915" fmla="*/ 798095 w 1317625"/>
              <a:gd name="connsiteY1915" fmla="*/ 881090 h 1344613"/>
              <a:gd name="connsiteX1916" fmla="*/ 800265 w 1317625"/>
              <a:gd name="connsiteY1916" fmla="*/ 883711 h 1344613"/>
              <a:gd name="connsiteX1917" fmla="*/ 803303 w 1317625"/>
              <a:gd name="connsiteY1917" fmla="*/ 885807 h 1344613"/>
              <a:gd name="connsiteX1918" fmla="*/ 806774 w 1317625"/>
              <a:gd name="connsiteY1918" fmla="*/ 886855 h 1344613"/>
              <a:gd name="connsiteX1919" fmla="*/ 810246 w 1317625"/>
              <a:gd name="connsiteY1919" fmla="*/ 887904 h 1344613"/>
              <a:gd name="connsiteX1920" fmla="*/ 814585 w 1317625"/>
              <a:gd name="connsiteY1920" fmla="*/ 887904 h 1344613"/>
              <a:gd name="connsiteX1921" fmla="*/ 819359 w 1317625"/>
              <a:gd name="connsiteY1921" fmla="*/ 887380 h 1344613"/>
              <a:gd name="connsiteX1922" fmla="*/ 820227 w 1317625"/>
              <a:gd name="connsiteY1922" fmla="*/ 888952 h 1344613"/>
              <a:gd name="connsiteX1923" fmla="*/ 821963 w 1317625"/>
              <a:gd name="connsiteY1923" fmla="*/ 891048 h 1344613"/>
              <a:gd name="connsiteX1924" fmla="*/ 823265 w 1317625"/>
              <a:gd name="connsiteY1924" fmla="*/ 893145 h 1344613"/>
              <a:gd name="connsiteX1925" fmla="*/ 825000 w 1317625"/>
              <a:gd name="connsiteY1925" fmla="*/ 895765 h 1344613"/>
              <a:gd name="connsiteX1926" fmla="*/ 830208 w 1317625"/>
              <a:gd name="connsiteY1926" fmla="*/ 900482 h 1344613"/>
              <a:gd name="connsiteX1927" fmla="*/ 835849 w 1317625"/>
              <a:gd name="connsiteY1927" fmla="*/ 905724 h 1344613"/>
              <a:gd name="connsiteX1928" fmla="*/ 841491 w 1317625"/>
              <a:gd name="connsiteY1928" fmla="*/ 909917 h 1344613"/>
              <a:gd name="connsiteX1929" fmla="*/ 846698 w 1317625"/>
              <a:gd name="connsiteY1929" fmla="*/ 913061 h 1344613"/>
              <a:gd name="connsiteX1930" fmla="*/ 851038 w 1317625"/>
              <a:gd name="connsiteY1930" fmla="*/ 915158 h 1344613"/>
              <a:gd name="connsiteX1931" fmla="*/ 854075 w 1317625"/>
              <a:gd name="connsiteY1931" fmla="*/ 916206 h 1344613"/>
              <a:gd name="connsiteX1932" fmla="*/ 853641 w 1317625"/>
              <a:gd name="connsiteY1932" fmla="*/ 919875 h 1344613"/>
              <a:gd name="connsiteX1933" fmla="*/ 852339 w 1317625"/>
              <a:gd name="connsiteY1933" fmla="*/ 924068 h 1344613"/>
              <a:gd name="connsiteX1934" fmla="*/ 850604 w 1317625"/>
              <a:gd name="connsiteY1934" fmla="*/ 928785 h 1344613"/>
              <a:gd name="connsiteX1935" fmla="*/ 848434 w 1317625"/>
              <a:gd name="connsiteY1935" fmla="*/ 932454 h 1344613"/>
              <a:gd name="connsiteX1936" fmla="*/ 842792 w 1317625"/>
              <a:gd name="connsiteY1936" fmla="*/ 922495 h 1344613"/>
              <a:gd name="connsiteX1937" fmla="*/ 838019 w 1317625"/>
              <a:gd name="connsiteY1937" fmla="*/ 921971 h 1344613"/>
              <a:gd name="connsiteX1938" fmla="*/ 833245 w 1317625"/>
              <a:gd name="connsiteY1938" fmla="*/ 920399 h 1344613"/>
              <a:gd name="connsiteX1939" fmla="*/ 831510 w 1317625"/>
              <a:gd name="connsiteY1939" fmla="*/ 919875 h 1344613"/>
              <a:gd name="connsiteX1940" fmla="*/ 829340 w 1317625"/>
              <a:gd name="connsiteY1940" fmla="*/ 918826 h 1344613"/>
              <a:gd name="connsiteX1941" fmla="*/ 828472 w 1317625"/>
              <a:gd name="connsiteY1941" fmla="*/ 917254 h 1344613"/>
              <a:gd name="connsiteX1942" fmla="*/ 828038 w 1317625"/>
              <a:gd name="connsiteY1942" fmla="*/ 916206 h 1344613"/>
              <a:gd name="connsiteX1943" fmla="*/ 823699 w 1317625"/>
              <a:gd name="connsiteY1943" fmla="*/ 916206 h 1344613"/>
              <a:gd name="connsiteX1944" fmla="*/ 819359 w 1317625"/>
              <a:gd name="connsiteY1944" fmla="*/ 916206 h 1344613"/>
              <a:gd name="connsiteX1945" fmla="*/ 819359 w 1317625"/>
              <a:gd name="connsiteY1945" fmla="*/ 919351 h 1344613"/>
              <a:gd name="connsiteX1946" fmla="*/ 819359 w 1317625"/>
              <a:gd name="connsiteY1946" fmla="*/ 923019 h 1344613"/>
              <a:gd name="connsiteX1947" fmla="*/ 819359 w 1317625"/>
              <a:gd name="connsiteY1947" fmla="*/ 927212 h 1344613"/>
              <a:gd name="connsiteX1948" fmla="*/ 819359 w 1317625"/>
              <a:gd name="connsiteY1948" fmla="*/ 932454 h 1344613"/>
              <a:gd name="connsiteX1949" fmla="*/ 819793 w 1317625"/>
              <a:gd name="connsiteY1949" fmla="*/ 936122 h 1344613"/>
              <a:gd name="connsiteX1950" fmla="*/ 821963 w 1317625"/>
              <a:gd name="connsiteY1950" fmla="*/ 940315 h 1344613"/>
              <a:gd name="connsiteX1951" fmla="*/ 822831 w 1317625"/>
              <a:gd name="connsiteY1951" fmla="*/ 942412 h 1344613"/>
              <a:gd name="connsiteX1952" fmla="*/ 824132 w 1317625"/>
              <a:gd name="connsiteY1952" fmla="*/ 943984 h 1344613"/>
              <a:gd name="connsiteX1953" fmla="*/ 826302 w 1317625"/>
              <a:gd name="connsiteY1953" fmla="*/ 945032 h 1344613"/>
              <a:gd name="connsiteX1954" fmla="*/ 828038 w 1317625"/>
              <a:gd name="connsiteY1954" fmla="*/ 945556 h 1344613"/>
              <a:gd name="connsiteX1955" fmla="*/ 826302 w 1317625"/>
              <a:gd name="connsiteY1955" fmla="*/ 950798 h 1344613"/>
              <a:gd name="connsiteX1956" fmla="*/ 823699 w 1317625"/>
              <a:gd name="connsiteY1956" fmla="*/ 957087 h 1344613"/>
              <a:gd name="connsiteX1957" fmla="*/ 822831 w 1317625"/>
              <a:gd name="connsiteY1957" fmla="*/ 960232 h 1344613"/>
              <a:gd name="connsiteX1958" fmla="*/ 821963 w 1317625"/>
              <a:gd name="connsiteY1958" fmla="*/ 962852 h 1344613"/>
              <a:gd name="connsiteX1959" fmla="*/ 820227 w 1317625"/>
              <a:gd name="connsiteY1959" fmla="*/ 964425 h 1344613"/>
              <a:gd name="connsiteX1960" fmla="*/ 819359 w 1317625"/>
              <a:gd name="connsiteY1960" fmla="*/ 964949 h 1344613"/>
              <a:gd name="connsiteX1961" fmla="*/ 817189 w 1317625"/>
              <a:gd name="connsiteY1961" fmla="*/ 973335 h 1344613"/>
              <a:gd name="connsiteX1962" fmla="*/ 814152 w 1317625"/>
              <a:gd name="connsiteY1962" fmla="*/ 980148 h 1344613"/>
              <a:gd name="connsiteX1963" fmla="*/ 812850 w 1317625"/>
              <a:gd name="connsiteY1963" fmla="*/ 983817 h 1344613"/>
              <a:gd name="connsiteX1964" fmla="*/ 811982 w 1317625"/>
              <a:gd name="connsiteY1964" fmla="*/ 986962 h 1344613"/>
              <a:gd name="connsiteX1965" fmla="*/ 811548 w 1317625"/>
              <a:gd name="connsiteY1965" fmla="*/ 990630 h 1344613"/>
              <a:gd name="connsiteX1966" fmla="*/ 810680 w 1317625"/>
              <a:gd name="connsiteY1966" fmla="*/ 993775 h 1344613"/>
              <a:gd name="connsiteX1967" fmla="*/ 805039 w 1317625"/>
              <a:gd name="connsiteY1967" fmla="*/ 992727 h 1344613"/>
              <a:gd name="connsiteX1968" fmla="*/ 798529 w 1317625"/>
              <a:gd name="connsiteY1968" fmla="*/ 990630 h 1344613"/>
              <a:gd name="connsiteX1969" fmla="*/ 793322 w 1317625"/>
              <a:gd name="connsiteY1969" fmla="*/ 988010 h 1344613"/>
              <a:gd name="connsiteX1970" fmla="*/ 790718 w 1317625"/>
              <a:gd name="connsiteY1970" fmla="*/ 986962 h 1344613"/>
              <a:gd name="connsiteX1971" fmla="*/ 792454 w 1317625"/>
              <a:gd name="connsiteY1971" fmla="*/ 983817 h 1344613"/>
              <a:gd name="connsiteX1972" fmla="*/ 794190 w 1317625"/>
              <a:gd name="connsiteY1972" fmla="*/ 980672 h 1344613"/>
              <a:gd name="connsiteX1973" fmla="*/ 796359 w 1317625"/>
              <a:gd name="connsiteY1973" fmla="*/ 978052 h 1344613"/>
              <a:gd name="connsiteX1974" fmla="*/ 798963 w 1317625"/>
              <a:gd name="connsiteY1974" fmla="*/ 975431 h 1344613"/>
              <a:gd name="connsiteX1975" fmla="*/ 801133 w 1317625"/>
              <a:gd name="connsiteY1975" fmla="*/ 972810 h 1344613"/>
              <a:gd name="connsiteX1976" fmla="*/ 803303 w 1317625"/>
              <a:gd name="connsiteY1976" fmla="*/ 969666 h 1344613"/>
              <a:gd name="connsiteX1977" fmla="*/ 804171 w 1317625"/>
              <a:gd name="connsiteY1977" fmla="*/ 968093 h 1344613"/>
              <a:gd name="connsiteX1978" fmla="*/ 804605 w 1317625"/>
              <a:gd name="connsiteY1978" fmla="*/ 965997 h 1344613"/>
              <a:gd name="connsiteX1979" fmla="*/ 805039 w 1317625"/>
              <a:gd name="connsiteY1979" fmla="*/ 963900 h 1344613"/>
              <a:gd name="connsiteX1980" fmla="*/ 805039 w 1317625"/>
              <a:gd name="connsiteY1980" fmla="*/ 961804 h 1344613"/>
              <a:gd name="connsiteX1981" fmla="*/ 804605 w 1317625"/>
              <a:gd name="connsiteY1981" fmla="*/ 957611 h 1344613"/>
              <a:gd name="connsiteX1982" fmla="*/ 804171 w 1317625"/>
              <a:gd name="connsiteY1982" fmla="*/ 953942 h 1344613"/>
              <a:gd name="connsiteX1983" fmla="*/ 803303 w 1317625"/>
              <a:gd name="connsiteY1983" fmla="*/ 950273 h 1344613"/>
              <a:gd name="connsiteX1984" fmla="*/ 802001 w 1317625"/>
              <a:gd name="connsiteY1984" fmla="*/ 946605 h 1344613"/>
              <a:gd name="connsiteX1985" fmla="*/ 798095 w 1317625"/>
              <a:gd name="connsiteY1985" fmla="*/ 939267 h 1344613"/>
              <a:gd name="connsiteX1986" fmla="*/ 793756 w 1317625"/>
              <a:gd name="connsiteY1986" fmla="*/ 932454 h 1344613"/>
              <a:gd name="connsiteX1987" fmla="*/ 788548 w 1317625"/>
              <a:gd name="connsiteY1987" fmla="*/ 926164 h 1344613"/>
              <a:gd name="connsiteX1988" fmla="*/ 783341 w 1317625"/>
              <a:gd name="connsiteY1988" fmla="*/ 920399 h 1344613"/>
              <a:gd name="connsiteX1989" fmla="*/ 778133 w 1317625"/>
              <a:gd name="connsiteY1989" fmla="*/ 916206 h 1344613"/>
              <a:gd name="connsiteX1990" fmla="*/ 773360 w 1317625"/>
              <a:gd name="connsiteY1990" fmla="*/ 913061 h 1344613"/>
              <a:gd name="connsiteX1991" fmla="*/ 770322 w 1317625"/>
              <a:gd name="connsiteY1991" fmla="*/ 912537 h 1344613"/>
              <a:gd name="connsiteX1992" fmla="*/ 767285 w 1317625"/>
              <a:gd name="connsiteY1992" fmla="*/ 911489 h 1344613"/>
              <a:gd name="connsiteX1993" fmla="*/ 764681 w 1317625"/>
              <a:gd name="connsiteY1993" fmla="*/ 909917 h 1344613"/>
              <a:gd name="connsiteX1994" fmla="*/ 762077 w 1317625"/>
              <a:gd name="connsiteY1994" fmla="*/ 908868 h 1344613"/>
              <a:gd name="connsiteX1995" fmla="*/ 757304 w 1317625"/>
              <a:gd name="connsiteY1995" fmla="*/ 905724 h 1344613"/>
              <a:gd name="connsiteX1996" fmla="*/ 754266 w 1317625"/>
              <a:gd name="connsiteY1996" fmla="*/ 902055 h 1344613"/>
              <a:gd name="connsiteX1997" fmla="*/ 749059 w 1317625"/>
              <a:gd name="connsiteY1997" fmla="*/ 896289 h 1344613"/>
              <a:gd name="connsiteX1998" fmla="*/ 747323 w 1317625"/>
              <a:gd name="connsiteY1998" fmla="*/ 893669 h 1344613"/>
              <a:gd name="connsiteX1999" fmla="*/ 741247 w 1317625"/>
              <a:gd name="connsiteY1999" fmla="*/ 892097 h 1344613"/>
              <a:gd name="connsiteX2000" fmla="*/ 735606 w 1317625"/>
              <a:gd name="connsiteY2000" fmla="*/ 890524 h 1344613"/>
              <a:gd name="connsiteX2001" fmla="*/ 729965 w 1317625"/>
              <a:gd name="connsiteY2001" fmla="*/ 888428 h 1344613"/>
              <a:gd name="connsiteX2002" fmla="*/ 724757 w 1317625"/>
              <a:gd name="connsiteY2002" fmla="*/ 886331 h 1344613"/>
              <a:gd name="connsiteX2003" fmla="*/ 719550 w 1317625"/>
              <a:gd name="connsiteY2003" fmla="*/ 884235 h 1344613"/>
              <a:gd name="connsiteX2004" fmla="*/ 714776 w 1317625"/>
              <a:gd name="connsiteY2004" fmla="*/ 881614 h 1344613"/>
              <a:gd name="connsiteX2005" fmla="*/ 710437 w 1317625"/>
              <a:gd name="connsiteY2005" fmla="*/ 878470 h 1344613"/>
              <a:gd name="connsiteX2006" fmla="*/ 706097 w 1317625"/>
              <a:gd name="connsiteY2006" fmla="*/ 875849 h 1344613"/>
              <a:gd name="connsiteX2007" fmla="*/ 697852 w 1317625"/>
              <a:gd name="connsiteY2007" fmla="*/ 868511 h 1344613"/>
              <a:gd name="connsiteX2008" fmla="*/ 690909 w 1317625"/>
              <a:gd name="connsiteY2008" fmla="*/ 861698 h 1344613"/>
              <a:gd name="connsiteX2009" fmla="*/ 683966 w 1317625"/>
              <a:gd name="connsiteY2009" fmla="*/ 854360 h 1344613"/>
              <a:gd name="connsiteX2010" fmla="*/ 678324 w 1317625"/>
              <a:gd name="connsiteY2010" fmla="*/ 847023 h 1344613"/>
              <a:gd name="connsiteX2011" fmla="*/ 673551 w 1317625"/>
              <a:gd name="connsiteY2011" fmla="*/ 839161 h 1344613"/>
              <a:gd name="connsiteX2012" fmla="*/ 669211 w 1317625"/>
              <a:gd name="connsiteY2012" fmla="*/ 831823 h 1344613"/>
              <a:gd name="connsiteX2013" fmla="*/ 665740 w 1317625"/>
              <a:gd name="connsiteY2013" fmla="*/ 825010 h 1344613"/>
              <a:gd name="connsiteX2014" fmla="*/ 662702 w 1317625"/>
              <a:gd name="connsiteY2014" fmla="*/ 818196 h 1344613"/>
              <a:gd name="connsiteX2015" fmla="*/ 657928 w 1317625"/>
              <a:gd name="connsiteY2015" fmla="*/ 807190 h 1344613"/>
              <a:gd name="connsiteX2016" fmla="*/ 654891 w 1317625"/>
              <a:gd name="connsiteY2016" fmla="*/ 799852 h 1344613"/>
              <a:gd name="connsiteX2017" fmla="*/ 647513 w 1317625"/>
              <a:gd name="connsiteY2017" fmla="*/ 799852 h 1344613"/>
              <a:gd name="connsiteX2018" fmla="*/ 641872 w 1317625"/>
              <a:gd name="connsiteY2018" fmla="*/ 799852 h 1344613"/>
              <a:gd name="connsiteX2019" fmla="*/ 636665 w 1317625"/>
              <a:gd name="connsiteY2019" fmla="*/ 799852 h 1344613"/>
              <a:gd name="connsiteX2020" fmla="*/ 632325 w 1317625"/>
              <a:gd name="connsiteY2020" fmla="*/ 799852 h 1344613"/>
              <a:gd name="connsiteX2021" fmla="*/ 629721 w 1317625"/>
              <a:gd name="connsiteY2021" fmla="*/ 800376 h 1344613"/>
              <a:gd name="connsiteX2022" fmla="*/ 627986 w 1317625"/>
              <a:gd name="connsiteY2022" fmla="*/ 800376 h 1344613"/>
              <a:gd name="connsiteX2023" fmla="*/ 625382 w 1317625"/>
              <a:gd name="connsiteY2023" fmla="*/ 801424 h 1344613"/>
              <a:gd name="connsiteX2024" fmla="*/ 623212 w 1317625"/>
              <a:gd name="connsiteY2024" fmla="*/ 802473 h 1344613"/>
              <a:gd name="connsiteX2025" fmla="*/ 618005 w 1317625"/>
              <a:gd name="connsiteY2025" fmla="*/ 805093 h 1344613"/>
              <a:gd name="connsiteX2026" fmla="*/ 612363 w 1317625"/>
              <a:gd name="connsiteY2026" fmla="*/ 809286 h 1344613"/>
              <a:gd name="connsiteX2027" fmla="*/ 609759 w 1317625"/>
              <a:gd name="connsiteY2027" fmla="*/ 805617 h 1344613"/>
              <a:gd name="connsiteX2028" fmla="*/ 608458 w 1317625"/>
              <a:gd name="connsiteY2028" fmla="*/ 801949 h 1344613"/>
              <a:gd name="connsiteX2029" fmla="*/ 606288 w 1317625"/>
              <a:gd name="connsiteY2029" fmla="*/ 797756 h 1344613"/>
              <a:gd name="connsiteX2030" fmla="*/ 605420 w 1317625"/>
              <a:gd name="connsiteY2030" fmla="*/ 793039 h 1344613"/>
              <a:gd name="connsiteX2031" fmla="*/ 604552 w 1317625"/>
              <a:gd name="connsiteY2031" fmla="*/ 788846 h 1344613"/>
              <a:gd name="connsiteX2032" fmla="*/ 603684 w 1317625"/>
              <a:gd name="connsiteY2032" fmla="*/ 783604 h 1344613"/>
              <a:gd name="connsiteX2033" fmla="*/ 603684 w 1317625"/>
              <a:gd name="connsiteY2033" fmla="*/ 778887 h 1344613"/>
              <a:gd name="connsiteX2034" fmla="*/ 603250 w 1317625"/>
              <a:gd name="connsiteY2034" fmla="*/ 774170 h 1344613"/>
              <a:gd name="connsiteX2035" fmla="*/ 603684 w 1317625"/>
              <a:gd name="connsiteY2035" fmla="*/ 767881 h 1344613"/>
              <a:gd name="connsiteX2036" fmla="*/ 604552 w 1317625"/>
              <a:gd name="connsiteY2036" fmla="*/ 762640 h 1344613"/>
              <a:gd name="connsiteX2037" fmla="*/ 605420 w 1317625"/>
              <a:gd name="connsiteY2037" fmla="*/ 756350 h 1344613"/>
              <a:gd name="connsiteX2038" fmla="*/ 605538 w 1317625"/>
              <a:gd name="connsiteY2038" fmla="*/ 754063 h 1344613"/>
              <a:gd name="connsiteX2039" fmla="*/ 597432 w 1317625"/>
              <a:gd name="connsiteY2039" fmla="*/ 754063 h 1344613"/>
              <a:gd name="connsiteX2040" fmla="*/ 595328 w 1317625"/>
              <a:gd name="connsiteY2040" fmla="*/ 754063 h 1344613"/>
              <a:gd name="connsiteX2041" fmla="*/ 592804 w 1317625"/>
              <a:gd name="connsiteY2041" fmla="*/ 752265 h 1344613"/>
              <a:gd name="connsiteX2042" fmla="*/ 590280 w 1317625"/>
              <a:gd name="connsiteY2042" fmla="*/ 750467 h 1344613"/>
              <a:gd name="connsiteX2043" fmla="*/ 587335 w 1317625"/>
              <a:gd name="connsiteY2043" fmla="*/ 748669 h 1344613"/>
              <a:gd name="connsiteX2044" fmla="*/ 584811 w 1317625"/>
              <a:gd name="connsiteY2044" fmla="*/ 746271 h 1344613"/>
              <a:gd name="connsiteX2045" fmla="*/ 582708 w 1317625"/>
              <a:gd name="connsiteY2045" fmla="*/ 743874 h 1344613"/>
              <a:gd name="connsiteX2046" fmla="*/ 581446 w 1317625"/>
              <a:gd name="connsiteY2046" fmla="*/ 741476 h 1344613"/>
              <a:gd name="connsiteX2047" fmla="*/ 581025 w 1317625"/>
              <a:gd name="connsiteY2047" fmla="*/ 739678 h 1344613"/>
              <a:gd name="connsiteX2048" fmla="*/ 583129 w 1317625"/>
              <a:gd name="connsiteY2048" fmla="*/ 737880 h 1344613"/>
              <a:gd name="connsiteX2049" fmla="*/ 585232 w 1317625"/>
              <a:gd name="connsiteY2049" fmla="*/ 735483 h 1344613"/>
              <a:gd name="connsiteX2050" fmla="*/ 586915 w 1317625"/>
              <a:gd name="connsiteY2050" fmla="*/ 731287 h 1344613"/>
              <a:gd name="connsiteX2051" fmla="*/ 589439 w 1317625"/>
              <a:gd name="connsiteY2051" fmla="*/ 727092 h 1344613"/>
              <a:gd name="connsiteX2052" fmla="*/ 590701 w 1317625"/>
              <a:gd name="connsiteY2052" fmla="*/ 722297 h 1344613"/>
              <a:gd name="connsiteX2053" fmla="*/ 592384 w 1317625"/>
              <a:gd name="connsiteY2053" fmla="*/ 717502 h 1344613"/>
              <a:gd name="connsiteX2054" fmla="*/ 593646 w 1317625"/>
              <a:gd name="connsiteY2054" fmla="*/ 712107 h 1344613"/>
              <a:gd name="connsiteX2055" fmla="*/ 594908 w 1317625"/>
              <a:gd name="connsiteY2055" fmla="*/ 706713 h 1344613"/>
              <a:gd name="connsiteX2056" fmla="*/ 608790 w 1317625"/>
              <a:gd name="connsiteY2056" fmla="*/ 703716 h 1344613"/>
              <a:gd name="connsiteX2057" fmla="*/ 624356 w 1317625"/>
              <a:gd name="connsiteY2057" fmla="*/ 700719 h 1344613"/>
              <a:gd name="connsiteX2058" fmla="*/ 640530 w 1317625"/>
              <a:gd name="connsiteY2058" fmla="*/ 697976 h 1344613"/>
              <a:gd name="connsiteX2059" fmla="*/ 634953 w 1317625"/>
              <a:gd name="connsiteY2059" fmla="*/ 697976 h 1344613"/>
              <a:gd name="connsiteX2060" fmla="*/ 629118 w 1317625"/>
              <a:gd name="connsiteY2060" fmla="*/ 697976 h 1344613"/>
              <a:gd name="connsiteX2061" fmla="*/ 623282 w 1317625"/>
              <a:gd name="connsiteY2061" fmla="*/ 697976 h 1344613"/>
              <a:gd name="connsiteX2062" fmla="*/ 617030 w 1317625"/>
              <a:gd name="connsiteY2062" fmla="*/ 699032 h 1344613"/>
              <a:gd name="connsiteX2063" fmla="*/ 610778 w 1317625"/>
              <a:gd name="connsiteY2063" fmla="*/ 700088 h 1344613"/>
              <a:gd name="connsiteX2064" fmla="*/ 614946 w 1317625"/>
              <a:gd name="connsiteY2064" fmla="*/ 686360 h 1344613"/>
              <a:gd name="connsiteX2065" fmla="*/ 617864 w 1317625"/>
              <a:gd name="connsiteY2065" fmla="*/ 673160 h 1344613"/>
              <a:gd name="connsiteX2066" fmla="*/ 619531 w 1317625"/>
              <a:gd name="connsiteY2066" fmla="*/ 666297 h 1344613"/>
              <a:gd name="connsiteX2067" fmla="*/ 621198 w 1317625"/>
              <a:gd name="connsiteY2067" fmla="*/ 660489 h 1344613"/>
              <a:gd name="connsiteX2068" fmla="*/ 622449 w 1317625"/>
              <a:gd name="connsiteY2068" fmla="*/ 655209 h 1344613"/>
              <a:gd name="connsiteX2069" fmla="*/ 624950 w 1317625"/>
              <a:gd name="connsiteY2069" fmla="*/ 650985 h 1344613"/>
              <a:gd name="connsiteX2070" fmla="*/ 616613 w 1317625"/>
              <a:gd name="connsiteY2070" fmla="*/ 648345 h 1344613"/>
              <a:gd name="connsiteX2071" fmla="*/ 607860 w 1317625"/>
              <a:gd name="connsiteY2071" fmla="*/ 646761 h 1344613"/>
              <a:gd name="connsiteX2072" fmla="*/ 599941 w 1317625"/>
              <a:gd name="connsiteY2072" fmla="*/ 645177 h 1344613"/>
              <a:gd name="connsiteX2073" fmla="*/ 591605 w 1317625"/>
              <a:gd name="connsiteY2073" fmla="*/ 644649 h 1344613"/>
              <a:gd name="connsiteX2074" fmla="*/ 591605 w 1317625"/>
              <a:gd name="connsiteY2074" fmla="*/ 624585 h 1344613"/>
              <a:gd name="connsiteX2075" fmla="*/ 594106 w 1317625"/>
              <a:gd name="connsiteY2075" fmla="*/ 608217 h 1344613"/>
              <a:gd name="connsiteX2076" fmla="*/ 588687 w 1317625"/>
              <a:gd name="connsiteY2076" fmla="*/ 592377 h 1344613"/>
              <a:gd name="connsiteX2077" fmla="*/ 587020 w 1317625"/>
              <a:gd name="connsiteY2077" fmla="*/ 592905 h 1344613"/>
              <a:gd name="connsiteX2078" fmla="*/ 585353 w 1317625"/>
              <a:gd name="connsiteY2078" fmla="*/ 592905 h 1344613"/>
              <a:gd name="connsiteX2079" fmla="*/ 584102 w 1317625"/>
              <a:gd name="connsiteY2079" fmla="*/ 591849 h 1344613"/>
              <a:gd name="connsiteX2080" fmla="*/ 583269 w 1317625"/>
              <a:gd name="connsiteY2080" fmla="*/ 590265 h 1344613"/>
              <a:gd name="connsiteX2081" fmla="*/ 582435 w 1317625"/>
              <a:gd name="connsiteY2081" fmla="*/ 588681 h 1344613"/>
              <a:gd name="connsiteX2082" fmla="*/ 580768 w 1317625"/>
              <a:gd name="connsiteY2082" fmla="*/ 587625 h 1344613"/>
              <a:gd name="connsiteX2083" fmla="*/ 579517 w 1317625"/>
              <a:gd name="connsiteY2083" fmla="*/ 586569 h 1344613"/>
              <a:gd name="connsiteX2084" fmla="*/ 577850 w 1317625"/>
              <a:gd name="connsiteY2084" fmla="*/ 586042 h 1344613"/>
              <a:gd name="connsiteX2085" fmla="*/ 591605 w 1317625"/>
              <a:gd name="connsiteY2085" fmla="*/ 556474 h 1344613"/>
              <a:gd name="connsiteX2086" fmla="*/ 591605 w 1317625"/>
              <a:gd name="connsiteY2086" fmla="*/ 551194 h 1344613"/>
              <a:gd name="connsiteX2087" fmla="*/ 592022 w 1317625"/>
              <a:gd name="connsiteY2087" fmla="*/ 547498 h 1344613"/>
              <a:gd name="connsiteX2088" fmla="*/ 592438 w 1317625"/>
              <a:gd name="connsiteY2088" fmla="*/ 544330 h 1344613"/>
              <a:gd name="connsiteX2089" fmla="*/ 592855 w 1317625"/>
              <a:gd name="connsiteY2089" fmla="*/ 541690 h 1344613"/>
              <a:gd name="connsiteX2090" fmla="*/ 594106 w 1317625"/>
              <a:gd name="connsiteY2090" fmla="*/ 537994 h 1344613"/>
              <a:gd name="connsiteX2091" fmla="*/ 596606 w 1317625"/>
              <a:gd name="connsiteY2091" fmla="*/ 534826 h 1344613"/>
              <a:gd name="connsiteX2092" fmla="*/ 598274 w 1317625"/>
              <a:gd name="connsiteY2092" fmla="*/ 532186 h 1344613"/>
              <a:gd name="connsiteX2093" fmla="*/ 601191 w 1317625"/>
              <a:gd name="connsiteY2093" fmla="*/ 527962 h 1344613"/>
              <a:gd name="connsiteX2094" fmla="*/ 602025 w 1317625"/>
              <a:gd name="connsiteY2094" fmla="*/ 524794 h 1344613"/>
              <a:gd name="connsiteX2095" fmla="*/ 603275 w 1317625"/>
              <a:gd name="connsiteY2095" fmla="*/ 521098 h 1344613"/>
              <a:gd name="connsiteX2096" fmla="*/ 604109 w 1317625"/>
              <a:gd name="connsiteY2096" fmla="*/ 516346 h 1344613"/>
              <a:gd name="connsiteX2097" fmla="*/ 605359 w 1317625"/>
              <a:gd name="connsiteY2097" fmla="*/ 511066 h 1344613"/>
              <a:gd name="connsiteX2098" fmla="*/ 611195 w 1317625"/>
              <a:gd name="connsiteY2098" fmla="*/ 506315 h 1344613"/>
              <a:gd name="connsiteX2099" fmla="*/ 616613 w 1317625"/>
              <a:gd name="connsiteY2099" fmla="*/ 502091 h 1344613"/>
              <a:gd name="connsiteX2100" fmla="*/ 619114 w 1317625"/>
              <a:gd name="connsiteY2100" fmla="*/ 500507 h 1344613"/>
              <a:gd name="connsiteX2101" fmla="*/ 621615 w 1317625"/>
              <a:gd name="connsiteY2101" fmla="*/ 499451 h 1344613"/>
              <a:gd name="connsiteX2102" fmla="*/ 624533 w 1317625"/>
              <a:gd name="connsiteY2102" fmla="*/ 498395 h 1344613"/>
              <a:gd name="connsiteX2103" fmla="*/ 627450 w 1317625"/>
              <a:gd name="connsiteY2103" fmla="*/ 498395 h 1344613"/>
              <a:gd name="connsiteX2104" fmla="*/ 623699 w 1317625"/>
              <a:gd name="connsiteY2104" fmla="*/ 495227 h 1344613"/>
              <a:gd name="connsiteX2105" fmla="*/ 619948 w 1317625"/>
              <a:gd name="connsiteY2105" fmla="*/ 491003 h 1344613"/>
              <a:gd name="connsiteX2106" fmla="*/ 618697 w 1317625"/>
              <a:gd name="connsiteY2106" fmla="*/ 489419 h 1344613"/>
              <a:gd name="connsiteX2107" fmla="*/ 617447 w 1317625"/>
              <a:gd name="connsiteY2107" fmla="*/ 487835 h 1344613"/>
              <a:gd name="connsiteX2108" fmla="*/ 616613 w 1317625"/>
              <a:gd name="connsiteY2108" fmla="*/ 486251 h 1344613"/>
              <a:gd name="connsiteX2109" fmla="*/ 616613 w 1317625"/>
              <a:gd name="connsiteY2109" fmla="*/ 484667 h 1344613"/>
              <a:gd name="connsiteX2110" fmla="*/ 616613 w 1317625"/>
              <a:gd name="connsiteY2110" fmla="*/ 480443 h 1344613"/>
              <a:gd name="connsiteX2111" fmla="*/ 617030 w 1317625"/>
              <a:gd name="connsiteY2111" fmla="*/ 476747 h 1344613"/>
              <a:gd name="connsiteX2112" fmla="*/ 617447 w 1317625"/>
              <a:gd name="connsiteY2112" fmla="*/ 474107 h 1344613"/>
              <a:gd name="connsiteX2113" fmla="*/ 618697 w 1317625"/>
              <a:gd name="connsiteY2113" fmla="*/ 471467 h 1344613"/>
              <a:gd name="connsiteX2114" fmla="*/ 621198 w 1317625"/>
              <a:gd name="connsiteY2114" fmla="*/ 466715 h 1344613"/>
              <a:gd name="connsiteX2115" fmla="*/ 624245 w 1317625"/>
              <a:gd name="connsiteY2115" fmla="*/ 462856 h 1344613"/>
              <a:gd name="connsiteX2116" fmla="*/ 623490 w 1317625"/>
              <a:gd name="connsiteY2116" fmla="*/ 462553 h 1344613"/>
              <a:gd name="connsiteX2117" fmla="*/ 622181 w 1317625"/>
              <a:gd name="connsiteY2117" fmla="*/ 461502 h 1344613"/>
              <a:gd name="connsiteX2118" fmla="*/ 619561 w 1317625"/>
              <a:gd name="connsiteY2118" fmla="*/ 460976 h 1344613"/>
              <a:gd name="connsiteX2119" fmla="*/ 616505 w 1317625"/>
              <a:gd name="connsiteY2119" fmla="*/ 459399 h 1344613"/>
              <a:gd name="connsiteX2120" fmla="*/ 613013 w 1317625"/>
              <a:gd name="connsiteY2120" fmla="*/ 456771 h 1344613"/>
              <a:gd name="connsiteX2121" fmla="*/ 609957 w 1317625"/>
              <a:gd name="connsiteY2121" fmla="*/ 454143 h 1344613"/>
              <a:gd name="connsiteX2122" fmla="*/ 606464 w 1317625"/>
              <a:gd name="connsiteY2122" fmla="*/ 450464 h 1344613"/>
              <a:gd name="connsiteX2123" fmla="*/ 604282 w 1317625"/>
              <a:gd name="connsiteY2123" fmla="*/ 446785 h 1344613"/>
              <a:gd name="connsiteX2124" fmla="*/ 602972 w 1317625"/>
              <a:gd name="connsiteY2124" fmla="*/ 444683 h 1344613"/>
              <a:gd name="connsiteX2125" fmla="*/ 602535 w 1317625"/>
              <a:gd name="connsiteY2125" fmla="*/ 443106 h 1344613"/>
              <a:gd name="connsiteX2126" fmla="*/ 602099 w 1317625"/>
              <a:gd name="connsiteY2126" fmla="*/ 441004 h 1344613"/>
              <a:gd name="connsiteX2127" fmla="*/ 601662 w 1317625"/>
              <a:gd name="connsiteY2127" fmla="*/ 439427 h 1344613"/>
              <a:gd name="connsiteX2128" fmla="*/ 602535 w 1317625"/>
              <a:gd name="connsiteY2128" fmla="*/ 432068 h 1344613"/>
              <a:gd name="connsiteX2129" fmla="*/ 605155 w 1317625"/>
              <a:gd name="connsiteY2129" fmla="*/ 422608 h 1344613"/>
              <a:gd name="connsiteX2130" fmla="*/ 607774 w 1317625"/>
              <a:gd name="connsiteY2130" fmla="*/ 412096 h 1344613"/>
              <a:gd name="connsiteX2131" fmla="*/ 610393 w 1317625"/>
              <a:gd name="connsiteY2131" fmla="*/ 403161 h 1344613"/>
              <a:gd name="connsiteX2132" fmla="*/ 615632 w 1317625"/>
              <a:gd name="connsiteY2132" fmla="*/ 402635 h 1344613"/>
              <a:gd name="connsiteX2133" fmla="*/ 619998 w 1317625"/>
              <a:gd name="connsiteY2133" fmla="*/ 402110 h 1344613"/>
              <a:gd name="connsiteX2134" fmla="*/ 623927 w 1317625"/>
              <a:gd name="connsiteY2134" fmla="*/ 401058 h 1344613"/>
              <a:gd name="connsiteX2135" fmla="*/ 626983 w 1317625"/>
              <a:gd name="connsiteY2135" fmla="*/ 399482 h 1344613"/>
              <a:gd name="connsiteX2136" fmla="*/ 632222 w 1317625"/>
              <a:gd name="connsiteY2136" fmla="*/ 396328 h 1344613"/>
              <a:gd name="connsiteX2137" fmla="*/ 636588 w 1317625"/>
              <a:gd name="connsiteY2137" fmla="*/ 393700 h 1344613"/>
              <a:gd name="connsiteX2138" fmla="*/ 638770 w 1317625"/>
              <a:gd name="connsiteY2138" fmla="*/ 394751 h 1344613"/>
              <a:gd name="connsiteX2139" fmla="*/ 642263 w 1317625"/>
              <a:gd name="connsiteY2139" fmla="*/ 397379 h 1344613"/>
              <a:gd name="connsiteX2140" fmla="*/ 644446 w 1317625"/>
              <a:gd name="connsiteY2140" fmla="*/ 398956 h 1344613"/>
              <a:gd name="connsiteX2141" fmla="*/ 646192 w 1317625"/>
              <a:gd name="connsiteY2141" fmla="*/ 400533 h 1344613"/>
              <a:gd name="connsiteX2142" fmla="*/ 647938 w 1317625"/>
              <a:gd name="connsiteY2142" fmla="*/ 402110 h 1344613"/>
              <a:gd name="connsiteX2143" fmla="*/ 648375 w 1317625"/>
              <a:gd name="connsiteY2143" fmla="*/ 403161 h 1344613"/>
              <a:gd name="connsiteX2144" fmla="*/ 645319 w 1317625"/>
              <a:gd name="connsiteY2144" fmla="*/ 408417 h 1344613"/>
              <a:gd name="connsiteX2145" fmla="*/ 642263 w 1317625"/>
              <a:gd name="connsiteY2145" fmla="*/ 413147 h 1344613"/>
              <a:gd name="connsiteX2146" fmla="*/ 643136 w 1317625"/>
              <a:gd name="connsiteY2146" fmla="*/ 415775 h 1344613"/>
              <a:gd name="connsiteX2147" fmla="*/ 644446 w 1317625"/>
              <a:gd name="connsiteY2147" fmla="*/ 419454 h 1344613"/>
              <a:gd name="connsiteX2148" fmla="*/ 646192 w 1317625"/>
              <a:gd name="connsiteY2148" fmla="*/ 423133 h 1344613"/>
              <a:gd name="connsiteX2149" fmla="*/ 648375 w 1317625"/>
              <a:gd name="connsiteY2149" fmla="*/ 426813 h 1344613"/>
              <a:gd name="connsiteX2150" fmla="*/ 651867 w 1317625"/>
              <a:gd name="connsiteY2150" fmla="*/ 433120 h 1344613"/>
              <a:gd name="connsiteX2151" fmla="*/ 654050 w 1317625"/>
              <a:gd name="connsiteY2151" fmla="*/ 435222 h 1344613"/>
              <a:gd name="connsiteX2152" fmla="*/ 650994 w 1317625"/>
              <a:gd name="connsiteY2152" fmla="*/ 436273 h 1344613"/>
              <a:gd name="connsiteX2153" fmla="*/ 648375 w 1317625"/>
              <a:gd name="connsiteY2153" fmla="*/ 437850 h 1344613"/>
              <a:gd name="connsiteX2154" fmla="*/ 645319 w 1317625"/>
              <a:gd name="connsiteY2154" fmla="*/ 439427 h 1344613"/>
              <a:gd name="connsiteX2155" fmla="*/ 643573 w 1317625"/>
              <a:gd name="connsiteY2155" fmla="*/ 441529 h 1344613"/>
              <a:gd name="connsiteX2156" fmla="*/ 640953 w 1317625"/>
              <a:gd name="connsiteY2156" fmla="*/ 443632 h 1344613"/>
              <a:gd name="connsiteX2157" fmla="*/ 639644 w 1317625"/>
              <a:gd name="connsiteY2157" fmla="*/ 445734 h 1344613"/>
              <a:gd name="connsiteX2158" fmla="*/ 637461 w 1317625"/>
              <a:gd name="connsiteY2158" fmla="*/ 448362 h 1344613"/>
              <a:gd name="connsiteX2159" fmla="*/ 636588 w 1317625"/>
              <a:gd name="connsiteY2159" fmla="*/ 450990 h 1344613"/>
              <a:gd name="connsiteX2160" fmla="*/ 636213 w 1317625"/>
              <a:gd name="connsiteY2160" fmla="*/ 452116 h 1344613"/>
              <a:gd name="connsiteX2161" fmla="*/ 638175 w 1317625"/>
              <a:gd name="connsiteY2161" fmla="*/ 450879 h 1344613"/>
              <a:gd name="connsiteX2162" fmla="*/ 641562 w 1317625"/>
              <a:gd name="connsiteY2162" fmla="*/ 448743 h 1344613"/>
              <a:gd name="connsiteX2163" fmla="*/ 645795 w 1317625"/>
              <a:gd name="connsiteY2163" fmla="*/ 447675 h 1344613"/>
              <a:gd name="connsiteX2164" fmla="*/ 646219 w 1317625"/>
              <a:gd name="connsiteY2164" fmla="*/ 454083 h 1344613"/>
              <a:gd name="connsiteX2165" fmla="*/ 646642 w 1317625"/>
              <a:gd name="connsiteY2165" fmla="*/ 460491 h 1344613"/>
              <a:gd name="connsiteX2166" fmla="*/ 648335 w 1317625"/>
              <a:gd name="connsiteY2166" fmla="*/ 465830 h 1344613"/>
              <a:gd name="connsiteX2167" fmla="*/ 649605 w 1317625"/>
              <a:gd name="connsiteY2167" fmla="*/ 471170 h 1344613"/>
              <a:gd name="connsiteX2168" fmla="*/ 652920 w 1317625"/>
              <a:gd name="connsiteY2168" fmla="*/ 483716 h 1344613"/>
              <a:gd name="connsiteX2169" fmla="*/ 657044 w 1317625"/>
              <a:gd name="connsiteY2169" fmla="*/ 487307 h 1344613"/>
              <a:gd name="connsiteX2170" fmla="*/ 663296 w 1317625"/>
              <a:gd name="connsiteY2170" fmla="*/ 492587 h 1344613"/>
              <a:gd name="connsiteX2171" fmla="*/ 668051 w 1317625"/>
              <a:gd name="connsiteY2171" fmla="*/ 496602 h 1344613"/>
              <a:gd name="connsiteX2172" fmla="*/ 666334 w 1317625"/>
              <a:gd name="connsiteY2172" fmla="*/ 492434 h 1344613"/>
              <a:gd name="connsiteX2173" fmla="*/ 663367 w 1317625"/>
              <a:gd name="connsiteY2173" fmla="*/ 480729 h 1344613"/>
              <a:gd name="connsiteX2174" fmla="*/ 661884 w 1317625"/>
              <a:gd name="connsiteY2174" fmla="*/ 475326 h 1344613"/>
              <a:gd name="connsiteX2175" fmla="*/ 661389 w 1317625"/>
              <a:gd name="connsiteY2175" fmla="*/ 469924 h 1344613"/>
              <a:gd name="connsiteX2176" fmla="*/ 660895 w 1317625"/>
              <a:gd name="connsiteY2176" fmla="*/ 464522 h 1344613"/>
              <a:gd name="connsiteX2177" fmla="*/ 660400 w 1317625"/>
              <a:gd name="connsiteY2177" fmla="*/ 459120 h 1344613"/>
              <a:gd name="connsiteX2178" fmla="*/ 660400 w 1317625"/>
              <a:gd name="connsiteY2178" fmla="*/ 451016 h 1344613"/>
              <a:gd name="connsiteX2179" fmla="*/ 660400 w 1317625"/>
              <a:gd name="connsiteY2179" fmla="*/ 442913 h 1344613"/>
              <a:gd name="connsiteX2180" fmla="*/ 663367 w 1317625"/>
              <a:gd name="connsiteY2180" fmla="*/ 444714 h 1344613"/>
              <a:gd name="connsiteX2181" fmla="*/ 665345 w 1317625"/>
              <a:gd name="connsiteY2181" fmla="*/ 445614 h 1344613"/>
              <a:gd name="connsiteX2182" fmla="*/ 666828 w 1317625"/>
              <a:gd name="connsiteY2182" fmla="*/ 446515 h 1344613"/>
              <a:gd name="connsiteX2183" fmla="*/ 669301 w 1317625"/>
              <a:gd name="connsiteY2183" fmla="*/ 446515 h 1344613"/>
              <a:gd name="connsiteX2184" fmla="*/ 674245 w 1317625"/>
              <a:gd name="connsiteY2184" fmla="*/ 445614 h 1344613"/>
              <a:gd name="connsiteX2185" fmla="*/ 680673 w 1317625"/>
              <a:gd name="connsiteY2185" fmla="*/ 442913 h 1344613"/>
              <a:gd name="connsiteX2186" fmla="*/ 686607 w 1317625"/>
              <a:gd name="connsiteY2186" fmla="*/ 455518 h 1344613"/>
              <a:gd name="connsiteX2187" fmla="*/ 690562 w 1317625"/>
              <a:gd name="connsiteY2187" fmla="*/ 464522 h 1344613"/>
              <a:gd name="connsiteX2188" fmla="*/ 689573 w 1317625"/>
              <a:gd name="connsiteY2188" fmla="*/ 471725 h 1344613"/>
              <a:gd name="connsiteX2189" fmla="*/ 688584 w 1317625"/>
              <a:gd name="connsiteY2189" fmla="*/ 478928 h 1344613"/>
              <a:gd name="connsiteX2190" fmla="*/ 686607 w 1317625"/>
              <a:gd name="connsiteY2190" fmla="*/ 485231 h 1344613"/>
              <a:gd name="connsiteX2191" fmla="*/ 684134 w 1317625"/>
              <a:gd name="connsiteY2191" fmla="*/ 490633 h 1344613"/>
              <a:gd name="connsiteX2192" fmla="*/ 683320 w 1317625"/>
              <a:gd name="connsiteY2192" fmla="*/ 491868 h 1344613"/>
              <a:gd name="connsiteX2193" fmla="*/ 686220 w 1317625"/>
              <a:gd name="connsiteY2193" fmla="*/ 489419 h 1344613"/>
              <a:gd name="connsiteX2194" fmla="*/ 689555 w 1317625"/>
              <a:gd name="connsiteY2194" fmla="*/ 486779 h 1344613"/>
              <a:gd name="connsiteX2195" fmla="*/ 692889 w 1317625"/>
              <a:gd name="connsiteY2195" fmla="*/ 484139 h 1344613"/>
              <a:gd name="connsiteX2196" fmla="*/ 695390 w 1317625"/>
              <a:gd name="connsiteY2196" fmla="*/ 483083 h 1344613"/>
              <a:gd name="connsiteX2197" fmla="*/ 697474 w 1317625"/>
              <a:gd name="connsiteY2197" fmla="*/ 482555 h 1344613"/>
              <a:gd name="connsiteX2198" fmla="*/ 699975 w 1317625"/>
              <a:gd name="connsiteY2198" fmla="*/ 482027 h 1344613"/>
              <a:gd name="connsiteX2199" fmla="*/ 702059 w 1317625"/>
              <a:gd name="connsiteY2199" fmla="*/ 481499 h 1344613"/>
              <a:gd name="connsiteX2200" fmla="*/ 705810 w 1317625"/>
              <a:gd name="connsiteY2200" fmla="*/ 482027 h 1344613"/>
              <a:gd name="connsiteX2201" fmla="*/ 708728 w 1317625"/>
              <a:gd name="connsiteY2201" fmla="*/ 482027 h 1344613"/>
              <a:gd name="connsiteX2202" fmla="*/ 711229 w 1317625"/>
              <a:gd name="connsiteY2202" fmla="*/ 483083 h 1344613"/>
              <a:gd name="connsiteX2203" fmla="*/ 713730 w 1317625"/>
              <a:gd name="connsiteY2203" fmla="*/ 483611 h 1344613"/>
              <a:gd name="connsiteX2204" fmla="*/ 717481 w 1317625"/>
              <a:gd name="connsiteY2204" fmla="*/ 485723 h 1344613"/>
              <a:gd name="connsiteX2205" fmla="*/ 720399 w 1317625"/>
              <a:gd name="connsiteY2205" fmla="*/ 487835 h 1344613"/>
              <a:gd name="connsiteX2206" fmla="*/ 723316 w 1317625"/>
              <a:gd name="connsiteY2206" fmla="*/ 490475 h 1344613"/>
              <a:gd name="connsiteX2207" fmla="*/ 726234 w 1317625"/>
              <a:gd name="connsiteY2207" fmla="*/ 492587 h 1344613"/>
              <a:gd name="connsiteX2208" fmla="*/ 727484 w 1317625"/>
              <a:gd name="connsiteY2208" fmla="*/ 493643 h 1344613"/>
              <a:gd name="connsiteX2209" fmla="*/ 729152 w 1317625"/>
              <a:gd name="connsiteY2209" fmla="*/ 494171 h 1344613"/>
              <a:gd name="connsiteX2210" fmla="*/ 730819 w 1317625"/>
              <a:gd name="connsiteY2210" fmla="*/ 494699 h 1344613"/>
              <a:gd name="connsiteX2211" fmla="*/ 732903 w 1317625"/>
              <a:gd name="connsiteY2211" fmla="*/ 494699 h 1344613"/>
              <a:gd name="connsiteX2212" fmla="*/ 736237 w 1317625"/>
              <a:gd name="connsiteY2212" fmla="*/ 501035 h 1344613"/>
              <a:gd name="connsiteX2213" fmla="*/ 739155 w 1317625"/>
              <a:gd name="connsiteY2213" fmla="*/ 506842 h 1344613"/>
              <a:gd name="connsiteX2214" fmla="*/ 741656 w 1317625"/>
              <a:gd name="connsiteY2214" fmla="*/ 512122 h 1344613"/>
              <a:gd name="connsiteX2215" fmla="*/ 743740 w 1317625"/>
              <a:gd name="connsiteY2215" fmla="*/ 517930 h 1344613"/>
              <a:gd name="connsiteX2216" fmla="*/ 747908 w 1317625"/>
              <a:gd name="connsiteY2216" fmla="*/ 529546 h 1344613"/>
              <a:gd name="connsiteX2217" fmla="*/ 750826 w 1317625"/>
              <a:gd name="connsiteY2217" fmla="*/ 540106 h 1344613"/>
              <a:gd name="connsiteX2218" fmla="*/ 752910 w 1317625"/>
              <a:gd name="connsiteY2218" fmla="*/ 551194 h 1344613"/>
              <a:gd name="connsiteX2219" fmla="*/ 755411 w 1317625"/>
              <a:gd name="connsiteY2219" fmla="*/ 562282 h 1344613"/>
              <a:gd name="connsiteX2220" fmla="*/ 757495 w 1317625"/>
              <a:gd name="connsiteY2220" fmla="*/ 573898 h 1344613"/>
              <a:gd name="connsiteX2221" fmla="*/ 760412 w 1317625"/>
              <a:gd name="connsiteY2221" fmla="*/ 586042 h 1344613"/>
              <a:gd name="connsiteX2222" fmla="*/ 755827 w 1317625"/>
              <a:gd name="connsiteY2222" fmla="*/ 586569 h 1344613"/>
              <a:gd name="connsiteX2223" fmla="*/ 751242 w 1317625"/>
              <a:gd name="connsiteY2223" fmla="*/ 587097 h 1344613"/>
              <a:gd name="connsiteX2224" fmla="*/ 747491 w 1317625"/>
              <a:gd name="connsiteY2224" fmla="*/ 588681 h 1344613"/>
              <a:gd name="connsiteX2225" fmla="*/ 743740 w 1317625"/>
              <a:gd name="connsiteY2225" fmla="*/ 590265 h 1344613"/>
              <a:gd name="connsiteX2226" fmla="*/ 737488 w 1317625"/>
              <a:gd name="connsiteY2226" fmla="*/ 594489 h 1344613"/>
              <a:gd name="connsiteX2227" fmla="*/ 731652 w 1317625"/>
              <a:gd name="connsiteY2227" fmla="*/ 599241 h 1344613"/>
              <a:gd name="connsiteX2228" fmla="*/ 728735 w 1317625"/>
              <a:gd name="connsiteY2228" fmla="*/ 601353 h 1344613"/>
              <a:gd name="connsiteX2229" fmla="*/ 725400 w 1317625"/>
              <a:gd name="connsiteY2229" fmla="*/ 603465 h 1344613"/>
              <a:gd name="connsiteX2230" fmla="*/ 722066 w 1317625"/>
              <a:gd name="connsiteY2230" fmla="*/ 605049 h 1344613"/>
              <a:gd name="connsiteX2231" fmla="*/ 717898 w 1317625"/>
              <a:gd name="connsiteY2231" fmla="*/ 606105 h 1344613"/>
              <a:gd name="connsiteX2232" fmla="*/ 713730 w 1317625"/>
              <a:gd name="connsiteY2232" fmla="*/ 607161 h 1344613"/>
              <a:gd name="connsiteX2233" fmla="*/ 708728 w 1317625"/>
              <a:gd name="connsiteY2233" fmla="*/ 607161 h 1344613"/>
              <a:gd name="connsiteX2234" fmla="*/ 703310 w 1317625"/>
              <a:gd name="connsiteY2234" fmla="*/ 606633 h 1344613"/>
              <a:gd name="connsiteX2235" fmla="*/ 696641 w 1317625"/>
              <a:gd name="connsiteY2235" fmla="*/ 605049 h 1344613"/>
              <a:gd name="connsiteX2236" fmla="*/ 698758 w 1317625"/>
              <a:gd name="connsiteY2236" fmla="*/ 606838 h 1344613"/>
              <a:gd name="connsiteX2237" fmla="*/ 704016 w 1317625"/>
              <a:gd name="connsiteY2237" fmla="*/ 608013 h 1344613"/>
              <a:gd name="connsiteX2238" fmla="*/ 709788 w 1317625"/>
              <a:gd name="connsiteY2238" fmla="*/ 608542 h 1344613"/>
              <a:gd name="connsiteX2239" fmla="*/ 715116 w 1317625"/>
              <a:gd name="connsiteY2239" fmla="*/ 608542 h 1344613"/>
              <a:gd name="connsiteX2240" fmla="*/ 720000 w 1317625"/>
              <a:gd name="connsiteY2240" fmla="*/ 607484 h 1344613"/>
              <a:gd name="connsiteX2241" fmla="*/ 724440 w 1317625"/>
              <a:gd name="connsiteY2241" fmla="*/ 606425 h 1344613"/>
              <a:gd name="connsiteX2242" fmla="*/ 728880 w 1317625"/>
              <a:gd name="connsiteY2242" fmla="*/ 604838 h 1344613"/>
              <a:gd name="connsiteX2243" fmla="*/ 731988 w 1317625"/>
              <a:gd name="connsiteY2243" fmla="*/ 602721 h 1344613"/>
              <a:gd name="connsiteX2244" fmla="*/ 735540 w 1317625"/>
              <a:gd name="connsiteY2244" fmla="*/ 600604 h 1344613"/>
              <a:gd name="connsiteX2245" fmla="*/ 742200 w 1317625"/>
              <a:gd name="connsiteY2245" fmla="*/ 595842 h 1344613"/>
              <a:gd name="connsiteX2246" fmla="*/ 749748 w 1317625"/>
              <a:gd name="connsiteY2246" fmla="*/ 591608 h 1344613"/>
              <a:gd name="connsiteX2247" fmla="*/ 753744 w 1317625"/>
              <a:gd name="connsiteY2247" fmla="*/ 590021 h 1344613"/>
              <a:gd name="connsiteX2248" fmla="*/ 758184 w 1317625"/>
              <a:gd name="connsiteY2248" fmla="*/ 588433 h 1344613"/>
              <a:gd name="connsiteX2249" fmla="*/ 763068 w 1317625"/>
              <a:gd name="connsiteY2249" fmla="*/ 587904 h 1344613"/>
              <a:gd name="connsiteX2250" fmla="*/ 766543 w 1317625"/>
              <a:gd name="connsiteY2250" fmla="*/ 587490 h 1344613"/>
              <a:gd name="connsiteX2251" fmla="*/ 765279 w 1317625"/>
              <a:gd name="connsiteY2251" fmla="*/ 576357 h 1344613"/>
              <a:gd name="connsiteX2252" fmla="*/ 763094 w 1317625"/>
              <a:gd name="connsiteY2252" fmla="*/ 566392 h 1344613"/>
              <a:gd name="connsiteX2253" fmla="*/ 760909 w 1317625"/>
              <a:gd name="connsiteY2253" fmla="*/ 556951 h 1344613"/>
              <a:gd name="connsiteX2254" fmla="*/ 758724 w 1317625"/>
              <a:gd name="connsiteY2254" fmla="*/ 548035 h 1344613"/>
              <a:gd name="connsiteX2255" fmla="*/ 753918 w 1317625"/>
              <a:gd name="connsiteY2255" fmla="*/ 533349 h 1344613"/>
              <a:gd name="connsiteX2256" fmla="*/ 749111 w 1317625"/>
              <a:gd name="connsiteY2256" fmla="*/ 520761 h 1344613"/>
              <a:gd name="connsiteX2257" fmla="*/ 744742 w 1317625"/>
              <a:gd name="connsiteY2257" fmla="*/ 511845 h 1344613"/>
              <a:gd name="connsiteX2258" fmla="*/ 741246 w 1317625"/>
              <a:gd name="connsiteY2258" fmla="*/ 505551 h 1344613"/>
              <a:gd name="connsiteX2259" fmla="*/ 739061 w 1317625"/>
              <a:gd name="connsiteY2259" fmla="*/ 501880 h 1344613"/>
              <a:gd name="connsiteX2260" fmla="*/ 738187 w 1317625"/>
              <a:gd name="connsiteY2260" fmla="*/ 500831 h 1344613"/>
              <a:gd name="connsiteX2261" fmla="*/ 740372 w 1317625"/>
              <a:gd name="connsiteY2261" fmla="*/ 500307 h 1344613"/>
              <a:gd name="connsiteX2262" fmla="*/ 741683 w 1317625"/>
              <a:gd name="connsiteY2262" fmla="*/ 499258 h 1344613"/>
              <a:gd name="connsiteX2263" fmla="*/ 742994 w 1317625"/>
              <a:gd name="connsiteY2263" fmla="*/ 497684 h 1344613"/>
              <a:gd name="connsiteX2264" fmla="*/ 742994 w 1317625"/>
              <a:gd name="connsiteY2264" fmla="*/ 495062 h 1344613"/>
              <a:gd name="connsiteX2265" fmla="*/ 742994 w 1317625"/>
              <a:gd name="connsiteY2265" fmla="*/ 493488 h 1344613"/>
              <a:gd name="connsiteX2266" fmla="*/ 742994 w 1317625"/>
              <a:gd name="connsiteY2266" fmla="*/ 491915 h 1344613"/>
              <a:gd name="connsiteX2267" fmla="*/ 742994 w 1317625"/>
              <a:gd name="connsiteY2267" fmla="*/ 490866 h 1344613"/>
              <a:gd name="connsiteX2268" fmla="*/ 743868 w 1317625"/>
              <a:gd name="connsiteY2268" fmla="*/ 490341 h 1344613"/>
              <a:gd name="connsiteX2269" fmla="*/ 753044 w 1317625"/>
              <a:gd name="connsiteY2269" fmla="*/ 486146 h 1344613"/>
              <a:gd name="connsiteX2270" fmla="*/ 762220 w 1317625"/>
              <a:gd name="connsiteY2270" fmla="*/ 482474 h 1344613"/>
              <a:gd name="connsiteX2271" fmla="*/ 770085 w 1317625"/>
              <a:gd name="connsiteY2271" fmla="*/ 479852 h 1344613"/>
              <a:gd name="connsiteX2272" fmla="*/ 778387 w 1317625"/>
              <a:gd name="connsiteY2272" fmla="*/ 477229 h 1344613"/>
              <a:gd name="connsiteX2273" fmla="*/ 794118 w 1317625"/>
              <a:gd name="connsiteY2273" fmla="*/ 472509 h 1344613"/>
              <a:gd name="connsiteX2274" fmla="*/ 810285 w 1317625"/>
              <a:gd name="connsiteY2274" fmla="*/ 468313 h 1344613"/>
              <a:gd name="connsiteX2275" fmla="*/ 813781 w 1317625"/>
              <a:gd name="connsiteY2275" fmla="*/ 474082 h 1344613"/>
              <a:gd name="connsiteX2276" fmla="*/ 818150 w 1317625"/>
              <a:gd name="connsiteY2276" fmla="*/ 480376 h 1344613"/>
              <a:gd name="connsiteX2277" fmla="*/ 820335 w 1317625"/>
              <a:gd name="connsiteY2277" fmla="*/ 482999 h 1344613"/>
              <a:gd name="connsiteX2278" fmla="*/ 822957 w 1317625"/>
              <a:gd name="connsiteY2278" fmla="*/ 485097 h 1344613"/>
              <a:gd name="connsiteX2279" fmla="*/ 826015 w 1317625"/>
              <a:gd name="connsiteY2279" fmla="*/ 486670 h 1344613"/>
              <a:gd name="connsiteX2280" fmla="*/ 827763 w 1317625"/>
              <a:gd name="connsiteY2280" fmla="*/ 487194 h 1344613"/>
              <a:gd name="connsiteX2281" fmla="*/ 833881 w 1317625"/>
              <a:gd name="connsiteY2281" fmla="*/ 487194 h 1344613"/>
              <a:gd name="connsiteX2282" fmla="*/ 838687 w 1317625"/>
              <a:gd name="connsiteY2282" fmla="*/ 487194 h 1344613"/>
              <a:gd name="connsiteX2283" fmla="*/ 842620 w 1317625"/>
              <a:gd name="connsiteY2283" fmla="*/ 487194 h 1344613"/>
              <a:gd name="connsiteX2284" fmla="*/ 845679 w 1317625"/>
              <a:gd name="connsiteY2284" fmla="*/ 487194 h 1344613"/>
              <a:gd name="connsiteX2285" fmla="*/ 851359 w 1317625"/>
              <a:gd name="connsiteY2285" fmla="*/ 480901 h 1344613"/>
              <a:gd name="connsiteX2286" fmla="*/ 854072 w 1317625"/>
              <a:gd name="connsiteY2286" fmla="*/ 483907 h 1344613"/>
              <a:gd name="connsiteX2287" fmla="*/ 854075 w 1317625"/>
              <a:gd name="connsiteY2287" fmla="*/ 483899 h 1344613"/>
              <a:gd name="connsiteX2288" fmla="*/ 856932 w 1317625"/>
              <a:gd name="connsiteY2288" fmla="*/ 476423 h 1344613"/>
              <a:gd name="connsiteX2289" fmla="*/ 862171 w 1317625"/>
              <a:gd name="connsiteY2289" fmla="*/ 462540 h 1344613"/>
              <a:gd name="connsiteX2290" fmla="*/ 865028 w 1317625"/>
              <a:gd name="connsiteY2290" fmla="*/ 457200 h 1344613"/>
              <a:gd name="connsiteX2291" fmla="*/ 895797 w 1317625"/>
              <a:gd name="connsiteY2291" fmla="*/ 469558 h 1344613"/>
              <a:gd name="connsiteX2292" fmla="*/ 894851 w 1317625"/>
              <a:gd name="connsiteY2292" fmla="*/ 465537 h 1344613"/>
              <a:gd name="connsiteX2293" fmla="*/ 863600 w 1317625"/>
              <a:gd name="connsiteY2293" fmla="*/ 455766 h 1344613"/>
              <a:gd name="connsiteX2294" fmla="*/ 865290 w 1317625"/>
              <a:gd name="connsiteY2294" fmla="*/ 455224 h 1344613"/>
              <a:gd name="connsiteX2295" fmla="*/ 867401 w 1317625"/>
              <a:gd name="connsiteY2295" fmla="*/ 454681 h 1344613"/>
              <a:gd name="connsiteX2296" fmla="*/ 868668 w 1317625"/>
              <a:gd name="connsiteY2296" fmla="*/ 453052 h 1344613"/>
              <a:gd name="connsiteX2297" fmla="*/ 869935 w 1317625"/>
              <a:gd name="connsiteY2297" fmla="*/ 451424 h 1344613"/>
              <a:gd name="connsiteX2298" fmla="*/ 871202 w 1317625"/>
              <a:gd name="connsiteY2298" fmla="*/ 449795 h 1344613"/>
              <a:gd name="connsiteX2299" fmla="*/ 871624 w 1317625"/>
              <a:gd name="connsiteY2299" fmla="*/ 447624 h 1344613"/>
              <a:gd name="connsiteX2300" fmla="*/ 872047 w 1317625"/>
              <a:gd name="connsiteY2300" fmla="*/ 444910 h 1344613"/>
              <a:gd name="connsiteX2301" fmla="*/ 872047 w 1317625"/>
              <a:gd name="connsiteY2301" fmla="*/ 442739 h 1344613"/>
              <a:gd name="connsiteX2302" fmla="*/ 872047 w 1317625"/>
              <a:gd name="connsiteY2302" fmla="*/ 440567 h 1344613"/>
              <a:gd name="connsiteX2303" fmla="*/ 871624 w 1317625"/>
              <a:gd name="connsiteY2303" fmla="*/ 439482 h 1344613"/>
              <a:gd name="connsiteX2304" fmla="*/ 871202 w 1317625"/>
              <a:gd name="connsiteY2304" fmla="*/ 439482 h 1344613"/>
              <a:gd name="connsiteX2305" fmla="*/ 869935 w 1317625"/>
              <a:gd name="connsiteY2305" fmla="*/ 439482 h 1344613"/>
              <a:gd name="connsiteX2306" fmla="*/ 869090 w 1317625"/>
              <a:gd name="connsiteY2306" fmla="*/ 438939 h 1344613"/>
              <a:gd name="connsiteX2307" fmla="*/ 868246 w 1317625"/>
              <a:gd name="connsiteY2307" fmla="*/ 438939 h 1344613"/>
              <a:gd name="connsiteX2308" fmla="*/ 867401 w 1317625"/>
              <a:gd name="connsiteY2308" fmla="*/ 437853 h 1344613"/>
              <a:gd name="connsiteX2309" fmla="*/ 866556 w 1317625"/>
              <a:gd name="connsiteY2309" fmla="*/ 435139 h 1344613"/>
              <a:gd name="connsiteX2310" fmla="*/ 871202 w 1317625"/>
              <a:gd name="connsiteY2310" fmla="*/ 434053 h 1344613"/>
              <a:gd name="connsiteX2311" fmla="*/ 877959 w 1317625"/>
              <a:gd name="connsiteY2311" fmla="*/ 432968 h 1344613"/>
              <a:gd name="connsiteX2312" fmla="*/ 885983 w 1317625"/>
              <a:gd name="connsiteY2312" fmla="*/ 431882 h 1344613"/>
              <a:gd name="connsiteX2313" fmla="*/ 894851 w 1317625"/>
              <a:gd name="connsiteY2313" fmla="*/ 430796 h 1344613"/>
              <a:gd name="connsiteX2314" fmla="*/ 910055 w 1317625"/>
              <a:gd name="connsiteY2314" fmla="*/ 429168 h 1344613"/>
              <a:gd name="connsiteX2315" fmla="*/ 916812 w 1317625"/>
              <a:gd name="connsiteY2315" fmla="*/ 428625 h 1344613"/>
              <a:gd name="connsiteX2316" fmla="*/ 925258 w 1317625"/>
              <a:gd name="connsiteY2316" fmla="*/ 429168 h 1344613"/>
              <a:gd name="connsiteX2317" fmla="*/ 932437 w 1317625"/>
              <a:gd name="connsiteY2317" fmla="*/ 430254 h 1344613"/>
              <a:gd name="connsiteX2318" fmla="*/ 938350 w 1317625"/>
              <a:gd name="connsiteY2318" fmla="*/ 431882 h 1344613"/>
              <a:gd name="connsiteX2319" fmla="*/ 943418 w 1317625"/>
              <a:gd name="connsiteY2319" fmla="*/ 433510 h 1344613"/>
              <a:gd name="connsiteX2320" fmla="*/ 948908 w 1317625"/>
              <a:gd name="connsiteY2320" fmla="*/ 435682 h 1344613"/>
              <a:gd name="connsiteX2321" fmla="*/ 954820 w 1317625"/>
              <a:gd name="connsiteY2321" fmla="*/ 437853 h 1344613"/>
              <a:gd name="connsiteX2322" fmla="*/ 961577 w 1317625"/>
              <a:gd name="connsiteY2322" fmla="*/ 438939 h 1344613"/>
              <a:gd name="connsiteX2323" fmla="*/ 968907 w 1317625"/>
              <a:gd name="connsiteY2323" fmla="*/ 439387 h 1344613"/>
              <a:gd name="connsiteX2324" fmla="*/ 968907 w 1317625"/>
              <a:gd name="connsiteY2324" fmla="*/ 438372 h 1344613"/>
              <a:gd name="connsiteX2325" fmla="*/ 960154 w 1317625"/>
              <a:gd name="connsiteY2325" fmla="*/ 437855 h 1344613"/>
              <a:gd name="connsiteX2326" fmla="*/ 953152 w 1317625"/>
              <a:gd name="connsiteY2326" fmla="*/ 436821 h 1344613"/>
              <a:gd name="connsiteX2327" fmla="*/ 947900 w 1317625"/>
              <a:gd name="connsiteY2327" fmla="*/ 434754 h 1344613"/>
              <a:gd name="connsiteX2328" fmla="*/ 942649 w 1317625"/>
              <a:gd name="connsiteY2328" fmla="*/ 432686 h 1344613"/>
              <a:gd name="connsiteX2329" fmla="*/ 937835 w 1317625"/>
              <a:gd name="connsiteY2329" fmla="*/ 431136 h 1344613"/>
              <a:gd name="connsiteX2330" fmla="*/ 931708 w 1317625"/>
              <a:gd name="connsiteY2330" fmla="*/ 429585 h 1344613"/>
              <a:gd name="connsiteX2331" fmla="*/ 925143 w 1317625"/>
              <a:gd name="connsiteY2331" fmla="*/ 428551 h 1344613"/>
              <a:gd name="connsiteX2332" fmla="*/ 916391 w 1317625"/>
              <a:gd name="connsiteY2332" fmla="*/ 428034 h 1344613"/>
              <a:gd name="connsiteX2333" fmla="*/ 909826 w 1317625"/>
              <a:gd name="connsiteY2333" fmla="*/ 428551 h 1344613"/>
              <a:gd name="connsiteX2334" fmla="*/ 895384 w 1317625"/>
              <a:gd name="connsiteY2334" fmla="*/ 430102 h 1344613"/>
              <a:gd name="connsiteX2335" fmla="*/ 887069 w 1317625"/>
              <a:gd name="connsiteY2335" fmla="*/ 431136 h 1344613"/>
              <a:gd name="connsiteX2336" fmla="*/ 879629 w 1317625"/>
              <a:gd name="connsiteY2336" fmla="*/ 432169 h 1344613"/>
              <a:gd name="connsiteX2337" fmla="*/ 873940 w 1317625"/>
              <a:gd name="connsiteY2337" fmla="*/ 433203 h 1344613"/>
              <a:gd name="connsiteX2338" fmla="*/ 870001 w 1317625"/>
              <a:gd name="connsiteY2338" fmla="*/ 434237 h 1344613"/>
              <a:gd name="connsiteX2339" fmla="*/ 867813 w 1317625"/>
              <a:gd name="connsiteY2339" fmla="*/ 430619 h 1344613"/>
              <a:gd name="connsiteX2340" fmla="*/ 866500 w 1317625"/>
              <a:gd name="connsiteY2340" fmla="*/ 426484 h 1344613"/>
              <a:gd name="connsiteX2341" fmla="*/ 865625 w 1317625"/>
              <a:gd name="connsiteY2341" fmla="*/ 423383 h 1344613"/>
              <a:gd name="connsiteX2342" fmla="*/ 865187 w 1317625"/>
              <a:gd name="connsiteY2342" fmla="*/ 419765 h 1344613"/>
              <a:gd name="connsiteX2343" fmla="*/ 865187 w 1317625"/>
              <a:gd name="connsiteY2343" fmla="*/ 416663 h 1344613"/>
              <a:gd name="connsiteX2344" fmla="*/ 865625 w 1317625"/>
              <a:gd name="connsiteY2344" fmla="*/ 413562 h 1344613"/>
              <a:gd name="connsiteX2345" fmla="*/ 866500 w 1317625"/>
              <a:gd name="connsiteY2345" fmla="*/ 410461 h 1344613"/>
              <a:gd name="connsiteX2346" fmla="*/ 867375 w 1317625"/>
              <a:gd name="connsiteY2346" fmla="*/ 407877 h 1344613"/>
              <a:gd name="connsiteX2347" fmla="*/ 869126 w 1317625"/>
              <a:gd name="connsiteY2347" fmla="*/ 404776 h 1344613"/>
              <a:gd name="connsiteX2348" fmla="*/ 870439 w 1317625"/>
              <a:gd name="connsiteY2348" fmla="*/ 402191 h 1344613"/>
              <a:gd name="connsiteX2349" fmla="*/ 872189 w 1317625"/>
              <a:gd name="connsiteY2349" fmla="*/ 400124 h 1344613"/>
              <a:gd name="connsiteX2350" fmla="*/ 874378 w 1317625"/>
              <a:gd name="connsiteY2350" fmla="*/ 398056 h 1344613"/>
              <a:gd name="connsiteX2351" fmla="*/ 879192 w 1317625"/>
              <a:gd name="connsiteY2351" fmla="*/ 393922 h 1344613"/>
              <a:gd name="connsiteX2352" fmla="*/ 884443 w 1317625"/>
              <a:gd name="connsiteY2352" fmla="*/ 390304 h 1344613"/>
              <a:gd name="connsiteX2353" fmla="*/ 891445 w 1317625"/>
              <a:gd name="connsiteY2353" fmla="*/ 394438 h 1344613"/>
              <a:gd name="connsiteX2354" fmla="*/ 901949 w 1317625"/>
              <a:gd name="connsiteY2354" fmla="*/ 400641 h 1344613"/>
              <a:gd name="connsiteX2355" fmla="*/ 908075 w 1317625"/>
              <a:gd name="connsiteY2355" fmla="*/ 403742 h 1344613"/>
              <a:gd name="connsiteX2356" fmla="*/ 913765 w 1317625"/>
              <a:gd name="connsiteY2356" fmla="*/ 406326 h 1344613"/>
              <a:gd name="connsiteX2357" fmla="*/ 918579 w 1317625"/>
              <a:gd name="connsiteY2357" fmla="*/ 408911 h 1344613"/>
              <a:gd name="connsiteX2358" fmla="*/ 922517 w 1317625"/>
              <a:gd name="connsiteY2358" fmla="*/ 409427 h 1344613"/>
              <a:gd name="connsiteX2359" fmla="*/ 923830 w 1317625"/>
              <a:gd name="connsiteY2359" fmla="*/ 405809 h 1344613"/>
              <a:gd name="connsiteX2360" fmla="*/ 926456 w 1317625"/>
              <a:gd name="connsiteY2360" fmla="*/ 399090 h 1344613"/>
              <a:gd name="connsiteX2361" fmla="*/ 929520 w 1317625"/>
              <a:gd name="connsiteY2361" fmla="*/ 391854 h 1344613"/>
              <a:gd name="connsiteX2362" fmla="*/ 930833 w 1317625"/>
              <a:gd name="connsiteY2362" fmla="*/ 387202 h 1344613"/>
              <a:gd name="connsiteX2363" fmla="*/ 936084 w 1317625"/>
              <a:gd name="connsiteY2363" fmla="*/ 384618 h 1344613"/>
              <a:gd name="connsiteX2364" fmla="*/ 937260 w 1317625"/>
              <a:gd name="connsiteY2364" fmla="*/ 383924 h 1344613"/>
              <a:gd name="connsiteX2365" fmla="*/ 936454 w 1317625"/>
              <a:gd name="connsiteY2365" fmla="*/ 384114 h 1344613"/>
              <a:gd name="connsiteX2366" fmla="*/ 930018 w 1317625"/>
              <a:gd name="connsiteY2366" fmla="*/ 384618 h 1344613"/>
              <a:gd name="connsiteX2367" fmla="*/ 930447 w 1317625"/>
              <a:gd name="connsiteY2367" fmla="*/ 381591 h 1344613"/>
              <a:gd name="connsiteX2368" fmla="*/ 930447 w 1317625"/>
              <a:gd name="connsiteY2368" fmla="*/ 378564 h 1344613"/>
              <a:gd name="connsiteX2369" fmla="*/ 929589 w 1317625"/>
              <a:gd name="connsiteY2369" fmla="*/ 376545 h 1344613"/>
              <a:gd name="connsiteX2370" fmla="*/ 927873 w 1317625"/>
              <a:gd name="connsiteY2370" fmla="*/ 375032 h 1344613"/>
              <a:gd name="connsiteX2371" fmla="*/ 923153 w 1317625"/>
              <a:gd name="connsiteY2371" fmla="*/ 373013 h 1344613"/>
              <a:gd name="connsiteX2372" fmla="*/ 917575 w 1317625"/>
              <a:gd name="connsiteY2372" fmla="*/ 371500 h 1344613"/>
              <a:gd name="connsiteX2373" fmla="*/ 915001 w 1317625"/>
              <a:gd name="connsiteY2373" fmla="*/ 370491 h 1344613"/>
              <a:gd name="connsiteX2374" fmla="*/ 911998 w 1317625"/>
              <a:gd name="connsiteY2374" fmla="*/ 368977 h 1344613"/>
              <a:gd name="connsiteX2375" fmla="*/ 908994 w 1317625"/>
              <a:gd name="connsiteY2375" fmla="*/ 366959 h 1344613"/>
              <a:gd name="connsiteX2376" fmla="*/ 906849 w 1317625"/>
              <a:gd name="connsiteY2376" fmla="*/ 364436 h 1344613"/>
              <a:gd name="connsiteX2377" fmla="*/ 904275 w 1317625"/>
              <a:gd name="connsiteY2377" fmla="*/ 361409 h 1344613"/>
              <a:gd name="connsiteX2378" fmla="*/ 902987 w 1317625"/>
              <a:gd name="connsiteY2378" fmla="*/ 357877 h 1344613"/>
              <a:gd name="connsiteX2379" fmla="*/ 901700 w 1317625"/>
              <a:gd name="connsiteY2379" fmla="*/ 352831 h 1344613"/>
              <a:gd name="connsiteX2380" fmla="*/ 901700 w 1317625"/>
              <a:gd name="connsiteY2380" fmla="*/ 346777 h 1344613"/>
              <a:gd name="connsiteX2381" fmla="*/ 901700 w 1317625"/>
              <a:gd name="connsiteY2381" fmla="*/ 343245 h 1344613"/>
              <a:gd name="connsiteX2382" fmla="*/ 902558 w 1317625"/>
              <a:gd name="connsiteY2382" fmla="*/ 339713 h 1344613"/>
              <a:gd name="connsiteX2383" fmla="*/ 903846 w 1317625"/>
              <a:gd name="connsiteY2383" fmla="*/ 337190 h 1344613"/>
              <a:gd name="connsiteX2384" fmla="*/ 905991 w 1317625"/>
              <a:gd name="connsiteY2384" fmla="*/ 335172 h 1344613"/>
              <a:gd name="connsiteX2385" fmla="*/ 907707 w 1317625"/>
              <a:gd name="connsiteY2385" fmla="*/ 333154 h 1344613"/>
              <a:gd name="connsiteX2386" fmla="*/ 910710 w 1317625"/>
              <a:gd name="connsiteY2386" fmla="*/ 331640 h 1344613"/>
              <a:gd name="connsiteX2387" fmla="*/ 913285 w 1317625"/>
              <a:gd name="connsiteY2387" fmla="*/ 330631 h 1344613"/>
              <a:gd name="connsiteX2388" fmla="*/ 916288 w 1317625"/>
              <a:gd name="connsiteY2388" fmla="*/ 329622 h 1344613"/>
              <a:gd name="connsiteX2389" fmla="*/ 307385 w 1317625"/>
              <a:gd name="connsiteY2389" fmla="*/ 327025 h 1344613"/>
              <a:gd name="connsiteX2390" fmla="*/ 311262 w 1317625"/>
              <a:gd name="connsiteY2390" fmla="*/ 327546 h 1344613"/>
              <a:gd name="connsiteX2391" fmla="*/ 316000 w 1317625"/>
              <a:gd name="connsiteY2391" fmla="*/ 328067 h 1344613"/>
              <a:gd name="connsiteX2392" fmla="*/ 321601 w 1317625"/>
              <a:gd name="connsiteY2392" fmla="*/ 329630 h 1344613"/>
              <a:gd name="connsiteX2393" fmla="*/ 328924 w 1317625"/>
              <a:gd name="connsiteY2393" fmla="*/ 331193 h 1344613"/>
              <a:gd name="connsiteX2394" fmla="*/ 337109 w 1317625"/>
              <a:gd name="connsiteY2394" fmla="*/ 332756 h 1344613"/>
              <a:gd name="connsiteX2395" fmla="*/ 345724 w 1317625"/>
              <a:gd name="connsiteY2395" fmla="*/ 333798 h 1344613"/>
              <a:gd name="connsiteX2396" fmla="*/ 356494 w 1317625"/>
              <a:gd name="connsiteY2396" fmla="*/ 333798 h 1344613"/>
              <a:gd name="connsiteX2397" fmla="*/ 356494 w 1317625"/>
              <a:gd name="connsiteY2397" fmla="*/ 335882 h 1344613"/>
              <a:gd name="connsiteX2398" fmla="*/ 355632 w 1317625"/>
              <a:gd name="connsiteY2398" fmla="*/ 337445 h 1344613"/>
              <a:gd name="connsiteX2399" fmla="*/ 354770 w 1317625"/>
              <a:gd name="connsiteY2399" fmla="*/ 339008 h 1344613"/>
              <a:gd name="connsiteX2400" fmla="*/ 353909 w 1317625"/>
              <a:gd name="connsiteY2400" fmla="*/ 340571 h 1344613"/>
              <a:gd name="connsiteX2401" fmla="*/ 350893 w 1317625"/>
              <a:gd name="connsiteY2401" fmla="*/ 343697 h 1344613"/>
              <a:gd name="connsiteX2402" fmla="*/ 347447 w 1317625"/>
              <a:gd name="connsiteY2402" fmla="*/ 346302 h 1344613"/>
              <a:gd name="connsiteX2403" fmla="*/ 339262 w 1317625"/>
              <a:gd name="connsiteY2403" fmla="*/ 351512 h 1344613"/>
              <a:gd name="connsiteX2404" fmla="*/ 333232 w 1317625"/>
              <a:gd name="connsiteY2404" fmla="*/ 356722 h 1344613"/>
              <a:gd name="connsiteX2405" fmla="*/ 332801 w 1317625"/>
              <a:gd name="connsiteY2405" fmla="*/ 357764 h 1344613"/>
              <a:gd name="connsiteX2406" fmla="*/ 332370 w 1317625"/>
              <a:gd name="connsiteY2406" fmla="*/ 358806 h 1344613"/>
              <a:gd name="connsiteX2407" fmla="*/ 332370 w 1317625"/>
              <a:gd name="connsiteY2407" fmla="*/ 359327 h 1344613"/>
              <a:gd name="connsiteX2408" fmla="*/ 332801 w 1317625"/>
              <a:gd name="connsiteY2408" fmla="*/ 360369 h 1344613"/>
              <a:gd name="connsiteX2409" fmla="*/ 334093 w 1317625"/>
              <a:gd name="connsiteY2409" fmla="*/ 361411 h 1344613"/>
              <a:gd name="connsiteX2410" fmla="*/ 335385 w 1317625"/>
              <a:gd name="connsiteY2410" fmla="*/ 361932 h 1344613"/>
              <a:gd name="connsiteX2411" fmla="*/ 337970 w 1317625"/>
              <a:gd name="connsiteY2411" fmla="*/ 362974 h 1344613"/>
              <a:gd name="connsiteX2412" fmla="*/ 340986 w 1317625"/>
              <a:gd name="connsiteY2412" fmla="*/ 363495 h 1344613"/>
              <a:gd name="connsiteX2413" fmla="*/ 349170 w 1317625"/>
              <a:gd name="connsiteY2413" fmla="*/ 365058 h 1344613"/>
              <a:gd name="connsiteX2414" fmla="*/ 361232 w 1317625"/>
              <a:gd name="connsiteY2414" fmla="*/ 366621 h 1344613"/>
              <a:gd name="connsiteX2415" fmla="*/ 376740 w 1317625"/>
              <a:gd name="connsiteY2415" fmla="*/ 368184 h 1344613"/>
              <a:gd name="connsiteX2416" fmla="*/ 396556 w 1317625"/>
              <a:gd name="connsiteY2416" fmla="*/ 369226 h 1344613"/>
              <a:gd name="connsiteX2417" fmla="*/ 396556 w 1317625"/>
              <a:gd name="connsiteY2417" fmla="*/ 374436 h 1344613"/>
              <a:gd name="connsiteX2418" fmla="*/ 396556 w 1317625"/>
              <a:gd name="connsiteY2418" fmla="*/ 381729 h 1344613"/>
              <a:gd name="connsiteX2419" fmla="*/ 395264 w 1317625"/>
              <a:gd name="connsiteY2419" fmla="*/ 383813 h 1344613"/>
              <a:gd name="connsiteX2420" fmla="*/ 391817 w 1317625"/>
              <a:gd name="connsiteY2420" fmla="*/ 385376 h 1344613"/>
              <a:gd name="connsiteX2421" fmla="*/ 387079 w 1317625"/>
              <a:gd name="connsiteY2421" fmla="*/ 387460 h 1344613"/>
              <a:gd name="connsiteX2422" fmla="*/ 381910 w 1317625"/>
              <a:gd name="connsiteY2422" fmla="*/ 389544 h 1344613"/>
              <a:gd name="connsiteX2423" fmla="*/ 371140 w 1317625"/>
              <a:gd name="connsiteY2423" fmla="*/ 393191 h 1344613"/>
              <a:gd name="connsiteX2424" fmla="*/ 364678 w 1317625"/>
              <a:gd name="connsiteY2424" fmla="*/ 394754 h 1344613"/>
              <a:gd name="connsiteX2425" fmla="*/ 365971 w 1317625"/>
              <a:gd name="connsiteY2425" fmla="*/ 396317 h 1344613"/>
              <a:gd name="connsiteX2426" fmla="*/ 366832 w 1317625"/>
              <a:gd name="connsiteY2426" fmla="*/ 397880 h 1344613"/>
              <a:gd name="connsiteX2427" fmla="*/ 368125 w 1317625"/>
              <a:gd name="connsiteY2427" fmla="*/ 398922 h 1344613"/>
              <a:gd name="connsiteX2428" fmla="*/ 369417 w 1317625"/>
              <a:gd name="connsiteY2428" fmla="*/ 399964 h 1344613"/>
              <a:gd name="connsiteX2429" fmla="*/ 373725 w 1317625"/>
              <a:gd name="connsiteY2429" fmla="*/ 401006 h 1344613"/>
              <a:gd name="connsiteX2430" fmla="*/ 378033 w 1317625"/>
              <a:gd name="connsiteY2430" fmla="*/ 401527 h 1344613"/>
              <a:gd name="connsiteX2431" fmla="*/ 387079 w 1317625"/>
              <a:gd name="connsiteY2431" fmla="*/ 401527 h 1344613"/>
              <a:gd name="connsiteX2432" fmla="*/ 393541 w 1317625"/>
              <a:gd name="connsiteY2432" fmla="*/ 401006 h 1344613"/>
              <a:gd name="connsiteX2433" fmla="*/ 393541 w 1317625"/>
              <a:gd name="connsiteY2433" fmla="*/ 403611 h 1344613"/>
              <a:gd name="connsiteX2434" fmla="*/ 394402 w 1317625"/>
              <a:gd name="connsiteY2434" fmla="*/ 406216 h 1344613"/>
              <a:gd name="connsiteX2435" fmla="*/ 395694 w 1317625"/>
              <a:gd name="connsiteY2435" fmla="*/ 408300 h 1344613"/>
              <a:gd name="connsiteX2436" fmla="*/ 396987 w 1317625"/>
              <a:gd name="connsiteY2436" fmla="*/ 410905 h 1344613"/>
              <a:gd name="connsiteX2437" fmla="*/ 400864 w 1317625"/>
              <a:gd name="connsiteY2437" fmla="*/ 416636 h 1344613"/>
              <a:gd name="connsiteX2438" fmla="*/ 405172 w 1317625"/>
              <a:gd name="connsiteY2438" fmla="*/ 421846 h 1344613"/>
              <a:gd name="connsiteX2439" fmla="*/ 409479 w 1317625"/>
              <a:gd name="connsiteY2439" fmla="*/ 426535 h 1344613"/>
              <a:gd name="connsiteX2440" fmla="*/ 412495 w 1317625"/>
              <a:gd name="connsiteY2440" fmla="*/ 431224 h 1344613"/>
              <a:gd name="connsiteX2441" fmla="*/ 414218 w 1317625"/>
              <a:gd name="connsiteY2441" fmla="*/ 433829 h 1344613"/>
              <a:gd name="connsiteX2442" fmla="*/ 415510 w 1317625"/>
              <a:gd name="connsiteY2442" fmla="*/ 435913 h 1344613"/>
              <a:gd name="connsiteX2443" fmla="*/ 415941 w 1317625"/>
              <a:gd name="connsiteY2443" fmla="*/ 437476 h 1344613"/>
              <a:gd name="connsiteX2444" fmla="*/ 416372 w 1317625"/>
              <a:gd name="connsiteY2444" fmla="*/ 439560 h 1344613"/>
              <a:gd name="connsiteX2445" fmla="*/ 416372 w 1317625"/>
              <a:gd name="connsiteY2445" fmla="*/ 443207 h 1344613"/>
              <a:gd name="connsiteX2446" fmla="*/ 416803 w 1317625"/>
              <a:gd name="connsiteY2446" fmla="*/ 447896 h 1344613"/>
              <a:gd name="connsiteX2447" fmla="*/ 416803 w 1317625"/>
              <a:gd name="connsiteY2447" fmla="*/ 450501 h 1344613"/>
              <a:gd name="connsiteX2448" fmla="*/ 417664 w 1317625"/>
              <a:gd name="connsiteY2448" fmla="*/ 452585 h 1344613"/>
              <a:gd name="connsiteX2449" fmla="*/ 418095 w 1317625"/>
              <a:gd name="connsiteY2449" fmla="*/ 454148 h 1344613"/>
              <a:gd name="connsiteX2450" fmla="*/ 419387 w 1317625"/>
              <a:gd name="connsiteY2450" fmla="*/ 455711 h 1344613"/>
              <a:gd name="connsiteX2451" fmla="*/ 421972 w 1317625"/>
              <a:gd name="connsiteY2451" fmla="*/ 459358 h 1344613"/>
              <a:gd name="connsiteX2452" fmla="*/ 424126 w 1317625"/>
              <a:gd name="connsiteY2452" fmla="*/ 463005 h 1344613"/>
              <a:gd name="connsiteX2453" fmla="*/ 425418 w 1317625"/>
              <a:gd name="connsiteY2453" fmla="*/ 466131 h 1344613"/>
              <a:gd name="connsiteX2454" fmla="*/ 426711 w 1317625"/>
              <a:gd name="connsiteY2454" fmla="*/ 469256 h 1344613"/>
              <a:gd name="connsiteX2455" fmla="*/ 428003 w 1317625"/>
              <a:gd name="connsiteY2455" fmla="*/ 472382 h 1344613"/>
              <a:gd name="connsiteX2456" fmla="*/ 430157 w 1317625"/>
              <a:gd name="connsiteY2456" fmla="*/ 474987 h 1344613"/>
              <a:gd name="connsiteX2457" fmla="*/ 432741 w 1317625"/>
              <a:gd name="connsiteY2457" fmla="*/ 477071 h 1344613"/>
              <a:gd name="connsiteX2458" fmla="*/ 436188 w 1317625"/>
              <a:gd name="connsiteY2458" fmla="*/ 478634 h 1344613"/>
              <a:gd name="connsiteX2459" fmla="*/ 436618 w 1317625"/>
              <a:gd name="connsiteY2459" fmla="*/ 481760 h 1344613"/>
              <a:gd name="connsiteX2460" fmla="*/ 438342 w 1317625"/>
              <a:gd name="connsiteY2460" fmla="*/ 485407 h 1344613"/>
              <a:gd name="connsiteX2461" fmla="*/ 440495 w 1317625"/>
              <a:gd name="connsiteY2461" fmla="*/ 488533 h 1344613"/>
              <a:gd name="connsiteX2462" fmla="*/ 442649 w 1317625"/>
              <a:gd name="connsiteY2462" fmla="*/ 491659 h 1344613"/>
              <a:gd name="connsiteX2463" fmla="*/ 445665 w 1317625"/>
              <a:gd name="connsiteY2463" fmla="*/ 493743 h 1344613"/>
              <a:gd name="connsiteX2464" fmla="*/ 448680 w 1317625"/>
              <a:gd name="connsiteY2464" fmla="*/ 495827 h 1344613"/>
              <a:gd name="connsiteX2465" fmla="*/ 451265 w 1317625"/>
              <a:gd name="connsiteY2465" fmla="*/ 496869 h 1344613"/>
              <a:gd name="connsiteX2466" fmla="*/ 453850 w 1317625"/>
              <a:gd name="connsiteY2466" fmla="*/ 497390 h 1344613"/>
              <a:gd name="connsiteX2467" fmla="*/ 453850 w 1317625"/>
              <a:gd name="connsiteY2467" fmla="*/ 502600 h 1344613"/>
              <a:gd name="connsiteX2468" fmla="*/ 453850 w 1317625"/>
              <a:gd name="connsiteY2468" fmla="*/ 507289 h 1344613"/>
              <a:gd name="connsiteX2469" fmla="*/ 457727 w 1317625"/>
              <a:gd name="connsiteY2469" fmla="*/ 505726 h 1344613"/>
              <a:gd name="connsiteX2470" fmla="*/ 461173 w 1317625"/>
              <a:gd name="connsiteY2470" fmla="*/ 504684 h 1344613"/>
              <a:gd name="connsiteX2471" fmla="*/ 464188 w 1317625"/>
              <a:gd name="connsiteY2471" fmla="*/ 504684 h 1344613"/>
              <a:gd name="connsiteX2472" fmla="*/ 466773 w 1317625"/>
              <a:gd name="connsiteY2472" fmla="*/ 505205 h 1344613"/>
              <a:gd name="connsiteX2473" fmla="*/ 472373 w 1317625"/>
              <a:gd name="connsiteY2473" fmla="*/ 507810 h 1344613"/>
              <a:gd name="connsiteX2474" fmla="*/ 476250 w 1317625"/>
              <a:gd name="connsiteY2474" fmla="*/ 510415 h 1344613"/>
              <a:gd name="connsiteX2475" fmla="*/ 475389 w 1317625"/>
              <a:gd name="connsiteY2475" fmla="*/ 517188 h 1344613"/>
              <a:gd name="connsiteX2476" fmla="*/ 474527 w 1317625"/>
              <a:gd name="connsiteY2476" fmla="*/ 522919 h 1344613"/>
              <a:gd name="connsiteX2477" fmla="*/ 474096 w 1317625"/>
              <a:gd name="connsiteY2477" fmla="*/ 526045 h 1344613"/>
              <a:gd name="connsiteX2478" fmla="*/ 474096 w 1317625"/>
              <a:gd name="connsiteY2478" fmla="*/ 529692 h 1344613"/>
              <a:gd name="connsiteX2479" fmla="*/ 474958 w 1317625"/>
              <a:gd name="connsiteY2479" fmla="*/ 532818 h 1344613"/>
              <a:gd name="connsiteX2480" fmla="*/ 476250 w 1317625"/>
              <a:gd name="connsiteY2480" fmla="*/ 535944 h 1344613"/>
              <a:gd name="connsiteX2481" fmla="*/ 474096 w 1317625"/>
              <a:gd name="connsiteY2481" fmla="*/ 536465 h 1344613"/>
              <a:gd name="connsiteX2482" fmla="*/ 471512 w 1317625"/>
              <a:gd name="connsiteY2482" fmla="*/ 536986 h 1344613"/>
              <a:gd name="connsiteX2483" fmla="*/ 469358 w 1317625"/>
              <a:gd name="connsiteY2483" fmla="*/ 537507 h 1344613"/>
              <a:gd name="connsiteX2484" fmla="*/ 466773 w 1317625"/>
              <a:gd name="connsiteY2484" fmla="*/ 538549 h 1344613"/>
              <a:gd name="connsiteX2485" fmla="*/ 465050 w 1317625"/>
              <a:gd name="connsiteY2485" fmla="*/ 540112 h 1344613"/>
              <a:gd name="connsiteX2486" fmla="*/ 463758 w 1317625"/>
              <a:gd name="connsiteY2486" fmla="*/ 541675 h 1344613"/>
              <a:gd name="connsiteX2487" fmla="*/ 462896 w 1317625"/>
              <a:gd name="connsiteY2487" fmla="*/ 543238 h 1344613"/>
              <a:gd name="connsiteX2488" fmla="*/ 462034 w 1317625"/>
              <a:gd name="connsiteY2488" fmla="*/ 545843 h 1344613"/>
              <a:gd name="connsiteX2489" fmla="*/ 462034 w 1317625"/>
              <a:gd name="connsiteY2489" fmla="*/ 546885 h 1344613"/>
              <a:gd name="connsiteX2490" fmla="*/ 462896 w 1317625"/>
              <a:gd name="connsiteY2490" fmla="*/ 547927 h 1344613"/>
              <a:gd name="connsiteX2491" fmla="*/ 463327 w 1317625"/>
              <a:gd name="connsiteY2491" fmla="*/ 548969 h 1344613"/>
              <a:gd name="connsiteX2492" fmla="*/ 464188 w 1317625"/>
              <a:gd name="connsiteY2492" fmla="*/ 550532 h 1344613"/>
              <a:gd name="connsiteX2493" fmla="*/ 466773 w 1317625"/>
              <a:gd name="connsiteY2493" fmla="*/ 552616 h 1344613"/>
              <a:gd name="connsiteX2494" fmla="*/ 470650 w 1317625"/>
              <a:gd name="connsiteY2494" fmla="*/ 555221 h 1344613"/>
              <a:gd name="connsiteX2495" fmla="*/ 466773 w 1317625"/>
              <a:gd name="connsiteY2495" fmla="*/ 557826 h 1344613"/>
              <a:gd name="connsiteX2496" fmla="*/ 464619 w 1317625"/>
              <a:gd name="connsiteY2496" fmla="*/ 559909 h 1344613"/>
              <a:gd name="connsiteX2497" fmla="*/ 462896 w 1317625"/>
              <a:gd name="connsiteY2497" fmla="*/ 561993 h 1344613"/>
              <a:gd name="connsiteX2498" fmla="*/ 461173 w 1317625"/>
              <a:gd name="connsiteY2498" fmla="*/ 564077 h 1344613"/>
              <a:gd name="connsiteX2499" fmla="*/ 459450 w 1317625"/>
              <a:gd name="connsiteY2499" fmla="*/ 568245 h 1344613"/>
              <a:gd name="connsiteX2500" fmla="*/ 456434 w 1317625"/>
              <a:gd name="connsiteY2500" fmla="*/ 574497 h 1344613"/>
              <a:gd name="connsiteX2501" fmla="*/ 367694 w 1317625"/>
              <a:gd name="connsiteY2501" fmla="*/ 574497 h 1344613"/>
              <a:gd name="connsiteX2502" fmla="*/ 367694 w 1317625"/>
              <a:gd name="connsiteY2502" fmla="*/ 580749 h 1344613"/>
              <a:gd name="connsiteX2503" fmla="*/ 367694 w 1317625"/>
              <a:gd name="connsiteY2503" fmla="*/ 587522 h 1344613"/>
              <a:gd name="connsiteX2504" fmla="*/ 354770 w 1317625"/>
              <a:gd name="connsiteY2504" fmla="*/ 588043 h 1344613"/>
              <a:gd name="connsiteX2505" fmla="*/ 343570 w 1317625"/>
              <a:gd name="connsiteY2505" fmla="*/ 589085 h 1344613"/>
              <a:gd name="connsiteX2506" fmla="*/ 338401 w 1317625"/>
              <a:gd name="connsiteY2506" fmla="*/ 590127 h 1344613"/>
              <a:gd name="connsiteX2507" fmla="*/ 334093 w 1317625"/>
              <a:gd name="connsiteY2507" fmla="*/ 591690 h 1344613"/>
              <a:gd name="connsiteX2508" fmla="*/ 332370 w 1317625"/>
              <a:gd name="connsiteY2508" fmla="*/ 592732 h 1344613"/>
              <a:gd name="connsiteX2509" fmla="*/ 330216 w 1317625"/>
              <a:gd name="connsiteY2509" fmla="*/ 593774 h 1344613"/>
              <a:gd name="connsiteX2510" fmla="*/ 328924 w 1317625"/>
              <a:gd name="connsiteY2510" fmla="*/ 595337 h 1344613"/>
              <a:gd name="connsiteX2511" fmla="*/ 327631 w 1317625"/>
              <a:gd name="connsiteY2511" fmla="*/ 596900 h 1344613"/>
              <a:gd name="connsiteX2512" fmla="*/ 328062 w 1317625"/>
              <a:gd name="connsiteY2512" fmla="*/ 593253 h 1344613"/>
              <a:gd name="connsiteX2513" fmla="*/ 328493 w 1317625"/>
              <a:gd name="connsiteY2513" fmla="*/ 590127 h 1344613"/>
              <a:gd name="connsiteX2514" fmla="*/ 328924 w 1317625"/>
              <a:gd name="connsiteY2514" fmla="*/ 587001 h 1344613"/>
              <a:gd name="connsiteX2515" fmla="*/ 329785 w 1317625"/>
              <a:gd name="connsiteY2515" fmla="*/ 583875 h 1344613"/>
              <a:gd name="connsiteX2516" fmla="*/ 331078 w 1317625"/>
              <a:gd name="connsiteY2516" fmla="*/ 581270 h 1344613"/>
              <a:gd name="connsiteX2517" fmla="*/ 332370 w 1317625"/>
              <a:gd name="connsiteY2517" fmla="*/ 579186 h 1344613"/>
              <a:gd name="connsiteX2518" fmla="*/ 334093 w 1317625"/>
              <a:gd name="connsiteY2518" fmla="*/ 577102 h 1344613"/>
              <a:gd name="connsiteX2519" fmla="*/ 335385 w 1317625"/>
              <a:gd name="connsiteY2519" fmla="*/ 575018 h 1344613"/>
              <a:gd name="connsiteX2520" fmla="*/ 339693 w 1317625"/>
              <a:gd name="connsiteY2520" fmla="*/ 571892 h 1344613"/>
              <a:gd name="connsiteX2521" fmla="*/ 344001 w 1317625"/>
              <a:gd name="connsiteY2521" fmla="*/ 569287 h 1344613"/>
              <a:gd name="connsiteX2522" fmla="*/ 348740 w 1317625"/>
              <a:gd name="connsiteY2522" fmla="*/ 567724 h 1344613"/>
              <a:gd name="connsiteX2523" fmla="*/ 353909 w 1317625"/>
              <a:gd name="connsiteY2523" fmla="*/ 565640 h 1344613"/>
              <a:gd name="connsiteX2524" fmla="*/ 363386 w 1317625"/>
              <a:gd name="connsiteY2524" fmla="*/ 563035 h 1344613"/>
              <a:gd name="connsiteX2525" fmla="*/ 372432 w 1317625"/>
              <a:gd name="connsiteY2525" fmla="*/ 560430 h 1344613"/>
              <a:gd name="connsiteX2526" fmla="*/ 375879 w 1317625"/>
              <a:gd name="connsiteY2526" fmla="*/ 558346 h 1344613"/>
              <a:gd name="connsiteX2527" fmla="*/ 378894 w 1317625"/>
              <a:gd name="connsiteY2527" fmla="*/ 555742 h 1344613"/>
              <a:gd name="connsiteX2528" fmla="*/ 379756 w 1317625"/>
              <a:gd name="connsiteY2528" fmla="*/ 554179 h 1344613"/>
              <a:gd name="connsiteX2529" fmla="*/ 381048 w 1317625"/>
              <a:gd name="connsiteY2529" fmla="*/ 552616 h 1344613"/>
              <a:gd name="connsiteX2530" fmla="*/ 381910 w 1317625"/>
              <a:gd name="connsiteY2530" fmla="*/ 550532 h 1344613"/>
              <a:gd name="connsiteX2531" fmla="*/ 381910 w 1317625"/>
              <a:gd name="connsiteY2531" fmla="*/ 550011 h 1344613"/>
              <a:gd name="connsiteX2532" fmla="*/ 381048 w 1317625"/>
              <a:gd name="connsiteY2532" fmla="*/ 551053 h 1344613"/>
              <a:gd name="connsiteX2533" fmla="*/ 379756 w 1317625"/>
              <a:gd name="connsiteY2533" fmla="*/ 552095 h 1344613"/>
              <a:gd name="connsiteX2534" fmla="*/ 378463 w 1317625"/>
              <a:gd name="connsiteY2534" fmla="*/ 553137 h 1344613"/>
              <a:gd name="connsiteX2535" fmla="*/ 374586 w 1317625"/>
              <a:gd name="connsiteY2535" fmla="*/ 554700 h 1344613"/>
              <a:gd name="connsiteX2536" fmla="*/ 370279 w 1317625"/>
              <a:gd name="connsiteY2536" fmla="*/ 555221 h 1344613"/>
              <a:gd name="connsiteX2537" fmla="*/ 363817 w 1317625"/>
              <a:gd name="connsiteY2537" fmla="*/ 554700 h 1344613"/>
              <a:gd name="connsiteX2538" fmla="*/ 352617 w 1317625"/>
              <a:gd name="connsiteY2538" fmla="*/ 552095 h 1344613"/>
              <a:gd name="connsiteX2539" fmla="*/ 346155 w 1317625"/>
              <a:gd name="connsiteY2539" fmla="*/ 550532 h 1344613"/>
              <a:gd name="connsiteX2540" fmla="*/ 340986 w 1317625"/>
              <a:gd name="connsiteY2540" fmla="*/ 548448 h 1344613"/>
              <a:gd name="connsiteX2541" fmla="*/ 339262 w 1317625"/>
              <a:gd name="connsiteY2541" fmla="*/ 547406 h 1344613"/>
              <a:gd name="connsiteX2542" fmla="*/ 337539 w 1317625"/>
              <a:gd name="connsiteY2542" fmla="*/ 545843 h 1344613"/>
              <a:gd name="connsiteX2543" fmla="*/ 336247 w 1317625"/>
              <a:gd name="connsiteY2543" fmla="*/ 544280 h 1344613"/>
              <a:gd name="connsiteX2544" fmla="*/ 336247 w 1317625"/>
              <a:gd name="connsiteY2544" fmla="*/ 542717 h 1344613"/>
              <a:gd name="connsiteX2545" fmla="*/ 336247 w 1317625"/>
              <a:gd name="connsiteY2545" fmla="*/ 539070 h 1344613"/>
              <a:gd name="connsiteX2546" fmla="*/ 337970 w 1317625"/>
              <a:gd name="connsiteY2546" fmla="*/ 536465 h 1344613"/>
              <a:gd name="connsiteX2547" fmla="*/ 339262 w 1317625"/>
              <a:gd name="connsiteY2547" fmla="*/ 534381 h 1344613"/>
              <a:gd name="connsiteX2548" fmla="*/ 340986 w 1317625"/>
              <a:gd name="connsiteY2548" fmla="*/ 532818 h 1344613"/>
              <a:gd name="connsiteX2549" fmla="*/ 343570 w 1317625"/>
              <a:gd name="connsiteY2549" fmla="*/ 531255 h 1344613"/>
              <a:gd name="connsiteX2550" fmla="*/ 345724 w 1317625"/>
              <a:gd name="connsiteY2550" fmla="*/ 530734 h 1344613"/>
              <a:gd name="connsiteX2551" fmla="*/ 348309 w 1317625"/>
              <a:gd name="connsiteY2551" fmla="*/ 530213 h 1344613"/>
              <a:gd name="connsiteX2552" fmla="*/ 350463 w 1317625"/>
              <a:gd name="connsiteY2552" fmla="*/ 529692 h 1344613"/>
              <a:gd name="connsiteX2553" fmla="*/ 350463 w 1317625"/>
              <a:gd name="connsiteY2553" fmla="*/ 510415 h 1344613"/>
              <a:gd name="connsiteX2554" fmla="*/ 342278 w 1317625"/>
              <a:gd name="connsiteY2554" fmla="*/ 510415 h 1344613"/>
              <a:gd name="connsiteX2555" fmla="*/ 343570 w 1317625"/>
              <a:gd name="connsiteY2555" fmla="*/ 506768 h 1344613"/>
              <a:gd name="connsiteX2556" fmla="*/ 345293 w 1317625"/>
              <a:gd name="connsiteY2556" fmla="*/ 503642 h 1344613"/>
              <a:gd name="connsiteX2557" fmla="*/ 347878 w 1317625"/>
              <a:gd name="connsiteY2557" fmla="*/ 501037 h 1344613"/>
              <a:gd name="connsiteX2558" fmla="*/ 350032 w 1317625"/>
              <a:gd name="connsiteY2558" fmla="*/ 498432 h 1344613"/>
              <a:gd name="connsiteX2559" fmla="*/ 355201 w 1317625"/>
              <a:gd name="connsiteY2559" fmla="*/ 495306 h 1344613"/>
              <a:gd name="connsiteX2560" fmla="*/ 360371 w 1317625"/>
              <a:gd name="connsiteY2560" fmla="*/ 493222 h 1344613"/>
              <a:gd name="connsiteX2561" fmla="*/ 365971 w 1317625"/>
              <a:gd name="connsiteY2561" fmla="*/ 491138 h 1344613"/>
              <a:gd name="connsiteX2562" fmla="*/ 371140 w 1317625"/>
              <a:gd name="connsiteY2562" fmla="*/ 488012 h 1344613"/>
              <a:gd name="connsiteX2563" fmla="*/ 373294 w 1317625"/>
              <a:gd name="connsiteY2563" fmla="*/ 486449 h 1344613"/>
              <a:gd name="connsiteX2564" fmla="*/ 375017 w 1317625"/>
              <a:gd name="connsiteY2564" fmla="*/ 484365 h 1344613"/>
              <a:gd name="connsiteX2565" fmla="*/ 377602 w 1317625"/>
              <a:gd name="connsiteY2565" fmla="*/ 481760 h 1344613"/>
              <a:gd name="connsiteX2566" fmla="*/ 378894 w 1317625"/>
              <a:gd name="connsiteY2566" fmla="*/ 478634 h 1344613"/>
              <a:gd name="connsiteX2567" fmla="*/ 376309 w 1317625"/>
              <a:gd name="connsiteY2567" fmla="*/ 476029 h 1344613"/>
              <a:gd name="connsiteX2568" fmla="*/ 373294 w 1317625"/>
              <a:gd name="connsiteY2568" fmla="*/ 473424 h 1344613"/>
              <a:gd name="connsiteX2569" fmla="*/ 371140 w 1317625"/>
              <a:gd name="connsiteY2569" fmla="*/ 471340 h 1344613"/>
              <a:gd name="connsiteX2570" fmla="*/ 368555 w 1317625"/>
              <a:gd name="connsiteY2570" fmla="*/ 468215 h 1344613"/>
              <a:gd name="connsiteX2571" fmla="*/ 367263 w 1317625"/>
              <a:gd name="connsiteY2571" fmla="*/ 465089 h 1344613"/>
              <a:gd name="connsiteX2572" fmla="*/ 365971 w 1317625"/>
              <a:gd name="connsiteY2572" fmla="*/ 462484 h 1344613"/>
              <a:gd name="connsiteX2573" fmla="*/ 365109 w 1317625"/>
              <a:gd name="connsiteY2573" fmla="*/ 459358 h 1344613"/>
              <a:gd name="connsiteX2574" fmla="*/ 364678 w 1317625"/>
              <a:gd name="connsiteY2574" fmla="*/ 455711 h 1344613"/>
              <a:gd name="connsiteX2575" fmla="*/ 358647 w 1317625"/>
              <a:gd name="connsiteY2575" fmla="*/ 455711 h 1344613"/>
              <a:gd name="connsiteX2576" fmla="*/ 353478 w 1317625"/>
              <a:gd name="connsiteY2576" fmla="*/ 454669 h 1344613"/>
              <a:gd name="connsiteX2577" fmla="*/ 349170 w 1317625"/>
              <a:gd name="connsiteY2577" fmla="*/ 453106 h 1344613"/>
              <a:gd name="connsiteX2578" fmla="*/ 345293 w 1317625"/>
              <a:gd name="connsiteY2578" fmla="*/ 451543 h 1344613"/>
              <a:gd name="connsiteX2579" fmla="*/ 342709 w 1317625"/>
              <a:gd name="connsiteY2579" fmla="*/ 449459 h 1344613"/>
              <a:gd name="connsiteX2580" fmla="*/ 340555 w 1317625"/>
              <a:gd name="connsiteY2580" fmla="*/ 446333 h 1344613"/>
              <a:gd name="connsiteX2581" fmla="*/ 339262 w 1317625"/>
              <a:gd name="connsiteY2581" fmla="*/ 443728 h 1344613"/>
              <a:gd name="connsiteX2582" fmla="*/ 339262 w 1317625"/>
              <a:gd name="connsiteY2582" fmla="*/ 439560 h 1344613"/>
              <a:gd name="connsiteX2583" fmla="*/ 339262 w 1317625"/>
              <a:gd name="connsiteY2583" fmla="*/ 435913 h 1344613"/>
              <a:gd name="connsiteX2584" fmla="*/ 340124 w 1317625"/>
              <a:gd name="connsiteY2584" fmla="*/ 432787 h 1344613"/>
              <a:gd name="connsiteX2585" fmla="*/ 341847 w 1317625"/>
              <a:gd name="connsiteY2585" fmla="*/ 430182 h 1344613"/>
              <a:gd name="connsiteX2586" fmla="*/ 343570 w 1317625"/>
              <a:gd name="connsiteY2586" fmla="*/ 427056 h 1344613"/>
              <a:gd name="connsiteX2587" fmla="*/ 344863 w 1317625"/>
              <a:gd name="connsiteY2587" fmla="*/ 423930 h 1344613"/>
              <a:gd name="connsiteX2588" fmla="*/ 346155 w 1317625"/>
              <a:gd name="connsiteY2588" fmla="*/ 420804 h 1344613"/>
              <a:gd name="connsiteX2589" fmla="*/ 347447 w 1317625"/>
              <a:gd name="connsiteY2589" fmla="*/ 417678 h 1344613"/>
              <a:gd name="connsiteX2590" fmla="*/ 347878 w 1317625"/>
              <a:gd name="connsiteY2590" fmla="*/ 414552 h 1344613"/>
              <a:gd name="connsiteX2591" fmla="*/ 344432 w 1317625"/>
              <a:gd name="connsiteY2591" fmla="*/ 416115 h 1344613"/>
              <a:gd name="connsiteX2592" fmla="*/ 341847 w 1317625"/>
              <a:gd name="connsiteY2592" fmla="*/ 418199 h 1344613"/>
              <a:gd name="connsiteX2593" fmla="*/ 339262 w 1317625"/>
              <a:gd name="connsiteY2593" fmla="*/ 420804 h 1344613"/>
              <a:gd name="connsiteX2594" fmla="*/ 336247 w 1317625"/>
              <a:gd name="connsiteY2594" fmla="*/ 423930 h 1344613"/>
              <a:gd name="connsiteX2595" fmla="*/ 332370 w 1317625"/>
              <a:gd name="connsiteY2595" fmla="*/ 430703 h 1344613"/>
              <a:gd name="connsiteX2596" fmla="*/ 327631 w 1317625"/>
              <a:gd name="connsiteY2596" fmla="*/ 436434 h 1344613"/>
              <a:gd name="connsiteX2597" fmla="*/ 318154 w 1317625"/>
              <a:gd name="connsiteY2597" fmla="*/ 420283 h 1344613"/>
              <a:gd name="connsiteX2598" fmla="*/ 314277 w 1317625"/>
              <a:gd name="connsiteY2598" fmla="*/ 411426 h 1344613"/>
              <a:gd name="connsiteX2599" fmla="*/ 313416 w 1317625"/>
              <a:gd name="connsiteY2599" fmla="*/ 408821 h 1344613"/>
              <a:gd name="connsiteX2600" fmla="*/ 313416 w 1317625"/>
              <a:gd name="connsiteY2600" fmla="*/ 406737 h 1344613"/>
              <a:gd name="connsiteX2601" fmla="*/ 313416 w 1317625"/>
              <a:gd name="connsiteY2601" fmla="*/ 404132 h 1344613"/>
              <a:gd name="connsiteX2602" fmla="*/ 313416 w 1317625"/>
              <a:gd name="connsiteY2602" fmla="*/ 401006 h 1344613"/>
              <a:gd name="connsiteX2603" fmla="*/ 312123 w 1317625"/>
              <a:gd name="connsiteY2603" fmla="*/ 400485 h 1344613"/>
              <a:gd name="connsiteX2604" fmla="*/ 311693 w 1317625"/>
              <a:gd name="connsiteY2604" fmla="*/ 398922 h 1344613"/>
              <a:gd name="connsiteX2605" fmla="*/ 311262 w 1317625"/>
              <a:gd name="connsiteY2605" fmla="*/ 397359 h 1344613"/>
              <a:gd name="connsiteX2606" fmla="*/ 310831 w 1317625"/>
              <a:gd name="connsiteY2606" fmla="*/ 395275 h 1344613"/>
              <a:gd name="connsiteX2607" fmla="*/ 310831 w 1317625"/>
              <a:gd name="connsiteY2607" fmla="*/ 390065 h 1344613"/>
              <a:gd name="connsiteX2608" fmla="*/ 311262 w 1317625"/>
              <a:gd name="connsiteY2608" fmla="*/ 384334 h 1344613"/>
              <a:gd name="connsiteX2609" fmla="*/ 312123 w 1317625"/>
              <a:gd name="connsiteY2609" fmla="*/ 370789 h 1344613"/>
              <a:gd name="connsiteX2610" fmla="*/ 313416 w 1317625"/>
              <a:gd name="connsiteY2610" fmla="*/ 359848 h 1344613"/>
              <a:gd name="connsiteX2611" fmla="*/ 313846 w 1317625"/>
              <a:gd name="connsiteY2611" fmla="*/ 357764 h 1344613"/>
              <a:gd name="connsiteX2612" fmla="*/ 313846 w 1317625"/>
              <a:gd name="connsiteY2612" fmla="*/ 355680 h 1344613"/>
              <a:gd name="connsiteX2613" fmla="*/ 313416 w 1317625"/>
              <a:gd name="connsiteY2613" fmla="*/ 353596 h 1344613"/>
              <a:gd name="connsiteX2614" fmla="*/ 312985 w 1317625"/>
              <a:gd name="connsiteY2614" fmla="*/ 352554 h 1344613"/>
              <a:gd name="connsiteX2615" fmla="*/ 311262 w 1317625"/>
              <a:gd name="connsiteY2615" fmla="*/ 350470 h 1344613"/>
              <a:gd name="connsiteX2616" fmla="*/ 309539 w 1317625"/>
              <a:gd name="connsiteY2616" fmla="*/ 349428 h 1344613"/>
              <a:gd name="connsiteX2617" fmla="*/ 307385 w 1317625"/>
              <a:gd name="connsiteY2617" fmla="*/ 348386 h 1344613"/>
              <a:gd name="connsiteX2618" fmla="*/ 306523 w 1317625"/>
              <a:gd name="connsiteY2618" fmla="*/ 347865 h 1344613"/>
              <a:gd name="connsiteX2619" fmla="*/ 306092 w 1317625"/>
              <a:gd name="connsiteY2619" fmla="*/ 347344 h 1344613"/>
              <a:gd name="connsiteX2620" fmla="*/ 307385 w 1317625"/>
              <a:gd name="connsiteY2620" fmla="*/ 346302 h 1344613"/>
              <a:gd name="connsiteX2621" fmla="*/ 310400 w 1317625"/>
              <a:gd name="connsiteY2621" fmla="*/ 341613 h 1344613"/>
              <a:gd name="connsiteX2622" fmla="*/ 313416 w 1317625"/>
              <a:gd name="connsiteY2622" fmla="*/ 336924 h 1344613"/>
              <a:gd name="connsiteX2623" fmla="*/ 313416 w 1317625"/>
              <a:gd name="connsiteY2623" fmla="*/ 333798 h 1344613"/>
              <a:gd name="connsiteX2624" fmla="*/ 309539 w 1317625"/>
              <a:gd name="connsiteY2624" fmla="*/ 332756 h 1344613"/>
              <a:gd name="connsiteX2625" fmla="*/ 306954 w 1317625"/>
              <a:gd name="connsiteY2625" fmla="*/ 332235 h 1344613"/>
              <a:gd name="connsiteX2626" fmla="*/ 306092 w 1317625"/>
              <a:gd name="connsiteY2626" fmla="*/ 331714 h 1344613"/>
              <a:gd name="connsiteX2627" fmla="*/ 305231 w 1317625"/>
              <a:gd name="connsiteY2627" fmla="*/ 330672 h 1344613"/>
              <a:gd name="connsiteX2628" fmla="*/ 304800 w 1317625"/>
              <a:gd name="connsiteY2628" fmla="*/ 329630 h 1344613"/>
              <a:gd name="connsiteX2629" fmla="*/ 304800 w 1317625"/>
              <a:gd name="connsiteY2629" fmla="*/ 327546 h 1344613"/>
              <a:gd name="connsiteX2630" fmla="*/ 299171 w 1317625"/>
              <a:gd name="connsiteY2630" fmla="*/ 250825 h 1344613"/>
              <a:gd name="connsiteX2631" fmla="*/ 300614 w 1317625"/>
              <a:gd name="connsiteY2631" fmla="*/ 260043 h 1344613"/>
              <a:gd name="connsiteX2632" fmla="*/ 301769 w 1317625"/>
              <a:gd name="connsiteY2632" fmla="*/ 272948 h 1344613"/>
              <a:gd name="connsiteX2633" fmla="*/ 302923 w 1317625"/>
              <a:gd name="connsiteY2633" fmla="*/ 291383 h 1344613"/>
              <a:gd name="connsiteX2634" fmla="*/ 303212 w 1317625"/>
              <a:gd name="connsiteY2634" fmla="*/ 307975 h 1344613"/>
              <a:gd name="connsiteX2635" fmla="*/ 301480 w 1317625"/>
              <a:gd name="connsiteY2635" fmla="*/ 306132 h 1344613"/>
              <a:gd name="connsiteX2636" fmla="*/ 300037 w 1317625"/>
              <a:gd name="connsiteY2636" fmla="*/ 302444 h 1344613"/>
              <a:gd name="connsiteX2637" fmla="*/ 298305 w 1317625"/>
              <a:gd name="connsiteY2637" fmla="*/ 296914 h 1344613"/>
              <a:gd name="connsiteX2638" fmla="*/ 296862 w 1317625"/>
              <a:gd name="connsiteY2638" fmla="*/ 291383 h 1344613"/>
              <a:gd name="connsiteX2639" fmla="*/ 294553 w 1317625"/>
              <a:gd name="connsiteY2639" fmla="*/ 278478 h 1344613"/>
              <a:gd name="connsiteX2640" fmla="*/ 293687 w 1317625"/>
              <a:gd name="connsiteY2640" fmla="*/ 272948 h 1344613"/>
              <a:gd name="connsiteX2641" fmla="*/ 701061 w 1317625"/>
              <a:gd name="connsiteY2641" fmla="*/ 203656 h 1344613"/>
              <a:gd name="connsiteX2642" fmla="*/ 698462 w 1317625"/>
              <a:gd name="connsiteY2642" fmla="*/ 204181 h 1344613"/>
              <a:gd name="connsiteX2643" fmla="*/ 692397 w 1317625"/>
              <a:gd name="connsiteY2643" fmla="*/ 204705 h 1344613"/>
              <a:gd name="connsiteX2644" fmla="*/ 686331 w 1317625"/>
              <a:gd name="connsiteY2644" fmla="*/ 205230 h 1344613"/>
              <a:gd name="connsiteX2645" fmla="*/ 686024 w 1317625"/>
              <a:gd name="connsiteY2645" fmla="*/ 206366 h 1344613"/>
              <a:gd name="connsiteX2646" fmla="*/ 689968 w 1317625"/>
              <a:gd name="connsiteY2646" fmla="*/ 206034 h 1344613"/>
              <a:gd name="connsiteX2647" fmla="*/ 696162 w 1317625"/>
              <a:gd name="connsiteY2647" fmla="*/ 205511 h 1344613"/>
              <a:gd name="connsiteX2648" fmla="*/ 698817 w 1317625"/>
              <a:gd name="connsiteY2648" fmla="*/ 204989 h 1344613"/>
              <a:gd name="connsiteX2649" fmla="*/ 701029 w 1317625"/>
              <a:gd name="connsiteY2649" fmla="*/ 204989 h 1344613"/>
              <a:gd name="connsiteX2650" fmla="*/ 702799 w 1317625"/>
              <a:gd name="connsiteY2650" fmla="*/ 205511 h 1344613"/>
              <a:gd name="connsiteX2651" fmla="*/ 704127 w 1317625"/>
              <a:gd name="connsiteY2651" fmla="*/ 206556 h 1344613"/>
              <a:gd name="connsiteX2652" fmla="*/ 704264 w 1317625"/>
              <a:gd name="connsiteY2652" fmla="*/ 203970 h 1344613"/>
              <a:gd name="connsiteX2653" fmla="*/ 703227 w 1317625"/>
              <a:gd name="connsiteY2653" fmla="*/ 203656 h 1344613"/>
              <a:gd name="connsiteX2654" fmla="*/ 47389 w 1317625"/>
              <a:gd name="connsiteY2654" fmla="*/ 180976 h 1344613"/>
              <a:gd name="connsiteX2655" fmla="*/ 68525 w 1317625"/>
              <a:gd name="connsiteY2655" fmla="*/ 182952 h 1344613"/>
              <a:gd name="connsiteX2656" fmla="*/ 87260 w 1317625"/>
              <a:gd name="connsiteY2656" fmla="*/ 186905 h 1344613"/>
              <a:gd name="connsiteX2657" fmla="*/ 96867 w 1317625"/>
              <a:gd name="connsiteY2657" fmla="*/ 188881 h 1344613"/>
              <a:gd name="connsiteX2658" fmla="*/ 105513 w 1317625"/>
              <a:gd name="connsiteY2658" fmla="*/ 187893 h 1344613"/>
              <a:gd name="connsiteX2659" fmla="*/ 109837 w 1317625"/>
              <a:gd name="connsiteY2659" fmla="*/ 186905 h 1344613"/>
              <a:gd name="connsiteX2660" fmla="*/ 113199 w 1317625"/>
              <a:gd name="connsiteY2660" fmla="*/ 185917 h 1344613"/>
              <a:gd name="connsiteX2661" fmla="*/ 117042 w 1317625"/>
              <a:gd name="connsiteY2661" fmla="*/ 183940 h 1344613"/>
              <a:gd name="connsiteX2662" fmla="*/ 120885 w 1317625"/>
              <a:gd name="connsiteY2662" fmla="*/ 180976 h 1344613"/>
              <a:gd name="connsiteX2663" fmla="*/ 120885 w 1317625"/>
              <a:gd name="connsiteY2663" fmla="*/ 189869 h 1344613"/>
              <a:gd name="connsiteX2664" fmla="*/ 120885 w 1317625"/>
              <a:gd name="connsiteY2664" fmla="*/ 205679 h 1344613"/>
              <a:gd name="connsiteX2665" fmla="*/ 116081 w 1317625"/>
              <a:gd name="connsiteY2665" fmla="*/ 211608 h 1344613"/>
              <a:gd name="connsiteX2666" fmla="*/ 111278 w 1317625"/>
              <a:gd name="connsiteY2666" fmla="*/ 216548 h 1344613"/>
              <a:gd name="connsiteX2667" fmla="*/ 106955 w 1317625"/>
              <a:gd name="connsiteY2667" fmla="*/ 220501 h 1344613"/>
              <a:gd name="connsiteX2668" fmla="*/ 102151 w 1317625"/>
              <a:gd name="connsiteY2668" fmla="*/ 224453 h 1344613"/>
              <a:gd name="connsiteX2669" fmla="*/ 98308 w 1317625"/>
              <a:gd name="connsiteY2669" fmla="*/ 226430 h 1344613"/>
              <a:gd name="connsiteX2670" fmla="*/ 94945 w 1317625"/>
              <a:gd name="connsiteY2670" fmla="*/ 228406 h 1344613"/>
              <a:gd name="connsiteX2671" fmla="*/ 91583 w 1317625"/>
              <a:gd name="connsiteY2671" fmla="*/ 229394 h 1344613"/>
              <a:gd name="connsiteX2672" fmla="*/ 89181 w 1317625"/>
              <a:gd name="connsiteY2672" fmla="*/ 229394 h 1344613"/>
              <a:gd name="connsiteX2673" fmla="*/ 81975 w 1317625"/>
              <a:gd name="connsiteY2673" fmla="*/ 228406 h 1344613"/>
              <a:gd name="connsiteX2674" fmla="*/ 76211 w 1317625"/>
              <a:gd name="connsiteY2674" fmla="*/ 226430 h 1344613"/>
              <a:gd name="connsiteX2675" fmla="*/ 71407 w 1317625"/>
              <a:gd name="connsiteY2675" fmla="*/ 223465 h 1344613"/>
              <a:gd name="connsiteX2676" fmla="*/ 67084 w 1317625"/>
              <a:gd name="connsiteY2676" fmla="*/ 218525 h 1344613"/>
              <a:gd name="connsiteX2677" fmla="*/ 57957 w 1317625"/>
              <a:gd name="connsiteY2677" fmla="*/ 209632 h 1344613"/>
              <a:gd name="connsiteX2678" fmla="*/ 47389 w 1317625"/>
              <a:gd name="connsiteY2678" fmla="*/ 199750 h 1344613"/>
              <a:gd name="connsiteX2679" fmla="*/ 946659 w 1317625"/>
              <a:gd name="connsiteY2679" fmla="*/ 0 h 1344613"/>
              <a:gd name="connsiteX2680" fmla="*/ 960955 w 1317625"/>
              <a:gd name="connsiteY2680" fmla="*/ 0 h 1344613"/>
              <a:gd name="connsiteX2681" fmla="*/ 961388 w 1317625"/>
              <a:gd name="connsiteY2681" fmla="*/ 2661 h 1344613"/>
              <a:gd name="connsiteX2682" fmla="*/ 962688 w 1317625"/>
              <a:gd name="connsiteY2682" fmla="*/ 4790 h 1344613"/>
              <a:gd name="connsiteX2683" fmla="*/ 964854 w 1317625"/>
              <a:gd name="connsiteY2683" fmla="*/ 5854 h 1344613"/>
              <a:gd name="connsiteX2684" fmla="*/ 966587 w 1317625"/>
              <a:gd name="connsiteY2684" fmla="*/ 6387 h 1344613"/>
              <a:gd name="connsiteX2685" fmla="*/ 968753 w 1317625"/>
              <a:gd name="connsiteY2685" fmla="*/ 5854 h 1344613"/>
              <a:gd name="connsiteX2686" fmla="*/ 971785 w 1317625"/>
              <a:gd name="connsiteY2686" fmla="*/ 4790 h 1344613"/>
              <a:gd name="connsiteX2687" fmla="*/ 973085 w 1317625"/>
              <a:gd name="connsiteY2687" fmla="*/ 3726 h 1344613"/>
              <a:gd name="connsiteX2688" fmla="*/ 974385 w 1317625"/>
              <a:gd name="connsiteY2688" fmla="*/ 2661 h 1344613"/>
              <a:gd name="connsiteX2689" fmla="*/ 975251 w 1317625"/>
              <a:gd name="connsiteY2689" fmla="*/ 1597 h 1344613"/>
              <a:gd name="connsiteX2690" fmla="*/ 975251 w 1317625"/>
              <a:gd name="connsiteY2690" fmla="*/ 0 h 1344613"/>
              <a:gd name="connsiteX2691" fmla="*/ 977417 w 1317625"/>
              <a:gd name="connsiteY2691" fmla="*/ 1597 h 1344613"/>
              <a:gd name="connsiteX2692" fmla="*/ 979583 w 1317625"/>
              <a:gd name="connsiteY2692" fmla="*/ 3193 h 1344613"/>
              <a:gd name="connsiteX2693" fmla="*/ 981316 w 1317625"/>
              <a:gd name="connsiteY2693" fmla="*/ 3726 h 1344613"/>
              <a:gd name="connsiteX2694" fmla="*/ 983049 w 1317625"/>
              <a:gd name="connsiteY2694" fmla="*/ 4258 h 1344613"/>
              <a:gd name="connsiteX2695" fmla="*/ 986948 w 1317625"/>
              <a:gd name="connsiteY2695" fmla="*/ 4258 h 1344613"/>
              <a:gd name="connsiteX2696" fmla="*/ 990847 w 1317625"/>
              <a:gd name="connsiteY2696" fmla="*/ 3726 h 1344613"/>
              <a:gd name="connsiteX2697" fmla="*/ 997345 w 1317625"/>
              <a:gd name="connsiteY2697" fmla="*/ 1597 h 1344613"/>
              <a:gd name="connsiteX2698" fmla="*/ 1004277 w 1317625"/>
              <a:gd name="connsiteY2698" fmla="*/ 0 h 1344613"/>
              <a:gd name="connsiteX2699" fmla="*/ 1011208 w 1317625"/>
              <a:gd name="connsiteY2699" fmla="*/ 532 h 1344613"/>
              <a:gd name="connsiteX2700" fmla="*/ 1018573 w 1317625"/>
              <a:gd name="connsiteY2700" fmla="*/ 1064 h 1344613"/>
              <a:gd name="connsiteX2701" fmla="*/ 1024638 w 1317625"/>
              <a:gd name="connsiteY2701" fmla="*/ 2129 h 1344613"/>
              <a:gd name="connsiteX2702" fmla="*/ 1031136 w 1317625"/>
              <a:gd name="connsiteY2702" fmla="*/ 3193 h 1344613"/>
              <a:gd name="connsiteX2703" fmla="*/ 1038068 w 1317625"/>
              <a:gd name="connsiteY2703" fmla="*/ 4790 h 1344613"/>
              <a:gd name="connsiteX2704" fmla="*/ 1044566 w 1317625"/>
              <a:gd name="connsiteY2704" fmla="*/ 5854 h 1344613"/>
              <a:gd name="connsiteX2705" fmla="*/ 1051064 w 1317625"/>
              <a:gd name="connsiteY2705" fmla="*/ 6387 h 1344613"/>
              <a:gd name="connsiteX2706" fmla="*/ 1058862 w 1317625"/>
              <a:gd name="connsiteY2706" fmla="*/ 6387 h 1344613"/>
              <a:gd name="connsiteX2707" fmla="*/ 1058862 w 1317625"/>
              <a:gd name="connsiteY2707" fmla="*/ 23418 h 1344613"/>
              <a:gd name="connsiteX2708" fmla="*/ 1058429 w 1317625"/>
              <a:gd name="connsiteY2708" fmla="*/ 26079 h 1344613"/>
              <a:gd name="connsiteX2709" fmla="*/ 1057129 w 1317625"/>
              <a:gd name="connsiteY2709" fmla="*/ 29272 h 1344613"/>
              <a:gd name="connsiteX2710" fmla="*/ 1055830 w 1317625"/>
              <a:gd name="connsiteY2710" fmla="*/ 30869 h 1344613"/>
              <a:gd name="connsiteX2711" fmla="*/ 1054963 w 1317625"/>
              <a:gd name="connsiteY2711" fmla="*/ 31933 h 1344613"/>
              <a:gd name="connsiteX2712" fmla="*/ 1054097 w 1317625"/>
              <a:gd name="connsiteY2712" fmla="*/ 32466 h 1344613"/>
              <a:gd name="connsiteX2713" fmla="*/ 1053230 w 1317625"/>
              <a:gd name="connsiteY2713" fmla="*/ 32998 h 1344613"/>
              <a:gd name="connsiteX2714" fmla="*/ 1044566 w 1317625"/>
              <a:gd name="connsiteY2714" fmla="*/ 32998 h 1344613"/>
              <a:gd name="connsiteX2715" fmla="*/ 1038068 w 1317625"/>
              <a:gd name="connsiteY2715" fmla="*/ 31933 h 1344613"/>
              <a:gd name="connsiteX2716" fmla="*/ 1034602 w 1317625"/>
              <a:gd name="connsiteY2716" fmla="*/ 30337 h 1344613"/>
              <a:gd name="connsiteX2717" fmla="*/ 1031570 w 1317625"/>
              <a:gd name="connsiteY2717" fmla="*/ 28740 h 1344613"/>
              <a:gd name="connsiteX2718" fmla="*/ 1029403 w 1317625"/>
              <a:gd name="connsiteY2718" fmla="*/ 26611 h 1344613"/>
              <a:gd name="connsiteX2719" fmla="*/ 1026804 w 1317625"/>
              <a:gd name="connsiteY2719" fmla="*/ 23418 h 1344613"/>
              <a:gd name="connsiteX2720" fmla="*/ 1001244 w 1317625"/>
              <a:gd name="connsiteY2720" fmla="*/ 23418 h 1344613"/>
              <a:gd name="connsiteX2721" fmla="*/ 1004710 w 1317625"/>
              <a:gd name="connsiteY2721" fmla="*/ 30869 h 1344613"/>
              <a:gd name="connsiteX2722" fmla="*/ 1007743 w 1317625"/>
              <a:gd name="connsiteY2722" fmla="*/ 37256 h 1344613"/>
              <a:gd name="connsiteX2723" fmla="*/ 1012075 w 1317625"/>
              <a:gd name="connsiteY2723" fmla="*/ 43110 h 1344613"/>
              <a:gd name="connsiteX2724" fmla="*/ 1016407 w 1317625"/>
              <a:gd name="connsiteY2724" fmla="*/ 47368 h 1344613"/>
              <a:gd name="connsiteX2725" fmla="*/ 1021172 w 1317625"/>
              <a:gd name="connsiteY2725" fmla="*/ 51094 h 1344613"/>
              <a:gd name="connsiteX2726" fmla="*/ 1026371 w 1317625"/>
              <a:gd name="connsiteY2726" fmla="*/ 54287 h 1344613"/>
              <a:gd name="connsiteX2727" fmla="*/ 1032003 w 1317625"/>
              <a:gd name="connsiteY2727" fmla="*/ 56948 h 1344613"/>
              <a:gd name="connsiteX2728" fmla="*/ 1038501 w 1317625"/>
              <a:gd name="connsiteY2728" fmla="*/ 59077 h 1344613"/>
              <a:gd name="connsiteX2729" fmla="*/ 1035902 w 1317625"/>
              <a:gd name="connsiteY2729" fmla="*/ 63335 h 1344613"/>
              <a:gd name="connsiteX2730" fmla="*/ 1033736 w 1317625"/>
              <a:gd name="connsiteY2730" fmla="*/ 67060 h 1344613"/>
              <a:gd name="connsiteX2731" fmla="*/ 1030703 w 1317625"/>
              <a:gd name="connsiteY2731" fmla="*/ 70254 h 1344613"/>
              <a:gd name="connsiteX2732" fmla="*/ 1028104 w 1317625"/>
              <a:gd name="connsiteY2732" fmla="*/ 72383 h 1344613"/>
              <a:gd name="connsiteX2733" fmla="*/ 1024205 w 1317625"/>
              <a:gd name="connsiteY2733" fmla="*/ 73979 h 1344613"/>
              <a:gd name="connsiteX2734" fmla="*/ 1020739 w 1317625"/>
              <a:gd name="connsiteY2734" fmla="*/ 75044 h 1344613"/>
              <a:gd name="connsiteX2735" fmla="*/ 1016840 w 1317625"/>
              <a:gd name="connsiteY2735" fmla="*/ 75576 h 1344613"/>
              <a:gd name="connsiteX2736" fmla="*/ 1012508 w 1317625"/>
              <a:gd name="connsiteY2736" fmla="*/ 75576 h 1344613"/>
              <a:gd name="connsiteX2737" fmla="*/ 1009475 w 1317625"/>
              <a:gd name="connsiteY2737" fmla="*/ 75576 h 1344613"/>
              <a:gd name="connsiteX2738" fmla="*/ 1006876 w 1317625"/>
              <a:gd name="connsiteY2738" fmla="*/ 75044 h 1344613"/>
              <a:gd name="connsiteX2739" fmla="*/ 1004710 w 1317625"/>
              <a:gd name="connsiteY2739" fmla="*/ 73979 h 1344613"/>
              <a:gd name="connsiteX2740" fmla="*/ 1002544 w 1317625"/>
              <a:gd name="connsiteY2740" fmla="*/ 72383 h 1344613"/>
              <a:gd name="connsiteX2741" fmla="*/ 1000811 w 1317625"/>
              <a:gd name="connsiteY2741" fmla="*/ 71318 h 1344613"/>
              <a:gd name="connsiteX2742" fmla="*/ 999511 w 1317625"/>
              <a:gd name="connsiteY2742" fmla="*/ 70254 h 1344613"/>
              <a:gd name="connsiteX2743" fmla="*/ 997345 w 1317625"/>
              <a:gd name="connsiteY2743" fmla="*/ 69721 h 1344613"/>
              <a:gd name="connsiteX2744" fmla="*/ 995179 w 1317625"/>
              <a:gd name="connsiteY2744" fmla="*/ 69189 h 1344613"/>
              <a:gd name="connsiteX2745" fmla="*/ 993013 w 1317625"/>
              <a:gd name="connsiteY2745" fmla="*/ 68125 h 1344613"/>
              <a:gd name="connsiteX2746" fmla="*/ 991280 w 1317625"/>
              <a:gd name="connsiteY2746" fmla="*/ 66528 h 1344613"/>
              <a:gd name="connsiteX2747" fmla="*/ 989114 w 1317625"/>
              <a:gd name="connsiteY2747" fmla="*/ 64399 h 1344613"/>
              <a:gd name="connsiteX2748" fmla="*/ 987381 w 1317625"/>
              <a:gd name="connsiteY2748" fmla="*/ 61738 h 1344613"/>
              <a:gd name="connsiteX2749" fmla="*/ 986082 w 1317625"/>
              <a:gd name="connsiteY2749" fmla="*/ 58545 h 1344613"/>
              <a:gd name="connsiteX2750" fmla="*/ 984782 w 1317625"/>
              <a:gd name="connsiteY2750" fmla="*/ 55351 h 1344613"/>
              <a:gd name="connsiteX2751" fmla="*/ 984349 w 1317625"/>
              <a:gd name="connsiteY2751" fmla="*/ 52158 h 1344613"/>
              <a:gd name="connsiteX2752" fmla="*/ 983482 w 1317625"/>
              <a:gd name="connsiteY2752" fmla="*/ 49497 h 1344613"/>
              <a:gd name="connsiteX2753" fmla="*/ 980450 w 1317625"/>
              <a:gd name="connsiteY2753" fmla="*/ 48965 h 1344613"/>
              <a:gd name="connsiteX2754" fmla="*/ 977417 w 1317625"/>
              <a:gd name="connsiteY2754" fmla="*/ 47900 h 1344613"/>
              <a:gd name="connsiteX2755" fmla="*/ 976820 w 1317625"/>
              <a:gd name="connsiteY2755" fmla="*/ 47586 h 1344613"/>
              <a:gd name="connsiteX2756" fmla="*/ 976164 w 1317625"/>
              <a:gd name="connsiteY2756" fmla="*/ 48909 h 1344613"/>
              <a:gd name="connsiteX2757" fmla="*/ 974864 w 1317625"/>
              <a:gd name="connsiteY2757" fmla="*/ 51008 h 1344613"/>
              <a:gd name="connsiteX2758" fmla="*/ 973998 w 1317625"/>
              <a:gd name="connsiteY2758" fmla="*/ 53630 h 1344613"/>
              <a:gd name="connsiteX2759" fmla="*/ 973998 w 1317625"/>
              <a:gd name="connsiteY2759" fmla="*/ 56253 h 1344613"/>
              <a:gd name="connsiteX2760" fmla="*/ 968799 w 1317625"/>
              <a:gd name="connsiteY2760" fmla="*/ 55729 h 1344613"/>
              <a:gd name="connsiteX2761" fmla="*/ 963600 w 1317625"/>
              <a:gd name="connsiteY2761" fmla="*/ 54155 h 1344613"/>
              <a:gd name="connsiteX2762" fmla="*/ 958834 w 1317625"/>
              <a:gd name="connsiteY2762" fmla="*/ 52057 h 1344613"/>
              <a:gd name="connsiteX2763" fmla="*/ 956793 w 1317625"/>
              <a:gd name="connsiteY2763" fmla="*/ 50933 h 1344613"/>
              <a:gd name="connsiteX2764" fmla="*/ 959587 w 1317625"/>
              <a:gd name="connsiteY2764" fmla="*/ 53308 h 1344613"/>
              <a:gd name="connsiteX2765" fmla="*/ 963965 w 1317625"/>
              <a:gd name="connsiteY2765" fmla="*/ 55393 h 1344613"/>
              <a:gd name="connsiteX2766" fmla="*/ 967906 w 1317625"/>
              <a:gd name="connsiteY2766" fmla="*/ 56956 h 1344613"/>
              <a:gd name="connsiteX2767" fmla="*/ 972284 w 1317625"/>
              <a:gd name="connsiteY2767" fmla="*/ 57477 h 1344613"/>
              <a:gd name="connsiteX2768" fmla="*/ 963527 w 1317625"/>
              <a:gd name="connsiteY2768" fmla="*/ 76757 h 1344613"/>
              <a:gd name="connsiteX2769" fmla="*/ 965279 w 1317625"/>
              <a:gd name="connsiteY2769" fmla="*/ 79363 h 1344613"/>
              <a:gd name="connsiteX2770" fmla="*/ 967030 w 1317625"/>
              <a:gd name="connsiteY2770" fmla="*/ 81968 h 1344613"/>
              <a:gd name="connsiteX2771" fmla="*/ 969219 w 1317625"/>
              <a:gd name="connsiteY2771" fmla="*/ 84574 h 1344613"/>
              <a:gd name="connsiteX2772" fmla="*/ 971408 w 1317625"/>
              <a:gd name="connsiteY2772" fmla="*/ 87179 h 1344613"/>
              <a:gd name="connsiteX2773" fmla="*/ 976224 w 1317625"/>
              <a:gd name="connsiteY2773" fmla="*/ 90306 h 1344613"/>
              <a:gd name="connsiteX2774" fmla="*/ 981040 w 1317625"/>
              <a:gd name="connsiteY2774" fmla="*/ 93432 h 1344613"/>
              <a:gd name="connsiteX2775" fmla="*/ 990672 w 1317625"/>
              <a:gd name="connsiteY2775" fmla="*/ 98122 h 1344613"/>
              <a:gd name="connsiteX2776" fmla="*/ 998115 w 1317625"/>
              <a:gd name="connsiteY2776" fmla="*/ 102291 h 1344613"/>
              <a:gd name="connsiteX2777" fmla="*/ 997240 w 1317625"/>
              <a:gd name="connsiteY2777" fmla="*/ 106459 h 1344613"/>
              <a:gd name="connsiteX2778" fmla="*/ 995926 w 1317625"/>
              <a:gd name="connsiteY2778" fmla="*/ 110107 h 1344613"/>
              <a:gd name="connsiteX2779" fmla="*/ 994613 w 1317625"/>
              <a:gd name="connsiteY2779" fmla="*/ 112712 h 1344613"/>
              <a:gd name="connsiteX2780" fmla="*/ 992861 w 1317625"/>
              <a:gd name="connsiteY2780" fmla="*/ 114797 h 1344613"/>
              <a:gd name="connsiteX2781" fmla="*/ 991548 w 1317625"/>
              <a:gd name="connsiteY2781" fmla="*/ 117923 h 1344613"/>
              <a:gd name="connsiteX2782" fmla="*/ 990672 w 1317625"/>
              <a:gd name="connsiteY2782" fmla="*/ 120529 h 1344613"/>
              <a:gd name="connsiteX2783" fmla="*/ 990235 w 1317625"/>
              <a:gd name="connsiteY2783" fmla="*/ 124176 h 1344613"/>
              <a:gd name="connsiteX2784" fmla="*/ 989797 w 1317625"/>
              <a:gd name="connsiteY2784" fmla="*/ 128345 h 1344613"/>
              <a:gd name="connsiteX2785" fmla="*/ 990235 w 1317625"/>
              <a:gd name="connsiteY2785" fmla="*/ 131993 h 1344613"/>
              <a:gd name="connsiteX2786" fmla="*/ 991986 w 1317625"/>
              <a:gd name="connsiteY2786" fmla="*/ 136161 h 1344613"/>
              <a:gd name="connsiteX2787" fmla="*/ 994613 w 1317625"/>
              <a:gd name="connsiteY2787" fmla="*/ 140330 h 1344613"/>
              <a:gd name="connsiteX2788" fmla="*/ 997240 w 1317625"/>
              <a:gd name="connsiteY2788" fmla="*/ 145020 h 1344613"/>
              <a:gd name="connsiteX2789" fmla="*/ 1000304 w 1317625"/>
              <a:gd name="connsiteY2789" fmla="*/ 148667 h 1344613"/>
              <a:gd name="connsiteX2790" fmla="*/ 1002931 w 1317625"/>
              <a:gd name="connsiteY2790" fmla="*/ 151273 h 1344613"/>
              <a:gd name="connsiteX2791" fmla="*/ 1005558 w 1317625"/>
              <a:gd name="connsiteY2791" fmla="*/ 153357 h 1344613"/>
              <a:gd name="connsiteX2792" fmla="*/ 1006872 w 1317625"/>
              <a:gd name="connsiteY2792" fmla="*/ 153878 h 1344613"/>
              <a:gd name="connsiteX2793" fmla="*/ 1007310 w 1317625"/>
              <a:gd name="connsiteY2793" fmla="*/ 162216 h 1344613"/>
              <a:gd name="connsiteX2794" fmla="*/ 1008185 w 1317625"/>
              <a:gd name="connsiteY2794" fmla="*/ 170032 h 1344613"/>
              <a:gd name="connsiteX2795" fmla="*/ 1010374 w 1317625"/>
              <a:gd name="connsiteY2795" fmla="*/ 177848 h 1344613"/>
              <a:gd name="connsiteX2796" fmla="*/ 1012563 w 1317625"/>
              <a:gd name="connsiteY2796" fmla="*/ 184102 h 1344613"/>
              <a:gd name="connsiteX2797" fmla="*/ 1015190 w 1317625"/>
              <a:gd name="connsiteY2797" fmla="*/ 189834 h 1344613"/>
              <a:gd name="connsiteX2798" fmla="*/ 1018255 w 1317625"/>
              <a:gd name="connsiteY2798" fmla="*/ 195044 h 1344613"/>
              <a:gd name="connsiteX2799" fmla="*/ 1022195 w 1317625"/>
              <a:gd name="connsiteY2799" fmla="*/ 199734 h 1344613"/>
              <a:gd name="connsiteX2800" fmla="*/ 1026136 w 1317625"/>
              <a:gd name="connsiteY2800" fmla="*/ 204424 h 1344613"/>
              <a:gd name="connsiteX2801" fmla="*/ 1030514 w 1317625"/>
              <a:gd name="connsiteY2801" fmla="*/ 208593 h 1344613"/>
              <a:gd name="connsiteX2802" fmla="*/ 1034892 w 1317625"/>
              <a:gd name="connsiteY2802" fmla="*/ 212240 h 1344613"/>
              <a:gd name="connsiteX2803" fmla="*/ 1039271 w 1317625"/>
              <a:gd name="connsiteY2803" fmla="*/ 215888 h 1344613"/>
              <a:gd name="connsiteX2804" fmla="*/ 1044087 w 1317625"/>
              <a:gd name="connsiteY2804" fmla="*/ 219014 h 1344613"/>
              <a:gd name="connsiteX2805" fmla="*/ 1053719 w 1317625"/>
              <a:gd name="connsiteY2805" fmla="*/ 224746 h 1344613"/>
              <a:gd name="connsiteX2806" fmla="*/ 1062037 w 1317625"/>
              <a:gd name="connsiteY2806" fmla="*/ 230478 h 1344613"/>
              <a:gd name="connsiteX2807" fmla="*/ 1045400 w 1317625"/>
              <a:gd name="connsiteY2807" fmla="*/ 247674 h 1344613"/>
              <a:gd name="connsiteX2808" fmla="*/ 1029638 w 1317625"/>
              <a:gd name="connsiteY2808" fmla="*/ 265391 h 1344613"/>
              <a:gd name="connsiteX2809" fmla="*/ 1022195 w 1317625"/>
              <a:gd name="connsiteY2809" fmla="*/ 273729 h 1344613"/>
              <a:gd name="connsiteX2810" fmla="*/ 1015190 w 1317625"/>
              <a:gd name="connsiteY2810" fmla="*/ 282587 h 1344613"/>
              <a:gd name="connsiteX2811" fmla="*/ 1007747 w 1317625"/>
              <a:gd name="connsiteY2811" fmla="*/ 292488 h 1344613"/>
              <a:gd name="connsiteX2812" fmla="*/ 1001180 w 1317625"/>
              <a:gd name="connsiteY2812" fmla="*/ 301346 h 1344613"/>
              <a:gd name="connsiteX2813" fmla="*/ 996802 w 1317625"/>
              <a:gd name="connsiteY2813" fmla="*/ 301346 h 1344613"/>
              <a:gd name="connsiteX2814" fmla="*/ 992424 w 1317625"/>
              <a:gd name="connsiteY2814" fmla="*/ 301346 h 1344613"/>
              <a:gd name="connsiteX2815" fmla="*/ 957836 w 1317625"/>
              <a:gd name="connsiteY2815" fmla="*/ 301346 h 1344613"/>
              <a:gd name="connsiteX2816" fmla="*/ 956084 w 1317625"/>
              <a:gd name="connsiteY2816" fmla="*/ 304994 h 1344613"/>
              <a:gd name="connsiteX2817" fmla="*/ 953458 w 1317625"/>
              <a:gd name="connsiteY2817" fmla="*/ 307599 h 1344613"/>
              <a:gd name="connsiteX2818" fmla="*/ 950831 w 1317625"/>
              <a:gd name="connsiteY2818" fmla="*/ 310205 h 1344613"/>
              <a:gd name="connsiteX2819" fmla="*/ 947766 w 1317625"/>
              <a:gd name="connsiteY2819" fmla="*/ 311768 h 1344613"/>
              <a:gd name="connsiteX2820" fmla="*/ 944263 w 1317625"/>
              <a:gd name="connsiteY2820" fmla="*/ 313852 h 1344613"/>
              <a:gd name="connsiteX2821" fmla="*/ 941199 w 1317625"/>
              <a:gd name="connsiteY2821" fmla="*/ 314895 h 1344613"/>
              <a:gd name="connsiteX2822" fmla="*/ 937258 w 1317625"/>
              <a:gd name="connsiteY2822" fmla="*/ 315937 h 1344613"/>
              <a:gd name="connsiteX2823" fmla="*/ 933318 w 1317625"/>
              <a:gd name="connsiteY2823" fmla="*/ 316458 h 1344613"/>
              <a:gd name="connsiteX2824" fmla="*/ 924999 w 1317625"/>
              <a:gd name="connsiteY2824" fmla="*/ 317500 h 1344613"/>
              <a:gd name="connsiteX2825" fmla="*/ 917118 w 1317625"/>
              <a:gd name="connsiteY2825" fmla="*/ 317500 h 1344613"/>
              <a:gd name="connsiteX2826" fmla="*/ 909238 w 1317625"/>
              <a:gd name="connsiteY2826" fmla="*/ 317500 h 1344613"/>
              <a:gd name="connsiteX2827" fmla="*/ 902670 w 1317625"/>
              <a:gd name="connsiteY2827" fmla="*/ 317500 h 1344613"/>
              <a:gd name="connsiteX2828" fmla="*/ 894352 w 1317625"/>
              <a:gd name="connsiteY2828" fmla="*/ 316979 h 1344613"/>
              <a:gd name="connsiteX2829" fmla="*/ 887784 w 1317625"/>
              <a:gd name="connsiteY2829" fmla="*/ 316458 h 1344613"/>
              <a:gd name="connsiteX2830" fmla="*/ 885157 w 1317625"/>
              <a:gd name="connsiteY2830" fmla="*/ 315937 h 1344613"/>
              <a:gd name="connsiteX2831" fmla="*/ 883406 w 1317625"/>
              <a:gd name="connsiteY2831" fmla="*/ 314895 h 1344613"/>
              <a:gd name="connsiteX2832" fmla="*/ 882530 w 1317625"/>
              <a:gd name="connsiteY2832" fmla="*/ 313331 h 1344613"/>
              <a:gd name="connsiteX2833" fmla="*/ 882093 w 1317625"/>
              <a:gd name="connsiteY2833" fmla="*/ 311247 h 1344613"/>
              <a:gd name="connsiteX2834" fmla="*/ 877277 w 1317625"/>
              <a:gd name="connsiteY2834" fmla="*/ 310726 h 1344613"/>
              <a:gd name="connsiteX2835" fmla="*/ 872461 w 1317625"/>
              <a:gd name="connsiteY2835" fmla="*/ 309684 h 1344613"/>
              <a:gd name="connsiteX2836" fmla="*/ 867207 w 1317625"/>
              <a:gd name="connsiteY2836" fmla="*/ 307599 h 1344613"/>
              <a:gd name="connsiteX2837" fmla="*/ 861953 w 1317625"/>
              <a:gd name="connsiteY2837" fmla="*/ 305515 h 1344613"/>
              <a:gd name="connsiteX2838" fmla="*/ 857137 w 1317625"/>
              <a:gd name="connsiteY2838" fmla="*/ 302910 h 1344613"/>
              <a:gd name="connsiteX2839" fmla="*/ 853634 w 1317625"/>
              <a:gd name="connsiteY2839" fmla="*/ 300304 h 1344613"/>
              <a:gd name="connsiteX2840" fmla="*/ 852321 w 1317625"/>
              <a:gd name="connsiteY2840" fmla="*/ 299262 h 1344613"/>
              <a:gd name="connsiteX2841" fmla="*/ 851007 w 1317625"/>
              <a:gd name="connsiteY2841" fmla="*/ 297699 h 1344613"/>
              <a:gd name="connsiteX2842" fmla="*/ 850132 w 1317625"/>
              <a:gd name="connsiteY2842" fmla="*/ 296657 h 1344613"/>
              <a:gd name="connsiteX2843" fmla="*/ 850132 w 1317625"/>
              <a:gd name="connsiteY2843" fmla="*/ 295093 h 1344613"/>
              <a:gd name="connsiteX2844" fmla="*/ 850132 w 1317625"/>
              <a:gd name="connsiteY2844" fmla="*/ 293009 h 1344613"/>
              <a:gd name="connsiteX2845" fmla="*/ 851007 w 1317625"/>
              <a:gd name="connsiteY2845" fmla="*/ 290404 h 1344613"/>
              <a:gd name="connsiteX2846" fmla="*/ 852321 w 1317625"/>
              <a:gd name="connsiteY2846" fmla="*/ 287798 h 1344613"/>
              <a:gd name="connsiteX2847" fmla="*/ 853196 w 1317625"/>
              <a:gd name="connsiteY2847" fmla="*/ 285714 h 1344613"/>
              <a:gd name="connsiteX2848" fmla="*/ 854948 w 1317625"/>
              <a:gd name="connsiteY2848" fmla="*/ 282066 h 1344613"/>
              <a:gd name="connsiteX2849" fmla="*/ 855823 w 1317625"/>
              <a:gd name="connsiteY2849" fmla="*/ 278940 h 1344613"/>
              <a:gd name="connsiteX2850" fmla="*/ 855386 w 1317625"/>
              <a:gd name="connsiteY2850" fmla="*/ 276334 h 1344613"/>
              <a:gd name="connsiteX2851" fmla="*/ 854948 w 1317625"/>
              <a:gd name="connsiteY2851" fmla="*/ 273729 h 1344613"/>
              <a:gd name="connsiteX2852" fmla="*/ 854510 w 1317625"/>
              <a:gd name="connsiteY2852" fmla="*/ 271644 h 1344613"/>
              <a:gd name="connsiteX2853" fmla="*/ 853634 w 1317625"/>
              <a:gd name="connsiteY2853" fmla="*/ 269560 h 1344613"/>
              <a:gd name="connsiteX2854" fmla="*/ 851007 w 1317625"/>
              <a:gd name="connsiteY2854" fmla="*/ 266433 h 1344613"/>
              <a:gd name="connsiteX2855" fmla="*/ 848818 w 1317625"/>
              <a:gd name="connsiteY2855" fmla="*/ 263828 h 1344613"/>
              <a:gd name="connsiteX2856" fmla="*/ 845753 w 1317625"/>
              <a:gd name="connsiteY2856" fmla="*/ 261744 h 1344613"/>
              <a:gd name="connsiteX2857" fmla="*/ 843564 w 1317625"/>
              <a:gd name="connsiteY2857" fmla="*/ 259138 h 1344613"/>
              <a:gd name="connsiteX2858" fmla="*/ 842689 w 1317625"/>
              <a:gd name="connsiteY2858" fmla="*/ 257575 h 1344613"/>
              <a:gd name="connsiteX2859" fmla="*/ 841813 w 1317625"/>
              <a:gd name="connsiteY2859" fmla="*/ 256533 h 1344613"/>
              <a:gd name="connsiteX2860" fmla="*/ 841375 w 1317625"/>
              <a:gd name="connsiteY2860" fmla="*/ 254970 h 1344613"/>
              <a:gd name="connsiteX2861" fmla="*/ 841375 w 1317625"/>
              <a:gd name="connsiteY2861" fmla="*/ 253406 h 1344613"/>
              <a:gd name="connsiteX2862" fmla="*/ 841813 w 1317625"/>
              <a:gd name="connsiteY2862" fmla="*/ 248195 h 1344613"/>
              <a:gd name="connsiteX2863" fmla="*/ 843564 w 1317625"/>
              <a:gd name="connsiteY2863" fmla="*/ 242985 h 1344613"/>
              <a:gd name="connsiteX2864" fmla="*/ 845753 w 1317625"/>
              <a:gd name="connsiteY2864" fmla="*/ 237774 h 1344613"/>
              <a:gd name="connsiteX2865" fmla="*/ 848818 w 1317625"/>
              <a:gd name="connsiteY2865" fmla="*/ 232042 h 1344613"/>
              <a:gd name="connsiteX2866" fmla="*/ 852759 w 1317625"/>
              <a:gd name="connsiteY2866" fmla="*/ 226310 h 1344613"/>
              <a:gd name="connsiteX2867" fmla="*/ 857575 w 1317625"/>
              <a:gd name="connsiteY2867" fmla="*/ 220578 h 1344613"/>
              <a:gd name="connsiteX2868" fmla="*/ 862391 w 1317625"/>
              <a:gd name="connsiteY2868" fmla="*/ 215367 h 1344613"/>
              <a:gd name="connsiteX2869" fmla="*/ 867645 w 1317625"/>
              <a:gd name="connsiteY2869" fmla="*/ 210156 h 1344613"/>
              <a:gd name="connsiteX2870" fmla="*/ 873336 w 1317625"/>
              <a:gd name="connsiteY2870" fmla="*/ 205466 h 1344613"/>
              <a:gd name="connsiteX2871" fmla="*/ 879028 w 1317625"/>
              <a:gd name="connsiteY2871" fmla="*/ 200255 h 1344613"/>
              <a:gd name="connsiteX2872" fmla="*/ 884720 w 1317625"/>
              <a:gd name="connsiteY2872" fmla="*/ 196087 h 1344613"/>
              <a:gd name="connsiteX2873" fmla="*/ 890411 w 1317625"/>
              <a:gd name="connsiteY2873" fmla="*/ 192960 h 1344613"/>
              <a:gd name="connsiteX2874" fmla="*/ 895665 w 1317625"/>
              <a:gd name="connsiteY2874" fmla="*/ 189834 h 1344613"/>
              <a:gd name="connsiteX2875" fmla="*/ 901795 w 1317625"/>
              <a:gd name="connsiteY2875" fmla="*/ 187749 h 1344613"/>
              <a:gd name="connsiteX2876" fmla="*/ 906611 w 1317625"/>
              <a:gd name="connsiteY2876" fmla="*/ 186186 h 1344613"/>
              <a:gd name="connsiteX2877" fmla="*/ 911427 w 1317625"/>
              <a:gd name="connsiteY2877" fmla="*/ 186186 h 1344613"/>
              <a:gd name="connsiteX2878" fmla="*/ 914054 w 1317625"/>
              <a:gd name="connsiteY2878" fmla="*/ 183059 h 1344613"/>
              <a:gd name="connsiteX2879" fmla="*/ 911427 w 1317625"/>
              <a:gd name="connsiteY2879" fmla="*/ 182538 h 1344613"/>
              <a:gd name="connsiteX2880" fmla="*/ 909238 w 1317625"/>
              <a:gd name="connsiteY2880" fmla="*/ 182017 h 1344613"/>
              <a:gd name="connsiteX2881" fmla="*/ 907048 w 1317625"/>
              <a:gd name="connsiteY2881" fmla="*/ 181496 h 1344613"/>
              <a:gd name="connsiteX2882" fmla="*/ 904859 w 1317625"/>
              <a:gd name="connsiteY2882" fmla="*/ 180454 h 1344613"/>
              <a:gd name="connsiteX2883" fmla="*/ 903546 w 1317625"/>
              <a:gd name="connsiteY2883" fmla="*/ 179412 h 1344613"/>
              <a:gd name="connsiteX2884" fmla="*/ 902232 w 1317625"/>
              <a:gd name="connsiteY2884" fmla="*/ 178369 h 1344613"/>
              <a:gd name="connsiteX2885" fmla="*/ 900481 w 1317625"/>
              <a:gd name="connsiteY2885" fmla="*/ 176806 h 1344613"/>
              <a:gd name="connsiteX2886" fmla="*/ 899605 w 1317625"/>
              <a:gd name="connsiteY2886" fmla="*/ 175243 h 1344613"/>
              <a:gd name="connsiteX2887" fmla="*/ 898292 w 1317625"/>
              <a:gd name="connsiteY2887" fmla="*/ 171595 h 1344613"/>
              <a:gd name="connsiteX2888" fmla="*/ 897416 w 1317625"/>
              <a:gd name="connsiteY2888" fmla="*/ 167427 h 1344613"/>
              <a:gd name="connsiteX2889" fmla="*/ 896979 w 1317625"/>
              <a:gd name="connsiteY2889" fmla="*/ 163779 h 1344613"/>
              <a:gd name="connsiteX2890" fmla="*/ 896979 w 1317625"/>
              <a:gd name="connsiteY2890" fmla="*/ 160131 h 1344613"/>
              <a:gd name="connsiteX2891" fmla="*/ 896541 w 1317625"/>
              <a:gd name="connsiteY2891" fmla="*/ 152836 h 1344613"/>
              <a:gd name="connsiteX2892" fmla="*/ 895665 w 1317625"/>
              <a:gd name="connsiteY2892" fmla="*/ 146062 h 1344613"/>
              <a:gd name="connsiteX2893" fmla="*/ 894352 w 1317625"/>
              <a:gd name="connsiteY2893" fmla="*/ 139288 h 1344613"/>
              <a:gd name="connsiteX2894" fmla="*/ 893476 w 1317625"/>
              <a:gd name="connsiteY2894" fmla="*/ 133556 h 1344613"/>
              <a:gd name="connsiteX2895" fmla="*/ 891725 w 1317625"/>
              <a:gd name="connsiteY2895" fmla="*/ 128345 h 1344613"/>
              <a:gd name="connsiteX2896" fmla="*/ 889536 w 1317625"/>
              <a:gd name="connsiteY2896" fmla="*/ 123655 h 1344613"/>
              <a:gd name="connsiteX2897" fmla="*/ 887784 w 1317625"/>
              <a:gd name="connsiteY2897" fmla="*/ 118965 h 1344613"/>
              <a:gd name="connsiteX2898" fmla="*/ 885157 w 1317625"/>
              <a:gd name="connsiteY2898" fmla="*/ 114276 h 1344613"/>
              <a:gd name="connsiteX2899" fmla="*/ 880341 w 1317625"/>
              <a:gd name="connsiteY2899" fmla="*/ 106459 h 1344613"/>
              <a:gd name="connsiteX2900" fmla="*/ 875525 w 1317625"/>
              <a:gd name="connsiteY2900" fmla="*/ 98643 h 1344613"/>
              <a:gd name="connsiteX2901" fmla="*/ 871147 w 1317625"/>
              <a:gd name="connsiteY2901" fmla="*/ 91348 h 1344613"/>
              <a:gd name="connsiteX2902" fmla="*/ 867645 w 1317625"/>
              <a:gd name="connsiteY2902" fmla="*/ 83010 h 1344613"/>
              <a:gd name="connsiteX2903" fmla="*/ 873774 w 1317625"/>
              <a:gd name="connsiteY2903" fmla="*/ 78842 h 1344613"/>
              <a:gd name="connsiteX2904" fmla="*/ 879028 w 1317625"/>
              <a:gd name="connsiteY2904" fmla="*/ 75715 h 1344613"/>
              <a:gd name="connsiteX2905" fmla="*/ 882093 w 1317625"/>
              <a:gd name="connsiteY2905" fmla="*/ 74673 h 1344613"/>
              <a:gd name="connsiteX2906" fmla="*/ 884720 w 1317625"/>
              <a:gd name="connsiteY2906" fmla="*/ 74152 h 1344613"/>
              <a:gd name="connsiteX2907" fmla="*/ 885793 w 1317625"/>
              <a:gd name="connsiteY2907" fmla="*/ 73969 h 1344613"/>
              <a:gd name="connsiteX2908" fmla="*/ 884672 w 1317625"/>
              <a:gd name="connsiteY2908" fmla="*/ 72529 h 1344613"/>
              <a:gd name="connsiteX2909" fmla="*/ 881719 w 1317625"/>
              <a:gd name="connsiteY2909" fmla="*/ 73039 h 1344613"/>
              <a:gd name="connsiteX2910" fmla="*/ 879120 w 1317625"/>
              <a:gd name="connsiteY2910" fmla="*/ 73564 h 1344613"/>
              <a:gd name="connsiteX2911" fmla="*/ 875654 w 1317625"/>
              <a:gd name="connsiteY2911" fmla="*/ 74613 h 1344613"/>
              <a:gd name="connsiteX2912" fmla="*/ 869589 w 1317625"/>
              <a:gd name="connsiteY2912" fmla="*/ 77760 h 1344613"/>
              <a:gd name="connsiteX2913" fmla="*/ 861790 w 1317625"/>
              <a:gd name="connsiteY2913" fmla="*/ 81957 h 1344613"/>
              <a:gd name="connsiteX2914" fmla="*/ 858325 w 1317625"/>
              <a:gd name="connsiteY2914" fmla="*/ 81957 h 1344613"/>
              <a:gd name="connsiteX2915" fmla="*/ 856158 w 1317625"/>
              <a:gd name="connsiteY2915" fmla="*/ 81432 h 1344613"/>
              <a:gd name="connsiteX2916" fmla="*/ 853126 w 1317625"/>
              <a:gd name="connsiteY2916" fmla="*/ 80383 h 1344613"/>
              <a:gd name="connsiteX2917" fmla="*/ 851393 w 1317625"/>
              <a:gd name="connsiteY2917" fmla="*/ 79334 h 1344613"/>
              <a:gd name="connsiteX2918" fmla="*/ 847060 w 1317625"/>
              <a:gd name="connsiteY2918" fmla="*/ 76711 h 1344613"/>
              <a:gd name="connsiteX2919" fmla="*/ 843595 w 1317625"/>
              <a:gd name="connsiteY2919" fmla="*/ 73039 h 1344613"/>
              <a:gd name="connsiteX2920" fmla="*/ 840562 w 1317625"/>
              <a:gd name="connsiteY2920" fmla="*/ 69367 h 1344613"/>
              <a:gd name="connsiteX2921" fmla="*/ 837529 w 1317625"/>
              <a:gd name="connsiteY2921" fmla="*/ 65695 h 1344613"/>
              <a:gd name="connsiteX2922" fmla="*/ 834064 w 1317625"/>
              <a:gd name="connsiteY2922" fmla="*/ 62548 h 1344613"/>
              <a:gd name="connsiteX2923" fmla="*/ 830164 w 1317625"/>
              <a:gd name="connsiteY2923" fmla="*/ 59925 h 1344613"/>
              <a:gd name="connsiteX2924" fmla="*/ 826699 w 1317625"/>
              <a:gd name="connsiteY2924" fmla="*/ 62548 h 1344613"/>
              <a:gd name="connsiteX2925" fmla="*/ 823233 w 1317625"/>
              <a:gd name="connsiteY2925" fmla="*/ 64646 h 1344613"/>
              <a:gd name="connsiteX2926" fmla="*/ 819767 w 1317625"/>
              <a:gd name="connsiteY2926" fmla="*/ 66744 h 1344613"/>
              <a:gd name="connsiteX2927" fmla="*/ 816734 w 1317625"/>
              <a:gd name="connsiteY2927" fmla="*/ 68318 h 1344613"/>
              <a:gd name="connsiteX2928" fmla="*/ 809369 w 1317625"/>
              <a:gd name="connsiteY2928" fmla="*/ 71466 h 1344613"/>
              <a:gd name="connsiteX2929" fmla="*/ 802004 w 1317625"/>
              <a:gd name="connsiteY2929" fmla="*/ 73039 h 1344613"/>
              <a:gd name="connsiteX2930" fmla="*/ 794206 w 1317625"/>
              <a:gd name="connsiteY2930" fmla="*/ 75138 h 1344613"/>
              <a:gd name="connsiteX2931" fmla="*/ 786408 w 1317625"/>
              <a:gd name="connsiteY2931" fmla="*/ 76711 h 1344613"/>
              <a:gd name="connsiteX2932" fmla="*/ 778177 w 1317625"/>
              <a:gd name="connsiteY2932" fmla="*/ 78809 h 1344613"/>
              <a:gd name="connsiteX2933" fmla="*/ 769512 w 1317625"/>
              <a:gd name="connsiteY2933" fmla="*/ 81957 h 1344613"/>
              <a:gd name="connsiteX2934" fmla="*/ 768212 w 1317625"/>
              <a:gd name="connsiteY2934" fmla="*/ 82481 h 1344613"/>
              <a:gd name="connsiteX2935" fmla="*/ 766046 w 1317625"/>
              <a:gd name="connsiteY2935" fmla="*/ 83006 h 1344613"/>
              <a:gd name="connsiteX2936" fmla="*/ 764746 w 1317625"/>
              <a:gd name="connsiteY2936" fmla="*/ 84580 h 1344613"/>
              <a:gd name="connsiteX2937" fmla="*/ 763013 w 1317625"/>
              <a:gd name="connsiteY2937" fmla="*/ 86678 h 1344613"/>
              <a:gd name="connsiteX2938" fmla="*/ 759114 w 1317625"/>
              <a:gd name="connsiteY2938" fmla="*/ 91399 h 1344613"/>
              <a:gd name="connsiteX2939" fmla="*/ 755648 w 1317625"/>
              <a:gd name="connsiteY2939" fmla="*/ 97169 h 1344613"/>
              <a:gd name="connsiteX2940" fmla="*/ 755503 w 1317625"/>
              <a:gd name="connsiteY2940" fmla="*/ 97470 h 1344613"/>
              <a:gd name="connsiteX2941" fmla="*/ 758108 w 1317625"/>
              <a:gd name="connsiteY2941" fmla="*/ 93243 h 1344613"/>
              <a:gd name="connsiteX2942" fmla="*/ 762090 w 1317625"/>
              <a:gd name="connsiteY2942" fmla="*/ 88544 h 1344613"/>
              <a:gd name="connsiteX2943" fmla="*/ 763860 w 1317625"/>
              <a:gd name="connsiteY2943" fmla="*/ 86455 h 1344613"/>
              <a:gd name="connsiteX2944" fmla="*/ 765187 w 1317625"/>
              <a:gd name="connsiteY2944" fmla="*/ 84889 h 1344613"/>
              <a:gd name="connsiteX2945" fmla="*/ 767400 w 1317625"/>
              <a:gd name="connsiteY2945" fmla="*/ 84366 h 1344613"/>
              <a:gd name="connsiteX2946" fmla="*/ 768727 w 1317625"/>
              <a:gd name="connsiteY2946" fmla="*/ 83844 h 1344613"/>
              <a:gd name="connsiteX2947" fmla="*/ 777576 w 1317625"/>
              <a:gd name="connsiteY2947" fmla="*/ 80711 h 1344613"/>
              <a:gd name="connsiteX2948" fmla="*/ 785983 w 1317625"/>
              <a:gd name="connsiteY2948" fmla="*/ 78623 h 1344613"/>
              <a:gd name="connsiteX2949" fmla="*/ 793948 w 1317625"/>
              <a:gd name="connsiteY2949" fmla="*/ 77056 h 1344613"/>
              <a:gd name="connsiteX2950" fmla="*/ 801912 w 1317625"/>
              <a:gd name="connsiteY2950" fmla="*/ 74967 h 1344613"/>
              <a:gd name="connsiteX2951" fmla="*/ 809434 w 1317625"/>
              <a:gd name="connsiteY2951" fmla="*/ 73401 h 1344613"/>
              <a:gd name="connsiteX2952" fmla="*/ 816956 w 1317625"/>
              <a:gd name="connsiteY2952" fmla="*/ 70268 h 1344613"/>
              <a:gd name="connsiteX2953" fmla="*/ 820053 w 1317625"/>
              <a:gd name="connsiteY2953" fmla="*/ 68701 h 1344613"/>
              <a:gd name="connsiteX2954" fmla="*/ 823593 w 1317625"/>
              <a:gd name="connsiteY2954" fmla="*/ 66613 h 1344613"/>
              <a:gd name="connsiteX2955" fmla="*/ 827133 w 1317625"/>
              <a:gd name="connsiteY2955" fmla="*/ 64524 h 1344613"/>
              <a:gd name="connsiteX2956" fmla="*/ 830672 w 1317625"/>
              <a:gd name="connsiteY2956" fmla="*/ 61913 h 1344613"/>
              <a:gd name="connsiteX2957" fmla="*/ 834655 w 1317625"/>
              <a:gd name="connsiteY2957" fmla="*/ 64524 h 1344613"/>
              <a:gd name="connsiteX2958" fmla="*/ 838194 w 1317625"/>
              <a:gd name="connsiteY2958" fmla="*/ 67657 h 1344613"/>
              <a:gd name="connsiteX2959" fmla="*/ 841292 w 1317625"/>
              <a:gd name="connsiteY2959" fmla="*/ 71312 h 1344613"/>
              <a:gd name="connsiteX2960" fmla="*/ 844389 w 1317625"/>
              <a:gd name="connsiteY2960" fmla="*/ 74967 h 1344613"/>
              <a:gd name="connsiteX2961" fmla="*/ 847929 w 1317625"/>
              <a:gd name="connsiteY2961" fmla="*/ 78623 h 1344613"/>
              <a:gd name="connsiteX2962" fmla="*/ 852353 w 1317625"/>
              <a:gd name="connsiteY2962" fmla="*/ 81233 h 1344613"/>
              <a:gd name="connsiteX2963" fmla="*/ 854123 w 1317625"/>
              <a:gd name="connsiteY2963" fmla="*/ 82278 h 1344613"/>
              <a:gd name="connsiteX2964" fmla="*/ 857220 w 1317625"/>
              <a:gd name="connsiteY2964" fmla="*/ 83322 h 1344613"/>
              <a:gd name="connsiteX2965" fmla="*/ 859433 w 1317625"/>
              <a:gd name="connsiteY2965" fmla="*/ 83844 h 1344613"/>
              <a:gd name="connsiteX2966" fmla="*/ 862972 w 1317625"/>
              <a:gd name="connsiteY2966" fmla="*/ 83844 h 1344613"/>
              <a:gd name="connsiteX2967" fmla="*/ 872707 w 1317625"/>
              <a:gd name="connsiteY2967" fmla="*/ 99510 h 1344613"/>
              <a:gd name="connsiteX2968" fmla="*/ 881999 w 1317625"/>
              <a:gd name="connsiteY2968" fmla="*/ 115175 h 1344613"/>
              <a:gd name="connsiteX2969" fmla="*/ 884211 w 1317625"/>
              <a:gd name="connsiteY2969" fmla="*/ 119874 h 1344613"/>
              <a:gd name="connsiteX2970" fmla="*/ 886423 w 1317625"/>
              <a:gd name="connsiteY2970" fmla="*/ 124574 h 1344613"/>
              <a:gd name="connsiteX2971" fmla="*/ 887751 w 1317625"/>
              <a:gd name="connsiteY2971" fmla="*/ 129274 h 1344613"/>
              <a:gd name="connsiteX2972" fmla="*/ 889078 w 1317625"/>
              <a:gd name="connsiteY2972" fmla="*/ 134495 h 1344613"/>
              <a:gd name="connsiteX2973" fmla="*/ 890848 w 1317625"/>
              <a:gd name="connsiteY2973" fmla="*/ 140239 h 1344613"/>
              <a:gd name="connsiteX2974" fmla="*/ 891733 w 1317625"/>
              <a:gd name="connsiteY2974" fmla="*/ 147028 h 1344613"/>
              <a:gd name="connsiteX2975" fmla="*/ 892175 w 1317625"/>
              <a:gd name="connsiteY2975" fmla="*/ 153816 h 1344613"/>
              <a:gd name="connsiteX2976" fmla="*/ 892175 w 1317625"/>
              <a:gd name="connsiteY2976" fmla="*/ 161126 h 1344613"/>
              <a:gd name="connsiteX2977" fmla="*/ 848371 w 1317625"/>
              <a:gd name="connsiteY2977" fmla="*/ 161126 h 1344613"/>
              <a:gd name="connsiteX2978" fmla="*/ 846601 w 1317625"/>
              <a:gd name="connsiteY2978" fmla="*/ 163215 h 1344613"/>
              <a:gd name="connsiteX2979" fmla="*/ 842619 w 1317625"/>
              <a:gd name="connsiteY2979" fmla="*/ 167915 h 1344613"/>
              <a:gd name="connsiteX2980" fmla="*/ 839964 w 1317625"/>
              <a:gd name="connsiteY2980" fmla="*/ 170525 h 1344613"/>
              <a:gd name="connsiteX2981" fmla="*/ 838194 w 1317625"/>
              <a:gd name="connsiteY2981" fmla="*/ 173136 h 1344613"/>
              <a:gd name="connsiteX2982" fmla="*/ 837309 w 1317625"/>
              <a:gd name="connsiteY2982" fmla="*/ 175747 h 1344613"/>
              <a:gd name="connsiteX2983" fmla="*/ 836867 w 1317625"/>
              <a:gd name="connsiteY2983" fmla="*/ 177314 h 1344613"/>
              <a:gd name="connsiteX2984" fmla="*/ 835982 w 1317625"/>
              <a:gd name="connsiteY2984" fmla="*/ 179925 h 1344613"/>
              <a:gd name="connsiteX2985" fmla="*/ 835539 w 1317625"/>
              <a:gd name="connsiteY2985" fmla="*/ 182013 h 1344613"/>
              <a:gd name="connsiteX2986" fmla="*/ 835539 w 1317625"/>
              <a:gd name="connsiteY2986" fmla="*/ 183580 h 1344613"/>
              <a:gd name="connsiteX2987" fmla="*/ 835982 w 1317625"/>
              <a:gd name="connsiteY2987" fmla="*/ 185669 h 1344613"/>
              <a:gd name="connsiteX2988" fmla="*/ 837309 w 1317625"/>
              <a:gd name="connsiteY2988" fmla="*/ 189324 h 1344613"/>
              <a:gd name="connsiteX2989" fmla="*/ 839522 w 1317625"/>
              <a:gd name="connsiteY2989" fmla="*/ 193501 h 1344613"/>
              <a:gd name="connsiteX2990" fmla="*/ 832885 w 1317625"/>
              <a:gd name="connsiteY2990" fmla="*/ 199767 h 1344613"/>
              <a:gd name="connsiteX2991" fmla="*/ 826248 w 1317625"/>
              <a:gd name="connsiteY2991" fmla="*/ 205511 h 1344613"/>
              <a:gd name="connsiteX2992" fmla="*/ 819611 w 1317625"/>
              <a:gd name="connsiteY2992" fmla="*/ 210211 h 1344613"/>
              <a:gd name="connsiteX2993" fmla="*/ 813416 w 1317625"/>
              <a:gd name="connsiteY2993" fmla="*/ 213866 h 1344613"/>
              <a:gd name="connsiteX2994" fmla="*/ 807222 w 1317625"/>
              <a:gd name="connsiteY2994" fmla="*/ 218044 h 1344613"/>
              <a:gd name="connsiteX2995" fmla="*/ 801027 w 1317625"/>
              <a:gd name="connsiteY2995" fmla="*/ 221699 h 1344613"/>
              <a:gd name="connsiteX2996" fmla="*/ 794832 w 1317625"/>
              <a:gd name="connsiteY2996" fmla="*/ 226398 h 1344613"/>
              <a:gd name="connsiteX2997" fmla="*/ 789523 w 1317625"/>
              <a:gd name="connsiteY2997" fmla="*/ 231620 h 1344613"/>
              <a:gd name="connsiteX2998" fmla="*/ 779789 w 1317625"/>
              <a:gd name="connsiteY2998" fmla="*/ 238408 h 1344613"/>
              <a:gd name="connsiteX2999" fmla="*/ 768727 w 1317625"/>
              <a:gd name="connsiteY2999" fmla="*/ 246763 h 1344613"/>
              <a:gd name="connsiteX3000" fmla="*/ 766957 w 1317625"/>
              <a:gd name="connsiteY3000" fmla="*/ 248852 h 1344613"/>
              <a:gd name="connsiteX3001" fmla="*/ 764302 w 1317625"/>
              <a:gd name="connsiteY3001" fmla="*/ 250418 h 1344613"/>
              <a:gd name="connsiteX3002" fmla="*/ 762975 w 1317625"/>
              <a:gd name="connsiteY3002" fmla="*/ 252507 h 1344613"/>
              <a:gd name="connsiteX3003" fmla="*/ 762090 w 1317625"/>
              <a:gd name="connsiteY3003" fmla="*/ 254596 h 1344613"/>
              <a:gd name="connsiteX3004" fmla="*/ 762090 w 1317625"/>
              <a:gd name="connsiteY3004" fmla="*/ 256162 h 1344613"/>
              <a:gd name="connsiteX3005" fmla="*/ 762532 w 1317625"/>
              <a:gd name="connsiteY3005" fmla="*/ 257729 h 1344613"/>
              <a:gd name="connsiteX3006" fmla="*/ 763860 w 1317625"/>
              <a:gd name="connsiteY3006" fmla="*/ 259295 h 1344613"/>
              <a:gd name="connsiteX3007" fmla="*/ 765630 w 1317625"/>
              <a:gd name="connsiteY3007" fmla="*/ 260862 h 1344613"/>
              <a:gd name="connsiteX3008" fmla="*/ 765630 w 1317625"/>
              <a:gd name="connsiteY3008" fmla="*/ 266084 h 1344613"/>
              <a:gd name="connsiteX3009" fmla="*/ 765630 w 1317625"/>
              <a:gd name="connsiteY3009" fmla="*/ 270783 h 1344613"/>
              <a:gd name="connsiteX3010" fmla="*/ 764745 w 1317625"/>
              <a:gd name="connsiteY3010" fmla="*/ 277572 h 1344613"/>
              <a:gd name="connsiteX3011" fmla="*/ 763417 w 1317625"/>
              <a:gd name="connsiteY3011" fmla="*/ 283316 h 1344613"/>
              <a:gd name="connsiteX3012" fmla="*/ 762532 w 1317625"/>
              <a:gd name="connsiteY3012" fmla="*/ 286449 h 1344613"/>
              <a:gd name="connsiteX3013" fmla="*/ 762532 w 1317625"/>
              <a:gd name="connsiteY3013" fmla="*/ 289582 h 1344613"/>
              <a:gd name="connsiteX3014" fmla="*/ 762532 w 1317625"/>
              <a:gd name="connsiteY3014" fmla="*/ 293237 h 1344613"/>
              <a:gd name="connsiteX3015" fmla="*/ 762975 w 1317625"/>
              <a:gd name="connsiteY3015" fmla="*/ 296370 h 1344613"/>
              <a:gd name="connsiteX3016" fmla="*/ 764745 w 1317625"/>
              <a:gd name="connsiteY3016" fmla="*/ 300025 h 1344613"/>
              <a:gd name="connsiteX3017" fmla="*/ 767400 w 1317625"/>
              <a:gd name="connsiteY3017" fmla="*/ 302636 h 1344613"/>
              <a:gd name="connsiteX3018" fmla="*/ 770054 w 1317625"/>
              <a:gd name="connsiteY3018" fmla="*/ 304725 h 1344613"/>
              <a:gd name="connsiteX3019" fmla="*/ 773152 w 1317625"/>
              <a:gd name="connsiteY3019" fmla="*/ 306291 h 1344613"/>
              <a:gd name="connsiteX3020" fmla="*/ 779789 w 1317625"/>
              <a:gd name="connsiteY3020" fmla="*/ 308902 h 1344613"/>
              <a:gd name="connsiteX3021" fmla="*/ 786868 w 1317625"/>
              <a:gd name="connsiteY3021" fmla="*/ 310991 h 1344613"/>
              <a:gd name="connsiteX3022" fmla="*/ 793505 w 1317625"/>
              <a:gd name="connsiteY3022" fmla="*/ 312557 h 1344613"/>
              <a:gd name="connsiteX3023" fmla="*/ 798815 w 1317625"/>
              <a:gd name="connsiteY3023" fmla="*/ 315168 h 1344613"/>
              <a:gd name="connsiteX3024" fmla="*/ 801469 w 1317625"/>
              <a:gd name="connsiteY3024" fmla="*/ 316735 h 1344613"/>
              <a:gd name="connsiteX3025" fmla="*/ 802797 w 1317625"/>
              <a:gd name="connsiteY3025" fmla="*/ 318824 h 1344613"/>
              <a:gd name="connsiteX3026" fmla="*/ 803682 w 1317625"/>
              <a:gd name="connsiteY3026" fmla="*/ 322479 h 1344613"/>
              <a:gd name="connsiteX3027" fmla="*/ 804124 w 1317625"/>
              <a:gd name="connsiteY3027" fmla="*/ 325612 h 1344613"/>
              <a:gd name="connsiteX3028" fmla="*/ 804124 w 1317625"/>
              <a:gd name="connsiteY3028" fmla="*/ 331878 h 1344613"/>
              <a:gd name="connsiteX3029" fmla="*/ 804124 w 1317625"/>
              <a:gd name="connsiteY3029" fmla="*/ 338144 h 1344613"/>
              <a:gd name="connsiteX3030" fmla="*/ 799257 w 1317625"/>
              <a:gd name="connsiteY3030" fmla="*/ 338666 h 1344613"/>
              <a:gd name="connsiteX3031" fmla="*/ 794390 w 1317625"/>
              <a:gd name="connsiteY3031" fmla="*/ 339188 h 1344613"/>
              <a:gd name="connsiteX3032" fmla="*/ 789523 w 1317625"/>
              <a:gd name="connsiteY3032" fmla="*/ 340755 h 1344613"/>
              <a:gd name="connsiteX3033" fmla="*/ 785098 w 1317625"/>
              <a:gd name="connsiteY3033" fmla="*/ 342321 h 1344613"/>
              <a:gd name="connsiteX3034" fmla="*/ 781116 w 1317625"/>
              <a:gd name="connsiteY3034" fmla="*/ 344932 h 1344613"/>
              <a:gd name="connsiteX3035" fmla="*/ 777576 w 1317625"/>
              <a:gd name="connsiteY3035" fmla="*/ 347543 h 1344613"/>
              <a:gd name="connsiteX3036" fmla="*/ 776691 w 1317625"/>
              <a:gd name="connsiteY3036" fmla="*/ 349632 h 1344613"/>
              <a:gd name="connsiteX3037" fmla="*/ 775364 w 1317625"/>
              <a:gd name="connsiteY3037" fmla="*/ 351198 h 1344613"/>
              <a:gd name="connsiteX3038" fmla="*/ 774921 w 1317625"/>
              <a:gd name="connsiteY3038" fmla="*/ 352765 h 1344613"/>
              <a:gd name="connsiteX3039" fmla="*/ 774479 w 1317625"/>
              <a:gd name="connsiteY3039" fmla="*/ 354331 h 1344613"/>
              <a:gd name="connsiteX3040" fmla="*/ 774037 w 1317625"/>
              <a:gd name="connsiteY3040" fmla="*/ 362686 h 1344613"/>
              <a:gd name="connsiteX3041" fmla="*/ 773152 w 1317625"/>
              <a:gd name="connsiteY3041" fmla="*/ 371563 h 1344613"/>
              <a:gd name="connsiteX3042" fmla="*/ 771382 w 1317625"/>
              <a:gd name="connsiteY3042" fmla="*/ 381485 h 1344613"/>
              <a:gd name="connsiteX3043" fmla="*/ 768727 w 1317625"/>
              <a:gd name="connsiteY3043" fmla="*/ 391406 h 1344613"/>
              <a:gd name="connsiteX3044" fmla="*/ 766957 w 1317625"/>
              <a:gd name="connsiteY3044" fmla="*/ 401849 h 1344613"/>
              <a:gd name="connsiteX3045" fmla="*/ 764745 w 1317625"/>
              <a:gd name="connsiteY3045" fmla="*/ 413337 h 1344613"/>
              <a:gd name="connsiteX3046" fmla="*/ 763417 w 1317625"/>
              <a:gd name="connsiteY3046" fmla="*/ 424825 h 1344613"/>
              <a:gd name="connsiteX3047" fmla="*/ 762975 w 1317625"/>
              <a:gd name="connsiteY3047" fmla="*/ 438402 h 1344613"/>
              <a:gd name="connsiteX3048" fmla="*/ 756338 w 1317625"/>
              <a:gd name="connsiteY3048" fmla="*/ 438402 h 1344613"/>
              <a:gd name="connsiteX3049" fmla="*/ 748373 w 1317625"/>
              <a:gd name="connsiteY3049" fmla="*/ 438924 h 1344613"/>
              <a:gd name="connsiteX3050" fmla="*/ 740852 w 1317625"/>
              <a:gd name="connsiteY3050" fmla="*/ 439968 h 1344613"/>
              <a:gd name="connsiteX3051" fmla="*/ 733772 w 1317625"/>
              <a:gd name="connsiteY3051" fmla="*/ 441535 h 1344613"/>
              <a:gd name="connsiteX3052" fmla="*/ 730675 w 1317625"/>
              <a:gd name="connsiteY3052" fmla="*/ 443101 h 1344613"/>
              <a:gd name="connsiteX3053" fmla="*/ 728462 w 1317625"/>
              <a:gd name="connsiteY3053" fmla="*/ 444146 h 1344613"/>
              <a:gd name="connsiteX3054" fmla="*/ 725808 w 1317625"/>
              <a:gd name="connsiteY3054" fmla="*/ 445712 h 1344613"/>
              <a:gd name="connsiteX3055" fmla="*/ 724480 w 1317625"/>
              <a:gd name="connsiteY3055" fmla="*/ 447279 h 1344613"/>
              <a:gd name="connsiteX3056" fmla="*/ 723595 w 1317625"/>
              <a:gd name="connsiteY3056" fmla="*/ 449367 h 1344613"/>
              <a:gd name="connsiteX3057" fmla="*/ 723153 w 1317625"/>
              <a:gd name="connsiteY3057" fmla="*/ 451978 h 1344613"/>
              <a:gd name="connsiteX3058" fmla="*/ 723595 w 1317625"/>
              <a:gd name="connsiteY3058" fmla="*/ 454067 h 1344613"/>
              <a:gd name="connsiteX3059" fmla="*/ 724923 w 1317625"/>
              <a:gd name="connsiteY3059" fmla="*/ 457200 h 1344613"/>
              <a:gd name="connsiteX3060" fmla="*/ 720056 w 1317625"/>
              <a:gd name="connsiteY3060" fmla="*/ 457200 h 1344613"/>
              <a:gd name="connsiteX3061" fmla="*/ 713419 w 1317625"/>
              <a:gd name="connsiteY3061" fmla="*/ 457200 h 1344613"/>
              <a:gd name="connsiteX3062" fmla="*/ 707224 w 1317625"/>
              <a:gd name="connsiteY3062" fmla="*/ 457200 h 1344613"/>
              <a:gd name="connsiteX3063" fmla="*/ 704127 w 1317625"/>
              <a:gd name="connsiteY3063" fmla="*/ 457200 h 1344613"/>
              <a:gd name="connsiteX3064" fmla="*/ 703242 w 1317625"/>
              <a:gd name="connsiteY3064" fmla="*/ 457200 h 1344613"/>
              <a:gd name="connsiteX3065" fmla="*/ 701914 w 1317625"/>
              <a:gd name="connsiteY3065" fmla="*/ 456678 h 1344613"/>
              <a:gd name="connsiteX3066" fmla="*/ 700587 w 1317625"/>
              <a:gd name="connsiteY3066" fmla="*/ 455634 h 1344613"/>
              <a:gd name="connsiteX3067" fmla="*/ 699260 w 1317625"/>
              <a:gd name="connsiteY3067" fmla="*/ 454589 h 1344613"/>
              <a:gd name="connsiteX3068" fmla="*/ 697047 w 1317625"/>
              <a:gd name="connsiteY3068" fmla="*/ 451456 h 1344613"/>
              <a:gd name="connsiteX3069" fmla="*/ 694392 w 1317625"/>
              <a:gd name="connsiteY3069" fmla="*/ 447279 h 1344613"/>
              <a:gd name="connsiteX3070" fmla="*/ 691295 w 1317625"/>
              <a:gd name="connsiteY3070" fmla="*/ 442579 h 1344613"/>
              <a:gd name="connsiteX3071" fmla="*/ 688640 w 1317625"/>
              <a:gd name="connsiteY3071" fmla="*/ 436835 h 1344613"/>
              <a:gd name="connsiteX3072" fmla="*/ 685986 w 1317625"/>
              <a:gd name="connsiteY3072" fmla="*/ 430569 h 1344613"/>
              <a:gd name="connsiteX3073" fmla="*/ 683773 w 1317625"/>
              <a:gd name="connsiteY3073" fmla="*/ 423781 h 1344613"/>
              <a:gd name="connsiteX3074" fmla="*/ 678906 w 1317625"/>
              <a:gd name="connsiteY3074" fmla="*/ 410204 h 1344613"/>
              <a:gd name="connsiteX3075" fmla="*/ 675366 w 1317625"/>
              <a:gd name="connsiteY3075" fmla="*/ 396106 h 1344613"/>
              <a:gd name="connsiteX3076" fmla="*/ 674039 w 1317625"/>
              <a:gd name="connsiteY3076" fmla="*/ 389839 h 1344613"/>
              <a:gd name="connsiteX3077" fmla="*/ 672712 w 1317625"/>
              <a:gd name="connsiteY3077" fmla="*/ 383573 h 1344613"/>
              <a:gd name="connsiteX3078" fmla="*/ 672269 w 1317625"/>
              <a:gd name="connsiteY3078" fmla="*/ 378352 h 1344613"/>
              <a:gd name="connsiteX3079" fmla="*/ 672269 w 1317625"/>
              <a:gd name="connsiteY3079" fmla="*/ 373652 h 1344613"/>
              <a:gd name="connsiteX3080" fmla="*/ 669172 w 1317625"/>
              <a:gd name="connsiteY3080" fmla="*/ 373130 h 1344613"/>
              <a:gd name="connsiteX3081" fmla="*/ 666960 w 1317625"/>
              <a:gd name="connsiteY3081" fmla="*/ 372085 h 1344613"/>
              <a:gd name="connsiteX3082" fmla="*/ 664747 w 1317625"/>
              <a:gd name="connsiteY3082" fmla="*/ 369997 h 1344613"/>
              <a:gd name="connsiteX3083" fmla="*/ 663420 w 1317625"/>
              <a:gd name="connsiteY3083" fmla="*/ 367908 h 1344613"/>
              <a:gd name="connsiteX3084" fmla="*/ 660765 w 1317625"/>
              <a:gd name="connsiteY3084" fmla="*/ 362686 h 1344613"/>
              <a:gd name="connsiteX3085" fmla="*/ 657225 w 1317625"/>
              <a:gd name="connsiteY3085" fmla="*/ 357465 h 1344613"/>
              <a:gd name="connsiteX3086" fmla="*/ 661207 w 1317625"/>
              <a:gd name="connsiteY3086" fmla="*/ 355898 h 1344613"/>
              <a:gd name="connsiteX3087" fmla="*/ 665632 w 1317625"/>
              <a:gd name="connsiteY3087" fmla="*/ 354854 h 1344613"/>
              <a:gd name="connsiteX3088" fmla="*/ 669172 w 1317625"/>
              <a:gd name="connsiteY3088" fmla="*/ 354331 h 1344613"/>
              <a:gd name="connsiteX3089" fmla="*/ 672269 w 1317625"/>
              <a:gd name="connsiteY3089" fmla="*/ 354331 h 1344613"/>
              <a:gd name="connsiteX3090" fmla="*/ 672269 w 1317625"/>
              <a:gd name="connsiteY3090" fmla="*/ 353305 h 1344613"/>
              <a:gd name="connsiteX3091" fmla="*/ 671168 w 1317625"/>
              <a:gd name="connsiteY3091" fmla="*/ 353157 h 1344613"/>
              <a:gd name="connsiteX3092" fmla="*/ 665969 w 1317625"/>
              <a:gd name="connsiteY3092" fmla="*/ 352633 h 1344613"/>
              <a:gd name="connsiteX3093" fmla="*/ 663370 w 1317625"/>
              <a:gd name="connsiteY3093" fmla="*/ 352633 h 1344613"/>
              <a:gd name="connsiteX3094" fmla="*/ 661204 w 1317625"/>
              <a:gd name="connsiteY3094" fmla="*/ 352633 h 1344613"/>
              <a:gd name="connsiteX3095" fmla="*/ 658604 w 1317625"/>
              <a:gd name="connsiteY3095" fmla="*/ 353157 h 1344613"/>
              <a:gd name="connsiteX3096" fmla="*/ 657305 w 1317625"/>
              <a:gd name="connsiteY3096" fmla="*/ 353682 h 1344613"/>
              <a:gd name="connsiteX3097" fmla="*/ 651673 w 1317625"/>
              <a:gd name="connsiteY3097" fmla="*/ 345289 h 1344613"/>
              <a:gd name="connsiteX3098" fmla="*/ 646907 w 1317625"/>
              <a:gd name="connsiteY3098" fmla="*/ 340043 h 1344613"/>
              <a:gd name="connsiteX3099" fmla="*/ 643008 w 1317625"/>
              <a:gd name="connsiteY3099" fmla="*/ 335322 h 1344613"/>
              <a:gd name="connsiteX3100" fmla="*/ 639975 w 1317625"/>
              <a:gd name="connsiteY3100" fmla="*/ 331125 h 1344613"/>
              <a:gd name="connsiteX3101" fmla="*/ 638676 w 1317625"/>
              <a:gd name="connsiteY3101" fmla="*/ 335847 h 1344613"/>
              <a:gd name="connsiteX3102" fmla="*/ 637376 w 1317625"/>
              <a:gd name="connsiteY3102" fmla="*/ 340568 h 1344613"/>
              <a:gd name="connsiteX3103" fmla="*/ 636943 w 1317625"/>
              <a:gd name="connsiteY3103" fmla="*/ 343190 h 1344613"/>
              <a:gd name="connsiteX3104" fmla="*/ 635210 w 1317625"/>
              <a:gd name="connsiteY3104" fmla="*/ 345813 h 1344613"/>
              <a:gd name="connsiteX3105" fmla="*/ 633477 w 1317625"/>
              <a:gd name="connsiteY3105" fmla="*/ 348961 h 1344613"/>
              <a:gd name="connsiteX3106" fmla="*/ 630444 w 1317625"/>
              <a:gd name="connsiteY3106" fmla="*/ 352108 h 1344613"/>
              <a:gd name="connsiteX3107" fmla="*/ 623512 w 1317625"/>
              <a:gd name="connsiteY3107" fmla="*/ 357878 h 1344613"/>
              <a:gd name="connsiteX3108" fmla="*/ 615714 w 1317625"/>
              <a:gd name="connsiteY3108" fmla="*/ 363124 h 1344613"/>
              <a:gd name="connsiteX3109" fmla="*/ 600551 w 1317625"/>
              <a:gd name="connsiteY3109" fmla="*/ 372566 h 1344613"/>
              <a:gd name="connsiteX3110" fmla="*/ 594053 w 1317625"/>
              <a:gd name="connsiteY3110" fmla="*/ 376238 h 1344613"/>
              <a:gd name="connsiteX3111" fmla="*/ 579756 w 1317625"/>
              <a:gd name="connsiteY3111" fmla="*/ 376238 h 1344613"/>
              <a:gd name="connsiteX3112" fmla="*/ 570658 w 1317625"/>
              <a:gd name="connsiteY3112" fmla="*/ 372566 h 1344613"/>
              <a:gd name="connsiteX3113" fmla="*/ 559394 w 1317625"/>
              <a:gd name="connsiteY3113" fmla="*/ 366796 h 1344613"/>
              <a:gd name="connsiteX3114" fmla="*/ 554195 w 1317625"/>
              <a:gd name="connsiteY3114" fmla="*/ 363649 h 1344613"/>
              <a:gd name="connsiteX3115" fmla="*/ 549430 w 1317625"/>
              <a:gd name="connsiteY3115" fmla="*/ 359452 h 1344613"/>
              <a:gd name="connsiteX3116" fmla="*/ 547264 w 1317625"/>
              <a:gd name="connsiteY3116" fmla="*/ 357354 h 1344613"/>
              <a:gd name="connsiteX3117" fmla="*/ 546397 w 1317625"/>
              <a:gd name="connsiteY3117" fmla="*/ 355255 h 1344613"/>
              <a:gd name="connsiteX3118" fmla="*/ 545531 w 1317625"/>
              <a:gd name="connsiteY3118" fmla="*/ 353157 h 1344613"/>
              <a:gd name="connsiteX3119" fmla="*/ 545097 w 1317625"/>
              <a:gd name="connsiteY3119" fmla="*/ 350534 h 1344613"/>
              <a:gd name="connsiteX3120" fmla="*/ 550729 w 1317625"/>
              <a:gd name="connsiteY3120" fmla="*/ 350534 h 1344613"/>
              <a:gd name="connsiteX3121" fmla="*/ 555062 w 1317625"/>
              <a:gd name="connsiteY3121" fmla="*/ 350010 h 1344613"/>
              <a:gd name="connsiteX3122" fmla="*/ 558528 w 1317625"/>
              <a:gd name="connsiteY3122" fmla="*/ 349485 h 1344613"/>
              <a:gd name="connsiteX3123" fmla="*/ 562427 w 1317625"/>
              <a:gd name="connsiteY3123" fmla="*/ 346862 h 1344613"/>
              <a:gd name="connsiteX3124" fmla="*/ 558961 w 1317625"/>
              <a:gd name="connsiteY3124" fmla="*/ 343190 h 1344613"/>
              <a:gd name="connsiteX3125" fmla="*/ 554629 w 1317625"/>
              <a:gd name="connsiteY3125" fmla="*/ 339519 h 1344613"/>
              <a:gd name="connsiteX3126" fmla="*/ 549863 w 1317625"/>
              <a:gd name="connsiteY3126" fmla="*/ 335847 h 1344613"/>
              <a:gd name="connsiteX3127" fmla="*/ 545097 w 1317625"/>
              <a:gd name="connsiteY3127" fmla="*/ 332175 h 1344613"/>
              <a:gd name="connsiteX3128" fmla="*/ 536866 w 1317625"/>
              <a:gd name="connsiteY3128" fmla="*/ 326929 h 1344613"/>
              <a:gd name="connsiteX3129" fmla="*/ 533400 w 1317625"/>
              <a:gd name="connsiteY3129" fmla="*/ 324831 h 1344613"/>
              <a:gd name="connsiteX3130" fmla="*/ 541198 w 1317625"/>
              <a:gd name="connsiteY3130" fmla="*/ 326929 h 1344613"/>
              <a:gd name="connsiteX3131" fmla="*/ 547264 w 1317625"/>
              <a:gd name="connsiteY3131" fmla="*/ 328503 h 1344613"/>
              <a:gd name="connsiteX3132" fmla="*/ 549863 w 1317625"/>
              <a:gd name="connsiteY3132" fmla="*/ 329027 h 1344613"/>
              <a:gd name="connsiteX3133" fmla="*/ 552029 w 1317625"/>
              <a:gd name="connsiteY3133" fmla="*/ 329027 h 1344613"/>
              <a:gd name="connsiteX3134" fmla="*/ 554629 w 1317625"/>
              <a:gd name="connsiteY3134" fmla="*/ 329027 h 1344613"/>
              <a:gd name="connsiteX3135" fmla="*/ 556795 w 1317625"/>
              <a:gd name="connsiteY3135" fmla="*/ 327978 h 1344613"/>
              <a:gd name="connsiteX3136" fmla="*/ 554629 w 1317625"/>
              <a:gd name="connsiteY3136" fmla="*/ 327454 h 1344613"/>
              <a:gd name="connsiteX3137" fmla="*/ 552462 w 1317625"/>
              <a:gd name="connsiteY3137" fmla="*/ 326404 h 1344613"/>
              <a:gd name="connsiteX3138" fmla="*/ 550729 w 1317625"/>
              <a:gd name="connsiteY3138" fmla="*/ 324306 h 1344613"/>
              <a:gd name="connsiteX3139" fmla="*/ 548996 w 1317625"/>
              <a:gd name="connsiteY3139" fmla="*/ 322208 h 1344613"/>
              <a:gd name="connsiteX3140" fmla="*/ 547264 w 1317625"/>
              <a:gd name="connsiteY3140" fmla="*/ 320110 h 1344613"/>
              <a:gd name="connsiteX3141" fmla="*/ 545964 w 1317625"/>
              <a:gd name="connsiteY3141" fmla="*/ 316438 h 1344613"/>
              <a:gd name="connsiteX3142" fmla="*/ 545531 w 1317625"/>
              <a:gd name="connsiteY3142" fmla="*/ 313815 h 1344613"/>
              <a:gd name="connsiteX3143" fmla="*/ 545097 w 1317625"/>
              <a:gd name="connsiteY3143" fmla="*/ 311717 h 1344613"/>
              <a:gd name="connsiteX3144" fmla="*/ 562427 w 1317625"/>
              <a:gd name="connsiteY3144" fmla="*/ 311717 h 1344613"/>
              <a:gd name="connsiteX3145" fmla="*/ 557661 w 1317625"/>
              <a:gd name="connsiteY3145" fmla="*/ 311192 h 1344613"/>
              <a:gd name="connsiteX3146" fmla="*/ 552896 w 1317625"/>
              <a:gd name="connsiteY3146" fmla="*/ 310143 h 1344613"/>
              <a:gd name="connsiteX3147" fmla="*/ 548563 w 1317625"/>
              <a:gd name="connsiteY3147" fmla="*/ 309094 h 1344613"/>
              <a:gd name="connsiteX3148" fmla="*/ 544231 w 1317625"/>
              <a:gd name="connsiteY3148" fmla="*/ 306995 h 1344613"/>
              <a:gd name="connsiteX3149" fmla="*/ 540332 w 1317625"/>
              <a:gd name="connsiteY3149" fmla="*/ 304897 h 1344613"/>
              <a:gd name="connsiteX3150" fmla="*/ 537732 w 1317625"/>
              <a:gd name="connsiteY3150" fmla="*/ 302274 h 1344613"/>
              <a:gd name="connsiteX3151" fmla="*/ 536866 w 1317625"/>
              <a:gd name="connsiteY3151" fmla="*/ 300701 h 1344613"/>
              <a:gd name="connsiteX3152" fmla="*/ 536433 w 1317625"/>
              <a:gd name="connsiteY3152" fmla="*/ 299127 h 1344613"/>
              <a:gd name="connsiteX3153" fmla="*/ 536433 w 1317625"/>
              <a:gd name="connsiteY3153" fmla="*/ 297553 h 1344613"/>
              <a:gd name="connsiteX3154" fmla="*/ 536433 w 1317625"/>
              <a:gd name="connsiteY3154" fmla="*/ 295455 h 1344613"/>
              <a:gd name="connsiteX3155" fmla="*/ 533400 w 1317625"/>
              <a:gd name="connsiteY3155" fmla="*/ 288636 h 1344613"/>
              <a:gd name="connsiteX3156" fmla="*/ 545964 w 1317625"/>
              <a:gd name="connsiteY3156" fmla="*/ 288636 h 1344613"/>
              <a:gd name="connsiteX3157" fmla="*/ 556795 w 1317625"/>
              <a:gd name="connsiteY3157" fmla="*/ 288636 h 1344613"/>
              <a:gd name="connsiteX3158" fmla="*/ 565459 w 1317625"/>
              <a:gd name="connsiteY3158" fmla="*/ 288636 h 1344613"/>
              <a:gd name="connsiteX3159" fmla="*/ 571091 w 1317625"/>
              <a:gd name="connsiteY3159" fmla="*/ 288636 h 1344613"/>
              <a:gd name="connsiteX3160" fmla="*/ 564593 w 1317625"/>
              <a:gd name="connsiteY3160" fmla="*/ 286537 h 1344613"/>
              <a:gd name="connsiteX3161" fmla="*/ 550296 w 1317625"/>
              <a:gd name="connsiteY3161" fmla="*/ 282341 h 1344613"/>
              <a:gd name="connsiteX3162" fmla="*/ 542931 w 1317625"/>
              <a:gd name="connsiteY3162" fmla="*/ 280243 h 1344613"/>
              <a:gd name="connsiteX3163" fmla="*/ 536866 w 1317625"/>
              <a:gd name="connsiteY3163" fmla="*/ 278144 h 1344613"/>
              <a:gd name="connsiteX3164" fmla="*/ 533400 w 1317625"/>
              <a:gd name="connsiteY3164" fmla="*/ 276571 h 1344613"/>
              <a:gd name="connsiteX3165" fmla="*/ 533400 w 1317625"/>
              <a:gd name="connsiteY3165" fmla="*/ 276046 h 1344613"/>
              <a:gd name="connsiteX3166" fmla="*/ 534267 w 1317625"/>
              <a:gd name="connsiteY3166" fmla="*/ 268702 h 1344613"/>
              <a:gd name="connsiteX3167" fmla="*/ 534700 w 1317625"/>
              <a:gd name="connsiteY3167" fmla="*/ 263981 h 1344613"/>
              <a:gd name="connsiteX3168" fmla="*/ 535133 w 1317625"/>
              <a:gd name="connsiteY3168" fmla="*/ 261883 h 1344613"/>
              <a:gd name="connsiteX3169" fmla="*/ 535133 w 1317625"/>
              <a:gd name="connsiteY3169" fmla="*/ 259260 h 1344613"/>
              <a:gd name="connsiteX3170" fmla="*/ 534700 w 1317625"/>
              <a:gd name="connsiteY3170" fmla="*/ 256637 h 1344613"/>
              <a:gd name="connsiteX3171" fmla="*/ 533400 w 1317625"/>
              <a:gd name="connsiteY3171" fmla="*/ 253490 h 1344613"/>
              <a:gd name="connsiteX3172" fmla="*/ 542065 w 1317625"/>
              <a:gd name="connsiteY3172" fmla="*/ 253490 h 1344613"/>
              <a:gd name="connsiteX3173" fmla="*/ 542498 w 1317625"/>
              <a:gd name="connsiteY3173" fmla="*/ 255588 h 1344613"/>
              <a:gd name="connsiteX3174" fmla="*/ 543798 w 1317625"/>
              <a:gd name="connsiteY3174" fmla="*/ 257162 h 1344613"/>
              <a:gd name="connsiteX3175" fmla="*/ 544231 w 1317625"/>
              <a:gd name="connsiteY3175" fmla="*/ 257686 h 1344613"/>
              <a:gd name="connsiteX3176" fmla="*/ 544664 w 1317625"/>
              <a:gd name="connsiteY3176" fmla="*/ 257686 h 1344613"/>
              <a:gd name="connsiteX3177" fmla="*/ 545097 w 1317625"/>
              <a:gd name="connsiteY3177" fmla="*/ 257162 h 1344613"/>
              <a:gd name="connsiteX3178" fmla="*/ 545097 w 1317625"/>
              <a:gd name="connsiteY3178" fmla="*/ 256637 h 1344613"/>
              <a:gd name="connsiteX3179" fmla="*/ 549430 w 1317625"/>
              <a:gd name="connsiteY3179" fmla="*/ 256113 h 1344613"/>
              <a:gd name="connsiteX3180" fmla="*/ 555495 w 1317625"/>
              <a:gd name="connsiteY3180" fmla="*/ 255064 h 1344613"/>
              <a:gd name="connsiteX3181" fmla="*/ 562427 w 1317625"/>
              <a:gd name="connsiteY3181" fmla="*/ 254014 h 1344613"/>
              <a:gd name="connsiteX3182" fmla="*/ 568492 w 1317625"/>
              <a:gd name="connsiteY3182" fmla="*/ 253490 h 1344613"/>
              <a:gd name="connsiteX3183" fmla="*/ 567192 w 1317625"/>
              <a:gd name="connsiteY3183" fmla="*/ 252965 h 1344613"/>
              <a:gd name="connsiteX3184" fmla="*/ 566759 w 1317625"/>
              <a:gd name="connsiteY3184" fmla="*/ 252441 h 1344613"/>
              <a:gd name="connsiteX3185" fmla="*/ 566759 w 1317625"/>
              <a:gd name="connsiteY3185" fmla="*/ 251392 h 1344613"/>
              <a:gd name="connsiteX3186" fmla="*/ 566759 w 1317625"/>
              <a:gd name="connsiteY3186" fmla="*/ 249818 h 1344613"/>
              <a:gd name="connsiteX3187" fmla="*/ 568059 w 1317625"/>
              <a:gd name="connsiteY3187" fmla="*/ 246670 h 1344613"/>
              <a:gd name="connsiteX3188" fmla="*/ 568492 w 1317625"/>
              <a:gd name="connsiteY3188" fmla="*/ 243523 h 1344613"/>
              <a:gd name="connsiteX3189" fmla="*/ 572824 w 1317625"/>
              <a:gd name="connsiteY3189" fmla="*/ 243523 h 1344613"/>
              <a:gd name="connsiteX3190" fmla="*/ 576723 w 1317625"/>
              <a:gd name="connsiteY3190" fmla="*/ 243523 h 1344613"/>
              <a:gd name="connsiteX3191" fmla="*/ 576290 w 1317625"/>
              <a:gd name="connsiteY3191" fmla="*/ 241425 h 1344613"/>
              <a:gd name="connsiteX3192" fmla="*/ 574990 w 1317625"/>
              <a:gd name="connsiteY3192" fmla="*/ 238802 h 1344613"/>
              <a:gd name="connsiteX3193" fmla="*/ 573258 w 1317625"/>
              <a:gd name="connsiteY3193" fmla="*/ 236704 h 1344613"/>
              <a:gd name="connsiteX3194" fmla="*/ 571091 w 1317625"/>
              <a:gd name="connsiteY3194" fmla="*/ 234081 h 1344613"/>
              <a:gd name="connsiteX3195" fmla="*/ 575424 w 1317625"/>
              <a:gd name="connsiteY3195" fmla="*/ 232507 h 1344613"/>
              <a:gd name="connsiteX3196" fmla="*/ 579756 w 1317625"/>
              <a:gd name="connsiteY3196" fmla="*/ 230934 h 1344613"/>
              <a:gd name="connsiteX3197" fmla="*/ 584088 w 1317625"/>
              <a:gd name="connsiteY3197" fmla="*/ 230409 h 1344613"/>
              <a:gd name="connsiteX3198" fmla="*/ 588421 w 1317625"/>
              <a:gd name="connsiteY3198" fmla="*/ 230409 h 1344613"/>
              <a:gd name="connsiteX3199" fmla="*/ 589287 w 1317625"/>
              <a:gd name="connsiteY3199" fmla="*/ 230409 h 1344613"/>
              <a:gd name="connsiteX3200" fmla="*/ 589720 w 1317625"/>
              <a:gd name="connsiteY3200" fmla="*/ 228835 h 1344613"/>
              <a:gd name="connsiteX3201" fmla="*/ 589720 w 1317625"/>
              <a:gd name="connsiteY3201" fmla="*/ 227262 h 1344613"/>
              <a:gd name="connsiteX3202" fmla="*/ 589287 w 1317625"/>
              <a:gd name="connsiteY3202" fmla="*/ 225163 h 1344613"/>
              <a:gd name="connsiteX3203" fmla="*/ 588854 w 1317625"/>
              <a:gd name="connsiteY3203" fmla="*/ 220967 h 1344613"/>
              <a:gd name="connsiteX3204" fmla="*/ 588421 w 1317625"/>
              <a:gd name="connsiteY3204" fmla="*/ 217819 h 1344613"/>
              <a:gd name="connsiteX3205" fmla="*/ 597085 w 1317625"/>
              <a:gd name="connsiteY3205" fmla="*/ 217819 h 1344613"/>
              <a:gd name="connsiteX3206" fmla="*/ 591020 w 1317625"/>
              <a:gd name="connsiteY3206" fmla="*/ 214672 h 1344613"/>
              <a:gd name="connsiteX3207" fmla="*/ 628711 w 1317625"/>
              <a:gd name="connsiteY3207" fmla="*/ 214672 h 1344613"/>
              <a:gd name="connsiteX3208" fmla="*/ 623079 w 1317625"/>
              <a:gd name="connsiteY3208" fmla="*/ 211525 h 1344613"/>
              <a:gd name="connsiteX3209" fmla="*/ 625679 w 1317625"/>
              <a:gd name="connsiteY3209" fmla="*/ 209951 h 1344613"/>
              <a:gd name="connsiteX3210" fmla="*/ 627845 w 1317625"/>
              <a:gd name="connsiteY3210" fmla="*/ 208377 h 1344613"/>
              <a:gd name="connsiteX3211" fmla="*/ 629145 w 1317625"/>
              <a:gd name="connsiteY3211" fmla="*/ 206804 h 1344613"/>
              <a:gd name="connsiteX3212" fmla="*/ 630444 w 1317625"/>
              <a:gd name="connsiteY3212" fmla="*/ 204181 h 1344613"/>
              <a:gd name="connsiteX3213" fmla="*/ 631744 w 1317625"/>
              <a:gd name="connsiteY3213" fmla="*/ 198410 h 1344613"/>
              <a:gd name="connsiteX3214" fmla="*/ 631744 w 1317625"/>
              <a:gd name="connsiteY3214" fmla="*/ 192116 h 1344613"/>
              <a:gd name="connsiteX3215" fmla="*/ 638676 w 1317625"/>
              <a:gd name="connsiteY3215" fmla="*/ 192116 h 1344613"/>
              <a:gd name="connsiteX3216" fmla="*/ 643875 w 1317625"/>
              <a:gd name="connsiteY3216" fmla="*/ 192116 h 1344613"/>
              <a:gd name="connsiteX3217" fmla="*/ 648640 w 1317625"/>
              <a:gd name="connsiteY3217" fmla="*/ 192116 h 1344613"/>
              <a:gd name="connsiteX3218" fmla="*/ 654272 w 1317625"/>
              <a:gd name="connsiteY3218" fmla="*/ 192116 h 1344613"/>
              <a:gd name="connsiteX3219" fmla="*/ 654272 w 1317625"/>
              <a:gd name="connsiteY3219" fmla="*/ 188968 h 1344613"/>
              <a:gd name="connsiteX3220" fmla="*/ 655572 w 1317625"/>
              <a:gd name="connsiteY3220" fmla="*/ 185821 h 1344613"/>
              <a:gd name="connsiteX3221" fmla="*/ 656005 w 1317625"/>
              <a:gd name="connsiteY3221" fmla="*/ 184772 h 1344613"/>
              <a:gd name="connsiteX3222" fmla="*/ 656871 w 1317625"/>
              <a:gd name="connsiteY3222" fmla="*/ 183723 h 1344613"/>
              <a:gd name="connsiteX3223" fmla="*/ 658171 w 1317625"/>
              <a:gd name="connsiteY3223" fmla="*/ 182674 h 1344613"/>
              <a:gd name="connsiteX3224" fmla="*/ 660337 w 1317625"/>
              <a:gd name="connsiteY3224" fmla="*/ 182674 h 1344613"/>
              <a:gd name="connsiteX3225" fmla="*/ 657305 w 1317625"/>
              <a:gd name="connsiteY3225" fmla="*/ 181100 h 1344613"/>
              <a:gd name="connsiteX3226" fmla="*/ 654272 w 1317625"/>
              <a:gd name="connsiteY3226" fmla="*/ 179001 h 1344613"/>
              <a:gd name="connsiteX3227" fmla="*/ 654705 w 1317625"/>
              <a:gd name="connsiteY3227" fmla="*/ 177952 h 1344613"/>
              <a:gd name="connsiteX3228" fmla="*/ 655572 w 1317625"/>
              <a:gd name="connsiteY3228" fmla="*/ 176903 h 1344613"/>
              <a:gd name="connsiteX3229" fmla="*/ 656438 w 1317625"/>
              <a:gd name="connsiteY3229" fmla="*/ 175854 h 1344613"/>
              <a:gd name="connsiteX3230" fmla="*/ 657738 w 1317625"/>
              <a:gd name="connsiteY3230" fmla="*/ 174280 h 1344613"/>
              <a:gd name="connsiteX3231" fmla="*/ 660771 w 1317625"/>
              <a:gd name="connsiteY3231" fmla="*/ 171657 h 1344613"/>
              <a:gd name="connsiteX3232" fmla="*/ 662937 w 1317625"/>
              <a:gd name="connsiteY3232" fmla="*/ 169035 h 1344613"/>
              <a:gd name="connsiteX3233" fmla="*/ 662504 w 1317625"/>
              <a:gd name="connsiteY3233" fmla="*/ 167461 h 1344613"/>
              <a:gd name="connsiteX3234" fmla="*/ 662070 w 1317625"/>
              <a:gd name="connsiteY3234" fmla="*/ 165363 h 1344613"/>
              <a:gd name="connsiteX3235" fmla="*/ 662504 w 1317625"/>
              <a:gd name="connsiteY3235" fmla="*/ 163789 h 1344613"/>
              <a:gd name="connsiteX3236" fmla="*/ 662937 w 1317625"/>
              <a:gd name="connsiteY3236" fmla="*/ 161691 h 1344613"/>
              <a:gd name="connsiteX3237" fmla="*/ 665536 w 1317625"/>
              <a:gd name="connsiteY3237" fmla="*/ 158019 h 1344613"/>
              <a:gd name="connsiteX3238" fmla="*/ 668136 w 1317625"/>
              <a:gd name="connsiteY3238" fmla="*/ 154347 h 1344613"/>
              <a:gd name="connsiteX3239" fmla="*/ 674201 w 1317625"/>
              <a:gd name="connsiteY3239" fmla="*/ 147527 h 1344613"/>
              <a:gd name="connsiteX3240" fmla="*/ 677667 w 1317625"/>
              <a:gd name="connsiteY3240" fmla="*/ 143331 h 1344613"/>
              <a:gd name="connsiteX3241" fmla="*/ 677667 w 1317625"/>
              <a:gd name="connsiteY3241" fmla="*/ 142282 h 1344613"/>
              <a:gd name="connsiteX3242" fmla="*/ 678533 w 1317625"/>
              <a:gd name="connsiteY3242" fmla="*/ 141757 h 1344613"/>
              <a:gd name="connsiteX3243" fmla="*/ 679833 w 1317625"/>
              <a:gd name="connsiteY3243" fmla="*/ 141757 h 1344613"/>
              <a:gd name="connsiteX3244" fmla="*/ 680699 w 1317625"/>
              <a:gd name="connsiteY3244" fmla="*/ 142282 h 1344613"/>
              <a:gd name="connsiteX3245" fmla="*/ 682432 w 1317625"/>
              <a:gd name="connsiteY3245" fmla="*/ 142806 h 1344613"/>
              <a:gd name="connsiteX3246" fmla="*/ 683299 w 1317625"/>
              <a:gd name="connsiteY3246" fmla="*/ 143331 h 1344613"/>
              <a:gd name="connsiteX3247" fmla="*/ 682432 w 1317625"/>
              <a:gd name="connsiteY3247" fmla="*/ 139659 h 1344613"/>
              <a:gd name="connsiteX3248" fmla="*/ 681999 w 1317625"/>
              <a:gd name="connsiteY3248" fmla="*/ 136512 h 1344613"/>
              <a:gd name="connsiteX3249" fmla="*/ 681999 w 1317625"/>
              <a:gd name="connsiteY3249" fmla="*/ 132840 h 1344613"/>
              <a:gd name="connsiteX3250" fmla="*/ 682432 w 1317625"/>
              <a:gd name="connsiteY3250" fmla="*/ 129692 h 1344613"/>
              <a:gd name="connsiteX3251" fmla="*/ 682865 w 1317625"/>
              <a:gd name="connsiteY3251" fmla="*/ 124447 h 1344613"/>
              <a:gd name="connsiteX3252" fmla="*/ 683299 w 1317625"/>
              <a:gd name="connsiteY3252" fmla="*/ 121299 h 1344613"/>
              <a:gd name="connsiteX3253" fmla="*/ 693696 w 1317625"/>
              <a:gd name="connsiteY3253" fmla="*/ 121299 h 1344613"/>
              <a:gd name="connsiteX3254" fmla="*/ 700195 w 1317625"/>
              <a:gd name="connsiteY3254" fmla="*/ 120775 h 1344613"/>
              <a:gd name="connsiteX3255" fmla="*/ 701494 w 1317625"/>
              <a:gd name="connsiteY3255" fmla="*/ 120250 h 1344613"/>
              <a:gd name="connsiteX3256" fmla="*/ 702361 w 1317625"/>
              <a:gd name="connsiteY3256" fmla="*/ 119201 h 1344613"/>
              <a:gd name="connsiteX3257" fmla="*/ 703227 w 1317625"/>
              <a:gd name="connsiteY3257" fmla="*/ 118152 h 1344613"/>
              <a:gd name="connsiteX3258" fmla="*/ 704094 w 1317625"/>
              <a:gd name="connsiteY3258" fmla="*/ 117103 h 1344613"/>
              <a:gd name="connsiteX3259" fmla="*/ 705394 w 1317625"/>
              <a:gd name="connsiteY3259" fmla="*/ 112906 h 1344613"/>
              <a:gd name="connsiteX3260" fmla="*/ 706260 w 1317625"/>
              <a:gd name="connsiteY3260" fmla="*/ 107661 h 1344613"/>
              <a:gd name="connsiteX3261" fmla="*/ 704527 w 1317625"/>
              <a:gd name="connsiteY3261" fmla="*/ 105038 h 1344613"/>
              <a:gd name="connsiteX3262" fmla="*/ 702361 w 1317625"/>
              <a:gd name="connsiteY3262" fmla="*/ 101366 h 1344613"/>
              <a:gd name="connsiteX3263" fmla="*/ 701061 w 1317625"/>
              <a:gd name="connsiteY3263" fmla="*/ 96645 h 1344613"/>
              <a:gd name="connsiteX3264" fmla="*/ 700628 w 1317625"/>
              <a:gd name="connsiteY3264" fmla="*/ 91924 h 1344613"/>
              <a:gd name="connsiteX3265" fmla="*/ 699761 w 1317625"/>
              <a:gd name="connsiteY3265" fmla="*/ 91924 h 1344613"/>
              <a:gd name="connsiteX3266" fmla="*/ 697595 w 1317625"/>
              <a:gd name="connsiteY3266" fmla="*/ 91399 h 1344613"/>
              <a:gd name="connsiteX3267" fmla="*/ 696729 w 1317625"/>
              <a:gd name="connsiteY3267" fmla="*/ 91399 h 1344613"/>
              <a:gd name="connsiteX3268" fmla="*/ 695862 w 1317625"/>
              <a:gd name="connsiteY3268" fmla="*/ 90874 h 1344613"/>
              <a:gd name="connsiteX3269" fmla="*/ 694996 w 1317625"/>
              <a:gd name="connsiteY3269" fmla="*/ 89825 h 1344613"/>
              <a:gd name="connsiteX3270" fmla="*/ 694996 w 1317625"/>
              <a:gd name="connsiteY3270" fmla="*/ 88776 h 1344613"/>
              <a:gd name="connsiteX3271" fmla="*/ 690664 w 1317625"/>
              <a:gd name="connsiteY3271" fmla="*/ 92973 h 1344613"/>
              <a:gd name="connsiteX3272" fmla="*/ 686331 w 1317625"/>
              <a:gd name="connsiteY3272" fmla="*/ 96120 h 1344613"/>
              <a:gd name="connsiteX3273" fmla="*/ 683732 w 1317625"/>
              <a:gd name="connsiteY3273" fmla="*/ 97169 h 1344613"/>
              <a:gd name="connsiteX3274" fmla="*/ 681999 w 1317625"/>
              <a:gd name="connsiteY3274" fmla="*/ 97694 h 1344613"/>
              <a:gd name="connsiteX3275" fmla="*/ 679833 w 1317625"/>
              <a:gd name="connsiteY3275" fmla="*/ 98218 h 1344613"/>
              <a:gd name="connsiteX3276" fmla="*/ 677667 w 1317625"/>
              <a:gd name="connsiteY3276" fmla="*/ 98218 h 1344613"/>
              <a:gd name="connsiteX3277" fmla="*/ 678100 w 1317625"/>
              <a:gd name="connsiteY3277" fmla="*/ 95071 h 1344613"/>
              <a:gd name="connsiteX3278" fmla="*/ 679833 w 1317625"/>
              <a:gd name="connsiteY3278" fmla="*/ 91924 h 1344613"/>
              <a:gd name="connsiteX3279" fmla="*/ 681132 w 1317625"/>
              <a:gd name="connsiteY3279" fmla="*/ 89301 h 1344613"/>
              <a:gd name="connsiteX3280" fmla="*/ 682865 w 1317625"/>
              <a:gd name="connsiteY3280" fmla="*/ 86678 h 1344613"/>
              <a:gd name="connsiteX3281" fmla="*/ 687198 w 1317625"/>
              <a:gd name="connsiteY3281" fmla="*/ 81432 h 1344613"/>
              <a:gd name="connsiteX3282" fmla="*/ 692397 w 1317625"/>
              <a:gd name="connsiteY3282" fmla="*/ 77236 h 1344613"/>
              <a:gd name="connsiteX3283" fmla="*/ 697162 w 1317625"/>
              <a:gd name="connsiteY3283" fmla="*/ 73039 h 1344613"/>
              <a:gd name="connsiteX3284" fmla="*/ 702361 w 1317625"/>
              <a:gd name="connsiteY3284" fmla="*/ 68318 h 1344613"/>
              <a:gd name="connsiteX3285" fmla="*/ 704527 w 1317625"/>
              <a:gd name="connsiteY3285" fmla="*/ 65695 h 1344613"/>
              <a:gd name="connsiteX3286" fmla="*/ 706260 w 1317625"/>
              <a:gd name="connsiteY3286" fmla="*/ 63073 h 1344613"/>
              <a:gd name="connsiteX3287" fmla="*/ 707993 w 1317625"/>
              <a:gd name="connsiteY3287" fmla="*/ 59925 h 1344613"/>
              <a:gd name="connsiteX3288" fmla="*/ 709293 w 1317625"/>
              <a:gd name="connsiteY3288" fmla="*/ 56253 h 1344613"/>
              <a:gd name="connsiteX3289" fmla="*/ 709726 w 1317625"/>
              <a:gd name="connsiteY3289" fmla="*/ 57827 h 1344613"/>
              <a:gd name="connsiteX3290" fmla="*/ 710592 w 1317625"/>
              <a:gd name="connsiteY3290" fmla="*/ 60450 h 1344613"/>
              <a:gd name="connsiteX3291" fmla="*/ 711459 w 1317625"/>
              <a:gd name="connsiteY3291" fmla="*/ 64646 h 1344613"/>
              <a:gd name="connsiteX3292" fmla="*/ 711892 w 1317625"/>
              <a:gd name="connsiteY3292" fmla="*/ 69367 h 1344613"/>
              <a:gd name="connsiteX3293" fmla="*/ 712758 w 1317625"/>
              <a:gd name="connsiteY3293" fmla="*/ 70416 h 1344613"/>
              <a:gd name="connsiteX3294" fmla="*/ 715358 w 1317625"/>
              <a:gd name="connsiteY3294" fmla="*/ 72515 h 1344613"/>
              <a:gd name="connsiteX3295" fmla="*/ 717957 w 1317625"/>
              <a:gd name="connsiteY3295" fmla="*/ 74613 h 1344613"/>
              <a:gd name="connsiteX3296" fmla="*/ 720557 w 1317625"/>
              <a:gd name="connsiteY3296" fmla="*/ 75662 h 1344613"/>
              <a:gd name="connsiteX3297" fmla="*/ 728355 w 1317625"/>
              <a:gd name="connsiteY3297" fmla="*/ 75138 h 1344613"/>
              <a:gd name="connsiteX3298" fmla="*/ 733987 w 1317625"/>
              <a:gd name="connsiteY3298" fmla="*/ 74088 h 1344613"/>
              <a:gd name="connsiteX3299" fmla="*/ 738319 w 1317625"/>
              <a:gd name="connsiteY3299" fmla="*/ 73039 h 1344613"/>
              <a:gd name="connsiteX3300" fmla="*/ 740919 w 1317625"/>
              <a:gd name="connsiteY3300" fmla="*/ 72515 h 1344613"/>
              <a:gd name="connsiteX3301" fmla="*/ 738752 w 1317625"/>
              <a:gd name="connsiteY3301" fmla="*/ 69892 h 1344613"/>
              <a:gd name="connsiteX3302" fmla="*/ 736586 w 1317625"/>
              <a:gd name="connsiteY3302" fmla="*/ 67269 h 1344613"/>
              <a:gd name="connsiteX3303" fmla="*/ 736153 w 1317625"/>
              <a:gd name="connsiteY3303" fmla="*/ 65695 h 1344613"/>
              <a:gd name="connsiteX3304" fmla="*/ 735720 w 1317625"/>
              <a:gd name="connsiteY3304" fmla="*/ 64122 h 1344613"/>
              <a:gd name="connsiteX3305" fmla="*/ 735287 w 1317625"/>
              <a:gd name="connsiteY3305" fmla="*/ 62023 h 1344613"/>
              <a:gd name="connsiteX3306" fmla="*/ 735287 w 1317625"/>
              <a:gd name="connsiteY3306" fmla="*/ 59925 h 1344613"/>
              <a:gd name="connsiteX3307" fmla="*/ 743518 w 1317625"/>
              <a:gd name="connsiteY3307" fmla="*/ 57827 h 1344613"/>
              <a:gd name="connsiteX3308" fmla="*/ 754349 w 1317625"/>
              <a:gd name="connsiteY3308" fmla="*/ 55204 h 1344613"/>
              <a:gd name="connsiteX3309" fmla="*/ 759981 w 1317625"/>
              <a:gd name="connsiteY3309" fmla="*/ 53630 h 1344613"/>
              <a:gd name="connsiteX3310" fmla="*/ 765613 w 1317625"/>
              <a:gd name="connsiteY3310" fmla="*/ 52057 h 1344613"/>
              <a:gd name="connsiteX3311" fmla="*/ 770812 w 1317625"/>
              <a:gd name="connsiteY3311" fmla="*/ 49434 h 1344613"/>
              <a:gd name="connsiteX3312" fmla="*/ 775144 w 1317625"/>
              <a:gd name="connsiteY3312" fmla="*/ 46286 h 1344613"/>
              <a:gd name="connsiteX3313" fmla="*/ 778177 w 1317625"/>
              <a:gd name="connsiteY3313" fmla="*/ 44188 h 1344613"/>
              <a:gd name="connsiteX3314" fmla="*/ 781642 w 1317625"/>
              <a:gd name="connsiteY3314" fmla="*/ 42090 h 1344613"/>
              <a:gd name="connsiteX3315" fmla="*/ 784242 w 1317625"/>
              <a:gd name="connsiteY3315" fmla="*/ 40516 h 1344613"/>
              <a:gd name="connsiteX3316" fmla="*/ 787274 w 1317625"/>
              <a:gd name="connsiteY3316" fmla="*/ 39992 h 1344613"/>
              <a:gd name="connsiteX3317" fmla="*/ 787708 w 1317625"/>
              <a:gd name="connsiteY3317" fmla="*/ 43139 h 1344613"/>
              <a:gd name="connsiteX3318" fmla="*/ 788574 w 1317625"/>
              <a:gd name="connsiteY3318" fmla="*/ 46286 h 1344613"/>
              <a:gd name="connsiteX3319" fmla="*/ 789441 w 1317625"/>
              <a:gd name="connsiteY3319" fmla="*/ 47336 h 1344613"/>
              <a:gd name="connsiteX3320" fmla="*/ 790307 w 1317625"/>
              <a:gd name="connsiteY3320" fmla="*/ 48385 h 1344613"/>
              <a:gd name="connsiteX3321" fmla="*/ 791607 w 1317625"/>
              <a:gd name="connsiteY3321" fmla="*/ 49434 h 1344613"/>
              <a:gd name="connsiteX3322" fmla="*/ 792906 w 1317625"/>
              <a:gd name="connsiteY3322" fmla="*/ 49434 h 1344613"/>
              <a:gd name="connsiteX3323" fmla="*/ 797239 w 1317625"/>
              <a:gd name="connsiteY3323" fmla="*/ 48909 h 1344613"/>
              <a:gd name="connsiteX3324" fmla="*/ 803737 w 1317625"/>
              <a:gd name="connsiteY3324" fmla="*/ 46286 h 1344613"/>
              <a:gd name="connsiteX3325" fmla="*/ 809803 w 1317625"/>
              <a:gd name="connsiteY3325" fmla="*/ 44188 h 1344613"/>
              <a:gd name="connsiteX3326" fmla="*/ 812835 w 1317625"/>
              <a:gd name="connsiteY3326" fmla="*/ 43139 h 1344613"/>
              <a:gd name="connsiteX3327" fmla="*/ 811969 w 1317625"/>
              <a:gd name="connsiteY3327" fmla="*/ 42090 h 1344613"/>
              <a:gd name="connsiteX3328" fmla="*/ 811102 w 1317625"/>
              <a:gd name="connsiteY3328" fmla="*/ 41041 h 1344613"/>
              <a:gd name="connsiteX3329" fmla="*/ 809803 w 1317625"/>
              <a:gd name="connsiteY3329" fmla="*/ 39467 h 1344613"/>
              <a:gd name="connsiteX3330" fmla="*/ 809803 w 1317625"/>
              <a:gd name="connsiteY3330" fmla="*/ 38418 h 1344613"/>
              <a:gd name="connsiteX3331" fmla="*/ 809803 w 1317625"/>
              <a:gd name="connsiteY3331" fmla="*/ 36320 h 1344613"/>
              <a:gd name="connsiteX3332" fmla="*/ 811102 w 1317625"/>
              <a:gd name="connsiteY3332" fmla="*/ 33697 h 1344613"/>
              <a:gd name="connsiteX3333" fmla="*/ 812835 w 1317625"/>
              <a:gd name="connsiteY3333" fmla="*/ 31599 h 1344613"/>
              <a:gd name="connsiteX3334" fmla="*/ 815001 w 1317625"/>
              <a:gd name="connsiteY3334" fmla="*/ 28976 h 1344613"/>
              <a:gd name="connsiteX3335" fmla="*/ 818034 w 1317625"/>
              <a:gd name="connsiteY3335" fmla="*/ 26878 h 1344613"/>
              <a:gd name="connsiteX3336" fmla="*/ 821500 w 1317625"/>
              <a:gd name="connsiteY3336" fmla="*/ 24779 h 1344613"/>
              <a:gd name="connsiteX3337" fmla="*/ 823830 w 1317625"/>
              <a:gd name="connsiteY3337" fmla="*/ 23839 h 1344613"/>
              <a:gd name="connsiteX3338" fmla="*/ 824925 w 1317625"/>
              <a:gd name="connsiteY3338" fmla="*/ 21821 h 1344613"/>
              <a:gd name="connsiteX3339" fmla="*/ 827091 w 1317625"/>
              <a:gd name="connsiteY3339" fmla="*/ 18096 h 1344613"/>
              <a:gd name="connsiteX3340" fmla="*/ 829257 w 1317625"/>
              <a:gd name="connsiteY3340" fmla="*/ 14902 h 1344613"/>
              <a:gd name="connsiteX3341" fmla="*/ 831423 w 1317625"/>
              <a:gd name="connsiteY3341" fmla="*/ 11709 h 1344613"/>
              <a:gd name="connsiteX3342" fmla="*/ 834455 w 1317625"/>
              <a:gd name="connsiteY3342" fmla="*/ 10112 h 1344613"/>
              <a:gd name="connsiteX3343" fmla="*/ 836621 w 1317625"/>
              <a:gd name="connsiteY3343" fmla="*/ 7983 h 1344613"/>
              <a:gd name="connsiteX3344" fmla="*/ 839654 w 1317625"/>
              <a:gd name="connsiteY3344" fmla="*/ 6919 h 1344613"/>
              <a:gd name="connsiteX3345" fmla="*/ 842686 w 1317625"/>
              <a:gd name="connsiteY3345" fmla="*/ 6387 h 1344613"/>
              <a:gd name="connsiteX3346" fmla="*/ 848752 w 1317625"/>
              <a:gd name="connsiteY3346" fmla="*/ 7983 h 1344613"/>
              <a:gd name="connsiteX3347" fmla="*/ 854383 w 1317625"/>
              <a:gd name="connsiteY3347" fmla="*/ 10112 h 1344613"/>
              <a:gd name="connsiteX3348" fmla="*/ 848752 w 1317625"/>
              <a:gd name="connsiteY3348" fmla="*/ 20225 h 1344613"/>
              <a:gd name="connsiteX3349" fmla="*/ 860015 w 1317625"/>
              <a:gd name="connsiteY3349" fmla="*/ 20225 h 1344613"/>
              <a:gd name="connsiteX3350" fmla="*/ 861790 w 1317625"/>
              <a:gd name="connsiteY3350" fmla="*/ 18978 h 1344613"/>
              <a:gd name="connsiteX3351" fmla="*/ 861790 w 1317625"/>
              <a:gd name="connsiteY3351" fmla="*/ 14288 h 1344613"/>
              <a:gd name="connsiteX3352" fmla="*/ 870013 w 1317625"/>
              <a:gd name="connsiteY3352" fmla="*/ 14288 h 1344613"/>
              <a:gd name="connsiteX3353" fmla="*/ 870846 w 1317625"/>
              <a:gd name="connsiteY3353" fmla="*/ 12241 h 1344613"/>
              <a:gd name="connsiteX3354" fmla="*/ 871279 w 1317625"/>
              <a:gd name="connsiteY3354" fmla="*/ 10112 h 1344613"/>
              <a:gd name="connsiteX3355" fmla="*/ 879510 w 1317625"/>
              <a:gd name="connsiteY3355" fmla="*/ 14370 h 1344613"/>
              <a:gd name="connsiteX3356" fmla="*/ 880350 w 1317625"/>
              <a:gd name="connsiteY3356" fmla="*/ 14886 h 1344613"/>
              <a:gd name="connsiteX3357" fmla="*/ 882586 w 1317625"/>
              <a:gd name="connsiteY3357" fmla="*/ 15337 h 1344613"/>
              <a:gd name="connsiteX3358" fmla="*/ 885618 w 1317625"/>
              <a:gd name="connsiteY3358" fmla="*/ 16386 h 1344613"/>
              <a:gd name="connsiteX3359" fmla="*/ 887351 w 1317625"/>
              <a:gd name="connsiteY3359" fmla="*/ 17435 h 1344613"/>
              <a:gd name="connsiteX3360" fmla="*/ 886392 w 1317625"/>
              <a:gd name="connsiteY3360" fmla="*/ 18597 h 1344613"/>
              <a:gd name="connsiteX3361" fmla="*/ 887308 w 1317625"/>
              <a:gd name="connsiteY3361" fmla="*/ 19160 h 1344613"/>
              <a:gd name="connsiteX3362" fmla="*/ 891275 w 1317625"/>
              <a:gd name="connsiteY3362" fmla="*/ 22705 h 1344613"/>
              <a:gd name="connsiteX3363" fmla="*/ 892073 w 1317625"/>
              <a:gd name="connsiteY3363" fmla="*/ 22185 h 1344613"/>
              <a:gd name="connsiteX3364" fmla="*/ 892073 w 1317625"/>
              <a:gd name="connsiteY3364" fmla="*/ 10112 h 1344613"/>
              <a:gd name="connsiteX3365" fmla="*/ 903770 w 1317625"/>
              <a:gd name="connsiteY3365" fmla="*/ 10112 h 1344613"/>
              <a:gd name="connsiteX3366" fmla="*/ 912868 w 1317625"/>
              <a:gd name="connsiteY3366" fmla="*/ 10112 h 1344613"/>
              <a:gd name="connsiteX3367" fmla="*/ 919366 w 1317625"/>
              <a:gd name="connsiteY3367" fmla="*/ 10112 h 1344613"/>
              <a:gd name="connsiteX3368" fmla="*/ 923265 w 1317625"/>
              <a:gd name="connsiteY3368" fmla="*/ 10112 h 1344613"/>
              <a:gd name="connsiteX3369" fmla="*/ 927597 w 1317625"/>
              <a:gd name="connsiteY3369" fmla="*/ 10112 h 1344613"/>
              <a:gd name="connsiteX3370" fmla="*/ 931929 w 1317625"/>
              <a:gd name="connsiteY3370" fmla="*/ 10112 h 1344613"/>
              <a:gd name="connsiteX3371" fmla="*/ 933229 w 1317625"/>
              <a:gd name="connsiteY3371" fmla="*/ 9048 h 1344613"/>
              <a:gd name="connsiteX3372" fmla="*/ 934962 w 1317625"/>
              <a:gd name="connsiteY3372" fmla="*/ 8516 h 1344613"/>
              <a:gd name="connsiteX3373" fmla="*/ 936695 w 1317625"/>
              <a:gd name="connsiteY3373" fmla="*/ 7451 h 1344613"/>
              <a:gd name="connsiteX3374" fmla="*/ 937561 w 1317625"/>
              <a:gd name="connsiteY3374" fmla="*/ 6387 h 1344613"/>
              <a:gd name="connsiteX3375" fmla="*/ 938861 w 1317625"/>
              <a:gd name="connsiteY3375" fmla="*/ 7451 h 1344613"/>
              <a:gd name="connsiteX3376" fmla="*/ 940594 w 1317625"/>
              <a:gd name="connsiteY3376" fmla="*/ 7451 h 1344613"/>
              <a:gd name="connsiteX3377" fmla="*/ 941893 w 1317625"/>
              <a:gd name="connsiteY3377" fmla="*/ 6919 h 1344613"/>
              <a:gd name="connsiteX3378" fmla="*/ 943193 w 1317625"/>
              <a:gd name="connsiteY3378" fmla="*/ 5854 h 1344613"/>
              <a:gd name="connsiteX3379" fmla="*/ 944059 w 1317625"/>
              <a:gd name="connsiteY3379" fmla="*/ 4258 h 1344613"/>
              <a:gd name="connsiteX3380" fmla="*/ 945792 w 1317625"/>
              <a:gd name="connsiteY3380" fmla="*/ 3193 h 1344613"/>
              <a:gd name="connsiteX3381" fmla="*/ 946226 w 1317625"/>
              <a:gd name="connsiteY3381" fmla="*/ 1597 h 1344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Lst>
            <a:rect l="l" t="t" r="r" b="b"/>
            <a:pathLst>
              <a:path w="1317625" h="1344613">
                <a:moveTo>
                  <a:pt x="0" y="1287463"/>
                </a:moveTo>
                <a:lnTo>
                  <a:pt x="6350" y="1287463"/>
                </a:lnTo>
                <a:lnTo>
                  <a:pt x="6106" y="1306513"/>
                </a:lnTo>
                <a:lnTo>
                  <a:pt x="5861" y="1323976"/>
                </a:lnTo>
                <a:lnTo>
                  <a:pt x="5617" y="1330326"/>
                </a:lnTo>
                <a:lnTo>
                  <a:pt x="5617" y="1336676"/>
                </a:lnTo>
                <a:lnTo>
                  <a:pt x="5861" y="1341438"/>
                </a:lnTo>
                <a:lnTo>
                  <a:pt x="6350" y="1344613"/>
                </a:lnTo>
                <a:lnTo>
                  <a:pt x="1465" y="1344613"/>
                </a:lnTo>
                <a:lnTo>
                  <a:pt x="1221" y="1335088"/>
                </a:lnTo>
                <a:lnTo>
                  <a:pt x="733" y="1319213"/>
                </a:lnTo>
                <a:lnTo>
                  <a:pt x="244" y="1303338"/>
                </a:lnTo>
                <a:close/>
                <a:moveTo>
                  <a:pt x="110807" y="1277938"/>
                </a:moveTo>
                <a:lnTo>
                  <a:pt x="112712" y="1277938"/>
                </a:lnTo>
                <a:lnTo>
                  <a:pt x="110807" y="1281027"/>
                </a:lnTo>
                <a:lnTo>
                  <a:pt x="108426" y="1285661"/>
                </a:lnTo>
                <a:lnTo>
                  <a:pt x="106997" y="1289523"/>
                </a:lnTo>
                <a:lnTo>
                  <a:pt x="106045" y="1294156"/>
                </a:lnTo>
                <a:lnTo>
                  <a:pt x="103663" y="1301879"/>
                </a:lnTo>
                <a:lnTo>
                  <a:pt x="101758" y="1310375"/>
                </a:lnTo>
                <a:lnTo>
                  <a:pt x="100806" y="1314236"/>
                </a:lnTo>
                <a:lnTo>
                  <a:pt x="99377" y="1317325"/>
                </a:lnTo>
                <a:lnTo>
                  <a:pt x="97948" y="1321187"/>
                </a:lnTo>
                <a:lnTo>
                  <a:pt x="96043" y="1324276"/>
                </a:lnTo>
                <a:lnTo>
                  <a:pt x="93662" y="1328137"/>
                </a:lnTo>
                <a:lnTo>
                  <a:pt x="91281" y="1331227"/>
                </a:lnTo>
                <a:lnTo>
                  <a:pt x="87947" y="1333544"/>
                </a:lnTo>
                <a:lnTo>
                  <a:pt x="84137" y="1335088"/>
                </a:lnTo>
                <a:lnTo>
                  <a:pt x="86518" y="1324276"/>
                </a:lnTo>
                <a:lnTo>
                  <a:pt x="89852" y="1314236"/>
                </a:lnTo>
                <a:lnTo>
                  <a:pt x="93186" y="1304196"/>
                </a:lnTo>
                <a:lnTo>
                  <a:pt x="96996" y="1295701"/>
                </a:lnTo>
                <a:lnTo>
                  <a:pt x="101282" y="1288750"/>
                </a:lnTo>
                <a:lnTo>
                  <a:pt x="104616" y="1282572"/>
                </a:lnTo>
                <a:lnTo>
                  <a:pt x="106997" y="1280255"/>
                </a:lnTo>
                <a:lnTo>
                  <a:pt x="108902" y="1278710"/>
                </a:lnTo>
                <a:close/>
                <a:moveTo>
                  <a:pt x="773112" y="1069975"/>
                </a:moveTo>
                <a:lnTo>
                  <a:pt x="773112" y="1106070"/>
                </a:lnTo>
                <a:lnTo>
                  <a:pt x="773112" y="1127125"/>
                </a:lnTo>
                <a:lnTo>
                  <a:pt x="763588" y="1127125"/>
                </a:lnTo>
                <a:lnTo>
                  <a:pt x="758825" y="1127125"/>
                </a:lnTo>
                <a:lnTo>
                  <a:pt x="763588" y="1106070"/>
                </a:lnTo>
                <a:close/>
                <a:moveTo>
                  <a:pt x="1015206" y="1040131"/>
                </a:moveTo>
                <a:lnTo>
                  <a:pt x="1029815" y="1041997"/>
                </a:lnTo>
                <a:lnTo>
                  <a:pt x="1042764" y="1045729"/>
                </a:lnTo>
                <a:lnTo>
                  <a:pt x="1049405" y="1047595"/>
                </a:lnTo>
                <a:lnTo>
                  <a:pt x="1055381" y="1046662"/>
                </a:lnTo>
                <a:lnTo>
                  <a:pt x="1058370" y="1045729"/>
                </a:lnTo>
                <a:lnTo>
                  <a:pt x="1060694" y="1044796"/>
                </a:lnTo>
                <a:lnTo>
                  <a:pt x="1063350" y="1042930"/>
                </a:lnTo>
                <a:lnTo>
                  <a:pt x="1066006" y="1040131"/>
                </a:lnTo>
                <a:lnTo>
                  <a:pt x="1066006" y="1048528"/>
                </a:lnTo>
                <a:lnTo>
                  <a:pt x="1066006" y="1063457"/>
                </a:lnTo>
                <a:lnTo>
                  <a:pt x="1062686" y="1069055"/>
                </a:lnTo>
                <a:lnTo>
                  <a:pt x="1059366" y="1073721"/>
                </a:lnTo>
                <a:lnTo>
                  <a:pt x="1056377" y="1077453"/>
                </a:lnTo>
                <a:lnTo>
                  <a:pt x="1053057" y="1081185"/>
                </a:lnTo>
                <a:lnTo>
                  <a:pt x="1050401" y="1083051"/>
                </a:lnTo>
                <a:lnTo>
                  <a:pt x="1048077" y="1084917"/>
                </a:lnTo>
                <a:lnTo>
                  <a:pt x="1045753" y="1085850"/>
                </a:lnTo>
                <a:lnTo>
                  <a:pt x="1044093" y="1085850"/>
                </a:lnTo>
                <a:lnTo>
                  <a:pt x="1039112" y="1084917"/>
                </a:lnTo>
                <a:lnTo>
                  <a:pt x="1035128" y="1083051"/>
                </a:lnTo>
                <a:lnTo>
                  <a:pt x="1031808" y="1080252"/>
                </a:lnTo>
                <a:lnTo>
                  <a:pt x="1028819" y="1075587"/>
                </a:lnTo>
                <a:lnTo>
                  <a:pt x="1022511" y="1067189"/>
                </a:lnTo>
                <a:lnTo>
                  <a:pt x="1015206" y="1057859"/>
                </a:lnTo>
                <a:close/>
                <a:moveTo>
                  <a:pt x="719137" y="990600"/>
                </a:moveTo>
                <a:lnTo>
                  <a:pt x="759919" y="990600"/>
                </a:lnTo>
                <a:lnTo>
                  <a:pt x="765559" y="1000125"/>
                </a:lnTo>
                <a:lnTo>
                  <a:pt x="767729" y="996950"/>
                </a:lnTo>
                <a:lnTo>
                  <a:pt x="769898" y="994834"/>
                </a:lnTo>
                <a:lnTo>
                  <a:pt x="772067" y="993246"/>
                </a:lnTo>
                <a:lnTo>
                  <a:pt x="774236" y="992188"/>
                </a:lnTo>
                <a:lnTo>
                  <a:pt x="778575" y="991129"/>
                </a:lnTo>
                <a:lnTo>
                  <a:pt x="783347" y="990600"/>
                </a:lnTo>
                <a:lnTo>
                  <a:pt x="784649" y="990600"/>
                </a:lnTo>
                <a:lnTo>
                  <a:pt x="788987" y="990600"/>
                </a:lnTo>
                <a:lnTo>
                  <a:pt x="788987" y="1039284"/>
                </a:lnTo>
                <a:lnTo>
                  <a:pt x="786384" y="1039813"/>
                </a:lnTo>
                <a:lnTo>
                  <a:pt x="784215" y="1039813"/>
                </a:lnTo>
                <a:lnTo>
                  <a:pt x="782046" y="1039284"/>
                </a:lnTo>
                <a:lnTo>
                  <a:pt x="779876" y="1038755"/>
                </a:lnTo>
                <a:lnTo>
                  <a:pt x="775104" y="1037167"/>
                </a:lnTo>
                <a:lnTo>
                  <a:pt x="771199" y="1033992"/>
                </a:lnTo>
                <a:lnTo>
                  <a:pt x="767295" y="1030288"/>
                </a:lnTo>
                <a:lnTo>
                  <a:pt x="764258" y="1026055"/>
                </a:lnTo>
                <a:lnTo>
                  <a:pt x="761221" y="1021821"/>
                </a:lnTo>
                <a:lnTo>
                  <a:pt x="759919" y="1016530"/>
                </a:lnTo>
                <a:lnTo>
                  <a:pt x="759052" y="1017059"/>
                </a:lnTo>
                <a:lnTo>
                  <a:pt x="757750" y="1017588"/>
                </a:lnTo>
                <a:lnTo>
                  <a:pt x="756448" y="1017588"/>
                </a:lnTo>
                <a:lnTo>
                  <a:pt x="755581" y="1017588"/>
                </a:lnTo>
                <a:lnTo>
                  <a:pt x="752978" y="1017059"/>
                </a:lnTo>
                <a:lnTo>
                  <a:pt x="751242" y="1016530"/>
                </a:lnTo>
                <a:lnTo>
                  <a:pt x="747338" y="1016000"/>
                </a:lnTo>
                <a:lnTo>
                  <a:pt x="742999" y="1014413"/>
                </a:lnTo>
                <a:lnTo>
                  <a:pt x="738227" y="1011767"/>
                </a:lnTo>
                <a:lnTo>
                  <a:pt x="733020" y="1008592"/>
                </a:lnTo>
                <a:lnTo>
                  <a:pt x="728248" y="1004359"/>
                </a:lnTo>
                <a:lnTo>
                  <a:pt x="724343" y="1000125"/>
                </a:lnTo>
                <a:lnTo>
                  <a:pt x="722608" y="998009"/>
                </a:lnTo>
                <a:lnTo>
                  <a:pt x="721307" y="995363"/>
                </a:lnTo>
                <a:lnTo>
                  <a:pt x="720439" y="993246"/>
                </a:lnTo>
                <a:close/>
                <a:moveTo>
                  <a:pt x="1317625" y="959644"/>
                </a:moveTo>
                <a:lnTo>
                  <a:pt x="1316948" y="961607"/>
                </a:lnTo>
                <a:lnTo>
                  <a:pt x="1316271" y="962916"/>
                </a:lnTo>
                <a:lnTo>
                  <a:pt x="1314239" y="964224"/>
                </a:lnTo>
                <a:lnTo>
                  <a:pt x="1312885" y="965533"/>
                </a:lnTo>
                <a:lnTo>
                  <a:pt x="1308145" y="967496"/>
                </a:lnTo>
                <a:lnTo>
                  <a:pt x="1304759" y="968150"/>
                </a:lnTo>
                <a:lnTo>
                  <a:pt x="1304081" y="972076"/>
                </a:lnTo>
                <a:lnTo>
                  <a:pt x="1302727" y="976656"/>
                </a:lnTo>
                <a:lnTo>
                  <a:pt x="1302050" y="980582"/>
                </a:lnTo>
                <a:lnTo>
                  <a:pt x="1300695" y="983853"/>
                </a:lnTo>
                <a:lnTo>
                  <a:pt x="1299341" y="986470"/>
                </a:lnTo>
                <a:lnTo>
                  <a:pt x="1297309" y="989088"/>
                </a:lnTo>
                <a:lnTo>
                  <a:pt x="1293923" y="991705"/>
                </a:lnTo>
                <a:lnTo>
                  <a:pt x="1291215" y="994322"/>
                </a:lnTo>
                <a:lnTo>
                  <a:pt x="1284443" y="998248"/>
                </a:lnTo>
                <a:lnTo>
                  <a:pt x="1275639" y="1002173"/>
                </a:lnTo>
                <a:lnTo>
                  <a:pt x="1266158" y="1004791"/>
                </a:lnTo>
                <a:lnTo>
                  <a:pt x="1254646" y="1008062"/>
                </a:lnTo>
                <a:lnTo>
                  <a:pt x="1241102" y="988433"/>
                </a:lnTo>
                <a:lnTo>
                  <a:pt x="1254646" y="981236"/>
                </a:lnTo>
                <a:lnTo>
                  <a:pt x="1274285" y="972076"/>
                </a:lnTo>
                <a:lnTo>
                  <a:pt x="1285120" y="968150"/>
                </a:lnTo>
                <a:lnTo>
                  <a:pt x="1296632" y="964879"/>
                </a:lnTo>
                <a:lnTo>
                  <a:pt x="1307467" y="962261"/>
                </a:lnTo>
                <a:close/>
                <a:moveTo>
                  <a:pt x="492125" y="931863"/>
                </a:moveTo>
                <a:lnTo>
                  <a:pt x="495860" y="931863"/>
                </a:lnTo>
                <a:lnTo>
                  <a:pt x="501930" y="931863"/>
                </a:lnTo>
                <a:lnTo>
                  <a:pt x="503798" y="941194"/>
                </a:lnTo>
                <a:lnTo>
                  <a:pt x="506132" y="945859"/>
                </a:lnTo>
                <a:lnTo>
                  <a:pt x="506599" y="949358"/>
                </a:lnTo>
                <a:lnTo>
                  <a:pt x="507533" y="951691"/>
                </a:lnTo>
                <a:lnTo>
                  <a:pt x="507533" y="956356"/>
                </a:lnTo>
                <a:lnTo>
                  <a:pt x="508000" y="961021"/>
                </a:lnTo>
                <a:lnTo>
                  <a:pt x="508000" y="971518"/>
                </a:lnTo>
                <a:lnTo>
                  <a:pt x="508000" y="989013"/>
                </a:lnTo>
                <a:lnTo>
                  <a:pt x="505666" y="985514"/>
                </a:lnTo>
                <a:lnTo>
                  <a:pt x="503331" y="982015"/>
                </a:lnTo>
                <a:lnTo>
                  <a:pt x="500996" y="977350"/>
                </a:lnTo>
                <a:lnTo>
                  <a:pt x="498662" y="971518"/>
                </a:lnTo>
                <a:lnTo>
                  <a:pt x="496794" y="963354"/>
                </a:lnTo>
                <a:lnTo>
                  <a:pt x="495394" y="955190"/>
                </a:lnTo>
                <a:lnTo>
                  <a:pt x="493526" y="944693"/>
                </a:lnTo>
                <a:close/>
                <a:moveTo>
                  <a:pt x="1037139" y="887842"/>
                </a:moveTo>
                <a:lnTo>
                  <a:pt x="1034397" y="890987"/>
                </a:lnTo>
                <a:lnTo>
                  <a:pt x="1031824" y="893151"/>
                </a:lnTo>
                <a:lnTo>
                  <a:pt x="1028823" y="895315"/>
                </a:lnTo>
                <a:lnTo>
                  <a:pt x="1028721" y="895358"/>
                </a:lnTo>
                <a:lnTo>
                  <a:pt x="1028767" y="895350"/>
                </a:lnTo>
                <a:lnTo>
                  <a:pt x="1030997" y="894292"/>
                </a:lnTo>
                <a:lnTo>
                  <a:pt x="1033673" y="892175"/>
                </a:lnTo>
                <a:lnTo>
                  <a:pt x="1035457" y="890058"/>
                </a:lnTo>
                <a:close/>
                <a:moveTo>
                  <a:pt x="297880" y="880096"/>
                </a:moveTo>
                <a:lnTo>
                  <a:pt x="300037" y="880334"/>
                </a:lnTo>
                <a:lnTo>
                  <a:pt x="300037" y="883468"/>
                </a:lnTo>
                <a:lnTo>
                  <a:pt x="300037" y="886601"/>
                </a:lnTo>
                <a:lnTo>
                  <a:pt x="298317" y="889735"/>
                </a:lnTo>
                <a:lnTo>
                  <a:pt x="296168" y="897047"/>
                </a:lnTo>
                <a:lnTo>
                  <a:pt x="292728" y="908014"/>
                </a:lnTo>
                <a:lnTo>
                  <a:pt x="289288" y="919504"/>
                </a:lnTo>
                <a:lnTo>
                  <a:pt x="285419" y="931516"/>
                </a:lnTo>
                <a:lnTo>
                  <a:pt x="282839" y="942484"/>
                </a:lnTo>
                <a:lnTo>
                  <a:pt x="280689" y="951363"/>
                </a:lnTo>
                <a:lnTo>
                  <a:pt x="280680" y="951487"/>
                </a:lnTo>
                <a:lnTo>
                  <a:pt x="282752" y="942942"/>
                </a:lnTo>
                <a:lnTo>
                  <a:pt x="285357" y="931877"/>
                </a:lnTo>
                <a:lnTo>
                  <a:pt x="289266" y="919758"/>
                </a:lnTo>
                <a:lnTo>
                  <a:pt x="292740" y="908165"/>
                </a:lnTo>
                <a:lnTo>
                  <a:pt x="296215" y="897100"/>
                </a:lnTo>
                <a:lnTo>
                  <a:pt x="298386" y="889723"/>
                </a:lnTo>
                <a:lnTo>
                  <a:pt x="300123" y="886562"/>
                </a:lnTo>
                <a:lnTo>
                  <a:pt x="300123" y="883400"/>
                </a:lnTo>
                <a:lnTo>
                  <a:pt x="300123" y="880239"/>
                </a:lnTo>
                <a:close/>
                <a:moveTo>
                  <a:pt x="276985" y="876326"/>
                </a:moveTo>
                <a:lnTo>
                  <a:pt x="278110" y="876678"/>
                </a:lnTo>
                <a:lnTo>
                  <a:pt x="284129" y="878245"/>
                </a:lnTo>
                <a:lnTo>
                  <a:pt x="287561" y="878840"/>
                </a:lnTo>
                <a:lnTo>
                  <a:pt x="284055" y="878131"/>
                </a:lnTo>
                <a:close/>
                <a:moveTo>
                  <a:pt x="243161" y="867038"/>
                </a:moveTo>
                <a:lnTo>
                  <a:pt x="252743" y="869366"/>
                </a:lnTo>
                <a:lnTo>
                  <a:pt x="264781" y="872500"/>
                </a:lnTo>
                <a:lnTo>
                  <a:pt x="274220" y="875459"/>
                </a:lnTo>
                <a:lnTo>
                  <a:pt x="268420" y="873389"/>
                </a:lnTo>
                <a:lnTo>
                  <a:pt x="260168" y="870755"/>
                </a:lnTo>
                <a:lnTo>
                  <a:pt x="252351" y="868647"/>
                </a:lnTo>
                <a:lnTo>
                  <a:pt x="243665" y="867066"/>
                </a:lnTo>
                <a:close/>
                <a:moveTo>
                  <a:pt x="966221" y="866642"/>
                </a:moveTo>
                <a:lnTo>
                  <a:pt x="965798" y="866909"/>
                </a:lnTo>
                <a:lnTo>
                  <a:pt x="966732" y="869543"/>
                </a:lnTo>
                <a:close/>
                <a:moveTo>
                  <a:pt x="467671" y="853571"/>
                </a:moveTo>
                <a:lnTo>
                  <a:pt x="459254" y="854046"/>
                </a:lnTo>
                <a:lnTo>
                  <a:pt x="463417" y="857582"/>
                </a:lnTo>
                <a:lnTo>
                  <a:pt x="465648" y="859872"/>
                </a:lnTo>
                <a:close/>
                <a:moveTo>
                  <a:pt x="435162" y="844060"/>
                </a:moveTo>
                <a:lnTo>
                  <a:pt x="433383" y="844587"/>
                </a:lnTo>
                <a:lnTo>
                  <a:pt x="431605" y="845641"/>
                </a:lnTo>
                <a:lnTo>
                  <a:pt x="430773" y="846381"/>
                </a:lnTo>
                <a:lnTo>
                  <a:pt x="433885" y="848097"/>
                </a:lnTo>
                <a:lnTo>
                  <a:pt x="440516" y="850396"/>
                </a:lnTo>
                <a:lnTo>
                  <a:pt x="439609" y="849858"/>
                </a:lnTo>
                <a:lnTo>
                  <a:pt x="437830" y="848277"/>
                </a:lnTo>
                <a:lnTo>
                  <a:pt x="436496" y="846168"/>
                </a:lnTo>
                <a:close/>
                <a:moveTo>
                  <a:pt x="646112" y="833438"/>
                </a:moveTo>
                <a:lnTo>
                  <a:pt x="644803" y="849416"/>
                </a:lnTo>
                <a:lnTo>
                  <a:pt x="643929" y="866007"/>
                </a:lnTo>
                <a:lnTo>
                  <a:pt x="643493" y="873382"/>
                </a:lnTo>
                <a:lnTo>
                  <a:pt x="643493" y="880756"/>
                </a:lnTo>
                <a:lnTo>
                  <a:pt x="643929" y="883828"/>
                </a:lnTo>
                <a:lnTo>
                  <a:pt x="644366" y="886287"/>
                </a:lnTo>
                <a:lnTo>
                  <a:pt x="644803" y="888745"/>
                </a:lnTo>
                <a:lnTo>
                  <a:pt x="645389" y="889570"/>
                </a:lnTo>
                <a:lnTo>
                  <a:pt x="646876" y="891025"/>
                </a:lnTo>
                <a:lnTo>
                  <a:pt x="647720" y="892573"/>
                </a:lnTo>
                <a:lnTo>
                  <a:pt x="648564" y="894636"/>
                </a:lnTo>
                <a:lnTo>
                  <a:pt x="649830" y="898764"/>
                </a:lnTo>
                <a:lnTo>
                  <a:pt x="651096" y="903923"/>
                </a:lnTo>
                <a:lnTo>
                  <a:pt x="651518" y="908051"/>
                </a:lnTo>
                <a:lnTo>
                  <a:pt x="651940" y="912694"/>
                </a:lnTo>
                <a:lnTo>
                  <a:pt x="652784" y="917338"/>
                </a:lnTo>
                <a:lnTo>
                  <a:pt x="654050" y="921981"/>
                </a:lnTo>
                <a:lnTo>
                  <a:pt x="654050" y="937975"/>
                </a:lnTo>
                <a:lnTo>
                  <a:pt x="649408" y="946746"/>
                </a:lnTo>
                <a:lnTo>
                  <a:pt x="645610" y="953969"/>
                </a:lnTo>
                <a:lnTo>
                  <a:pt x="643078" y="957581"/>
                </a:lnTo>
                <a:lnTo>
                  <a:pt x="641812" y="961708"/>
                </a:lnTo>
                <a:lnTo>
                  <a:pt x="640968" y="965320"/>
                </a:lnTo>
                <a:lnTo>
                  <a:pt x="640124" y="969963"/>
                </a:lnTo>
                <a:lnTo>
                  <a:pt x="637592" y="967383"/>
                </a:lnTo>
                <a:lnTo>
                  <a:pt x="634638" y="964804"/>
                </a:lnTo>
                <a:lnTo>
                  <a:pt x="632528" y="961708"/>
                </a:lnTo>
                <a:lnTo>
                  <a:pt x="629996" y="958097"/>
                </a:lnTo>
                <a:lnTo>
                  <a:pt x="628308" y="954485"/>
                </a:lnTo>
                <a:lnTo>
                  <a:pt x="627042" y="950873"/>
                </a:lnTo>
                <a:lnTo>
                  <a:pt x="625354" y="946746"/>
                </a:lnTo>
                <a:lnTo>
                  <a:pt x="624088" y="943134"/>
                </a:lnTo>
                <a:lnTo>
                  <a:pt x="622400" y="934363"/>
                </a:lnTo>
                <a:lnTo>
                  <a:pt x="621134" y="925077"/>
                </a:lnTo>
                <a:lnTo>
                  <a:pt x="620712" y="915790"/>
                </a:lnTo>
                <a:lnTo>
                  <a:pt x="620712" y="906503"/>
                </a:lnTo>
                <a:lnTo>
                  <a:pt x="623244" y="906503"/>
                </a:lnTo>
                <a:lnTo>
                  <a:pt x="625354" y="905987"/>
                </a:lnTo>
                <a:lnTo>
                  <a:pt x="627464" y="905471"/>
                </a:lnTo>
                <a:lnTo>
                  <a:pt x="628730" y="904439"/>
                </a:lnTo>
                <a:lnTo>
                  <a:pt x="631684" y="901859"/>
                </a:lnTo>
                <a:lnTo>
                  <a:pt x="633794" y="898764"/>
                </a:lnTo>
                <a:lnTo>
                  <a:pt x="636326" y="895668"/>
                </a:lnTo>
                <a:lnTo>
                  <a:pt x="638014" y="892573"/>
                </a:lnTo>
                <a:lnTo>
                  <a:pt x="639637" y="890588"/>
                </a:lnTo>
                <a:lnTo>
                  <a:pt x="634325" y="890588"/>
                </a:lnTo>
                <a:lnTo>
                  <a:pt x="633452" y="889974"/>
                </a:lnTo>
                <a:lnTo>
                  <a:pt x="632143" y="889359"/>
                </a:lnTo>
                <a:lnTo>
                  <a:pt x="631270" y="887516"/>
                </a:lnTo>
                <a:lnTo>
                  <a:pt x="630396" y="886287"/>
                </a:lnTo>
                <a:lnTo>
                  <a:pt x="629087" y="882599"/>
                </a:lnTo>
                <a:lnTo>
                  <a:pt x="628650" y="878298"/>
                </a:lnTo>
                <a:lnTo>
                  <a:pt x="629087" y="872767"/>
                </a:lnTo>
                <a:lnTo>
                  <a:pt x="629960" y="864164"/>
                </a:lnTo>
                <a:lnTo>
                  <a:pt x="631270" y="856175"/>
                </a:lnTo>
                <a:lnTo>
                  <a:pt x="631706" y="852488"/>
                </a:lnTo>
                <a:lnTo>
                  <a:pt x="633016" y="851874"/>
                </a:lnTo>
                <a:lnTo>
                  <a:pt x="634762" y="849416"/>
                </a:lnTo>
                <a:lnTo>
                  <a:pt x="637381" y="845728"/>
                </a:lnTo>
                <a:lnTo>
                  <a:pt x="639564" y="842656"/>
                </a:lnTo>
                <a:lnTo>
                  <a:pt x="643929" y="835896"/>
                </a:lnTo>
                <a:close/>
                <a:moveTo>
                  <a:pt x="963430" y="831987"/>
                </a:moveTo>
                <a:lnTo>
                  <a:pt x="963173" y="833829"/>
                </a:lnTo>
                <a:lnTo>
                  <a:pt x="961418" y="836456"/>
                </a:lnTo>
                <a:lnTo>
                  <a:pt x="959663" y="839083"/>
                </a:lnTo>
                <a:lnTo>
                  <a:pt x="957908" y="840660"/>
                </a:lnTo>
                <a:lnTo>
                  <a:pt x="955275" y="842761"/>
                </a:lnTo>
                <a:lnTo>
                  <a:pt x="953519" y="843812"/>
                </a:lnTo>
                <a:lnTo>
                  <a:pt x="952642" y="845389"/>
                </a:lnTo>
                <a:lnTo>
                  <a:pt x="952203" y="846965"/>
                </a:lnTo>
                <a:lnTo>
                  <a:pt x="944743" y="849592"/>
                </a:lnTo>
                <a:lnTo>
                  <a:pt x="938599" y="852745"/>
                </a:lnTo>
                <a:lnTo>
                  <a:pt x="932895" y="856423"/>
                </a:lnTo>
                <a:lnTo>
                  <a:pt x="929087" y="859462"/>
                </a:lnTo>
                <a:lnTo>
                  <a:pt x="936565" y="854944"/>
                </a:lnTo>
                <a:lnTo>
                  <a:pt x="944672" y="850819"/>
                </a:lnTo>
                <a:lnTo>
                  <a:pt x="951925" y="847725"/>
                </a:lnTo>
                <a:lnTo>
                  <a:pt x="951925" y="852366"/>
                </a:lnTo>
                <a:lnTo>
                  <a:pt x="951925" y="857006"/>
                </a:lnTo>
                <a:lnTo>
                  <a:pt x="952351" y="860615"/>
                </a:lnTo>
                <a:lnTo>
                  <a:pt x="953205" y="864224"/>
                </a:lnTo>
                <a:lnTo>
                  <a:pt x="953590" y="864689"/>
                </a:lnTo>
                <a:lnTo>
                  <a:pt x="952929" y="861773"/>
                </a:lnTo>
                <a:lnTo>
                  <a:pt x="952500" y="856905"/>
                </a:lnTo>
                <a:lnTo>
                  <a:pt x="952500" y="852036"/>
                </a:lnTo>
                <a:lnTo>
                  <a:pt x="952500" y="847167"/>
                </a:lnTo>
                <a:lnTo>
                  <a:pt x="952929" y="845544"/>
                </a:lnTo>
                <a:lnTo>
                  <a:pt x="953787" y="844462"/>
                </a:lnTo>
                <a:lnTo>
                  <a:pt x="955502" y="843380"/>
                </a:lnTo>
                <a:lnTo>
                  <a:pt x="958074" y="842298"/>
                </a:lnTo>
                <a:lnTo>
                  <a:pt x="959789" y="841216"/>
                </a:lnTo>
                <a:lnTo>
                  <a:pt x="961505" y="839052"/>
                </a:lnTo>
                <a:lnTo>
                  <a:pt x="962362" y="837970"/>
                </a:lnTo>
                <a:lnTo>
                  <a:pt x="963220" y="836888"/>
                </a:lnTo>
                <a:lnTo>
                  <a:pt x="963220" y="835265"/>
                </a:lnTo>
                <a:lnTo>
                  <a:pt x="963648" y="833642"/>
                </a:lnTo>
                <a:close/>
                <a:moveTo>
                  <a:pt x="875829" y="813822"/>
                </a:moveTo>
                <a:lnTo>
                  <a:pt x="870435" y="822771"/>
                </a:lnTo>
                <a:lnTo>
                  <a:pt x="872337" y="820167"/>
                </a:lnTo>
                <a:lnTo>
                  <a:pt x="875848" y="813862"/>
                </a:lnTo>
                <a:close/>
                <a:moveTo>
                  <a:pt x="933873" y="780327"/>
                </a:moveTo>
                <a:lnTo>
                  <a:pt x="939477" y="785488"/>
                </a:lnTo>
                <a:lnTo>
                  <a:pt x="942549" y="789167"/>
                </a:lnTo>
                <a:lnTo>
                  <a:pt x="944743" y="792845"/>
                </a:lnTo>
                <a:lnTo>
                  <a:pt x="947376" y="797048"/>
                </a:lnTo>
                <a:lnTo>
                  <a:pt x="948692" y="801252"/>
                </a:lnTo>
                <a:lnTo>
                  <a:pt x="952203" y="801252"/>
                </a:lnTo>
                <a:lnTo>
                  <a:pt x="954836" y="801252"/>
                </a:lnTo>
                <a:lnTo>
                  <a:pt x="953524" y="803346"/>
                </a:lnTo>
                <a:lnTo>
                  <a:pt x="953787" y="803346"/>
                </a:lnTo>
                <a:lnTo>
                  <a:pt x="955073" y="803346"/>
                </a:lnTo>
                <a:lnTo>
                  <a:pt x="954473" y="804355"/>
                </a:lnTo>
                <a:lnTo>
                  <a:pt x="953297" y="803753"/>
                </a:lnTo>
                <a:lnTo>
                  <a:pt x="952642" y="804930"/>
                </a:lnTo>
                <a:lnTo>
                  <a:pt x="952203" y="805981"/>
                </a:lnTo>
                <a:lnTo>
                  <a:pt x="952642" y="807557"/>
                </a:lnTo>
                <a:lnTo>
                  <a:pt x="952732" y="807880"/>
                </a:lnTo>
                <a:lnTo>
                  <a:pt x="952929" y="807133"/>
                </a:lnTo>
                <a:lnTo>
                  <a:pt x="953787" y="805510"/>
                </a:lnTo>
                <a:lnTo>
                  <a:pt x="954473" y="804355"/>
                </a:lnTo>
                <a:lnTo>
                  <a:pt x="986374" y="820658"/>
                </a:lnTo>
                <a:lnTo>
                  <a:pt x="994092" y="817953"/>
                </a:lnTo>
                <a:lnTo>
                  <a:pt x="995701" y="817163"/>
                </a:lnTo>
                <a:lnTo>
                  <a:pt x="989954" y="819150"/>
                </a:lnTo>
                <a:lnTo>
                  <a:pt x="956609" y="802341"/>
                </a:lnTo>
                <a:lnTo>
                  <a:pt x="953232" y="798664"/>
                </a:lnTo>
                <a:lnTo>
                  <a:pt x="950278" y="794987"/>
                </a:lnTo>
                <a:lnTo>
                  <a:pt x="947323" y="791836"/>
                </a:lnTo>
                <a:lnTo>
                  <a:pt x="943946" y="788684"/>
                </a:lnTo>
                <a:lnTo>
                  <a:pt x="936349" y="782381"/>
                </a:lnTo>
                <a:close/>
                <a:moveTo>
                  <a:pt x="742915" y="763881"/>
                </a:moveTo>
                <a:lnTo>
                  <a:pt x="744285" y="764212"/>
                </a:lnTo>
                <a:lnTo>
                  <a:pt x="745153" y="765260"/>
                </a:lnTo>
                <a:lnTo>
                  <a:pt x="746021" y="766309"/>
                </a:lnTo>
                <a:lnTo>
                  <a:pt x="746889" y="768405"/>
                </a:lnTo>
                <a:lnTo>
                  <a:pt x="747323" y="771026"/>
                </a:lnTo>
                <a:lnTo>
                  <a:pt x="745587" y="768405"/>
                </a:lnTo>
                <a:lnTo>
                  <a:pt x="744285" y="766309"/>
                </a:lnTo>
                <a:lnTo>
                  <a:pt x="742983" y="764212"/>
                </a:lnTo>
                <a:close/>
                <a:moveTo>
                  <a:pt x="1072988" y="753394"/>
                </a:moveTo>
                <a:lnTo>
                  <a:pt x="1073105" y="753491"/>
                </a:lnTo>
                <a:lnTo>
                  <a:pt x="1075637" y="755592"/>
                </a:lnTo>
                <a:lnTo>
                  <a:pt x="1078592" y="758218"/>
                </a:lnTo>
                <a:lnTo>
                  <a:pt x="1081426" y="759100"/>
                </a:lnTo>
                <a:lnTo>
                  <a:pt x="1079120" y="757854"/>
                </a:lnTo>
                <a:lnTo>
                  <a:pt x="1076079" y="755742"/>
                </a:lnTo>
                <a:close/>
                <a:moveTo>
                  <a:pt x="1067759" y="747713"/>
                </a:moveTo>
                <a:lnTo>
                  <a:pt x="1068462" y="748763"/>
                </a:lnTo>
                <a:lnTo>
                  <a:pt x="1070572" y="751390"/>
                </a:lnTo>
                <a:lnTo>
                  <a:pt x="1072534" y="753017"/>
                </a:lnTo>
                <a:lnTo>
                  <a:pt x="1069563" y="749406"/>
                </a:lnTo>
                <a:lnTo>
                  <a:pt x="1070723" y="747713"/>
                </a:lnTo>
                <a:close/>
                <a:moveTo>
                  <a:pt x="623094" y="739678"/>
                </a:moveTo>
                <a:lnTo>
                  <a:pt x="620903" y="741759"/>
                </a:lnTo>
                <a:lnTo>
                  <a:pt x="622778" y="740627"/>
                </a:lnTo>
                <a:lnTo>
                  <a:pt x="623139" y="740191"/>
                </a:lnTo>
                <a:close/>
                <a:moveTo>
                  <a:pt x="805058" y="716926"/>
                </a:moveTo>
                <a:lnTo>
                  <a:pt x="800977" y="720363"/>
                </a:lnTo>
                <a:lnTo>
                  <a:pt x="802971" y="721960"/>
                </a:lnTo>
                <a:lnTo>
                  <a:pt x="805319" y="725488"/>
                </a:lnTo>
                <a:lnTo>
                  <a:pt x="807668" y="729016"/>
                </a:lnTo>
                <a:lnTo>
                  <a:pt x="808972" y="730897"/>
                </a:lnTo>
                <a:lnTo>
                  <a:pt x="809190" y="730713"/>
                </a:lnTo>
                <a:lnTo>
                  <a:pt x="812235" y="728663"/>
                </a:lnTo>
                <a:lnTo>
                  <a:pt x="816584" y="732764"/>
                </a:lnTo>
                <a:lnTo>
                  <a:pt x="820933" y="735839"/>
                </a:lnTo>
                <a:lnTo>
                  <a:pt x="825718" y="739427"/>
                </a:lnTo>
                <a:lnTo>
                  <a:pt x="830502" y="741990"/>
                </a:lnTo>
                <a:lnTo>
                  <a:pt x="835286" y="744552"/>
                </a:lnTo>
                <a:lnTo>
                  <a:pt x="840940" y="746090"/>
                </a:lnTo>
                <a:lnTo>
                  <a:pt x="846594" y="747628"/>
                </a:lnTo>
                <a:lnTo>
                  <a:pt x="853118" y="747628"/>
                </a:lnTo>
                <a:lnTo>
                  <a:pt x="857033" y="747115"/>
                </a:lnTo>
                <a:lnTo>
                  <a:pt x="860077" y="746090"/>
                </a:lnTo>
                <a:lnTo>
                  <a:pt x="863557" y="745065"/>
                </a:lnTo>
                <a:lnTo>
                  <a:pt x="865029" y="744872"/>
                </a:lnTo>
                <a:lnTo>
                  <a:pt x="864928" y="744538"/>
                </a:lnTo>
                <a:lnTo>
                  <a:pt x="841873" y="744538"/>
                </a:lnTo>
                <a:lnTo>
                  <a:pt x="835823" y="741498"/>
                </a:lnTo>
                <a:lnTo>
                  <a:pt x="830206" y="738458"/>
                </a:lnTo>
                <a:lnTo>
                  <a:pt x="825453" y="734912"/>
                </a:lnTo>
                <a:lnTo>
                  <a:pt x="820700" y="731872"/>
                </a:lnTo>
                <a:lnTo>
                  <a:pt x="815947" y="727819"/>
                </a:lnTo>
                <a:lnTo>
                  <a:pt x="811626" y="723765"/>
                </a:lnTo>
                <a:lnTo>
                  <a:pt x="806872" y="718699"/>
                </a:lnTo>
                <a:close/>
                <a:moveTo>
                  <a:pt x="880446" y="673940"/>
                </a:moveTo>
                <a:lnTo>
                  <a:pt x="880100" y="673966"/>
                </a:lnTo>
                <a:lnTo>
                  <a:pt x="878077" y="675175"/>
                </a:lnTo>
                <a:close/>
                <a:moveTo>
                  <a:pt x="1046103" y="668088"/>
                </a:moveTo>
                <a:lnTo>
                  <a:pt x="1043927" y="669180"/>
                </a:lnTo>
                <a:lnTo>
                  <a:pt x="1060252" y="678131"/>
                </a:lnTo>
                <a:lnTo>
                  <a:pt x="1072307" y="684316"/>
                </a:lnTo>
                <a:lnTo>
                  <a:pt x="1084362" y="700810"/>
                </a:lnTo>
                <a:lnTo>
                  <a:pt x="1093292" y="716272"/>
                </a:lnTo>
                <a:lnTo>
                  <a:pt x="1104900" y="729158"/>
                </a:lnTo>
                <a:lnTo>
                  <a:pt x="1087041" y="732250"/>
                </a:lnTo>
                <a:lnTo>
                  <a:pt x="1075432" y="735343"/>
                </a:lnTo>
                <a:lnTo>
                  <a:pt x="1075432" y="740844"/>
                </a:lnTo>
                <a:lnTo>
                  <a:pt x="1078251" y="736733"/>
                </a:lnTo>
                <a:lnTo>
                  <a:pt x="1089547" y="733564"/>
                </a:lnTo>
                <a:lnTo>
                  <a:pt x="1106924" y="730396"/>
                </a:lnTo>
                <a:lnTo>
                  <a:pt x="1095629" y="717195"/>
                </a:lnTo>
                <a:lnTo>
                  <a:pt x="1086940" y="701354"/>
                </a:lnTo>
                <a:lnTo>
                  <a:pt x="1075210" y="684457"/>
                </a:lnTo>
                <a:lnTo>
                  <a:pt x="1063480" y="678120"/>
                </a:lnTo>
                <a:close/>
                <a:moveTo>
                  <a:pt x="818540" y="648759"/>
                </a:moveTo>
                <a:lnTo>
                  <a:pt x="819112" y="649143"/>
                </a:lnTo>
                <a:lnTo>
                  <a:pt x="820830" y="650298"/>
                </a:lnTo>
                <a:lnTo>
                  <a:pt x="822977" y="652607"/>
                </a:lnTo>
                <a:lnTo>
                  <a:pt x="825125" y="654339"/>
                </a:lnTo>
                <a:lnTo>
                  <a:pt x="827272" y="655493"/>
                </a:lnTo>
                <a:lnTo>
                  <a:pt x="829420" y="656648"/>
                </a:lnTo>
                <a:lnTo>
                  <a:pt x="831567" y="657225"/>
                </a:lnTo>
                <a:lnTo>
                  <a:pt x="833715" y="657802"/>
                </a:lnTo>
                <a:lnTo>
                  <a:pt x="835433" y="657802"/>
                </a:lnTo>
                <a:lnTo>
                  <a:pt x="837580" y="657225"/>
                </a:lnTo>
                <a:lnTo>
                  <a:pt x="839298" y="656648"/>
                </a:lnTo>
                <a:lnTo>
                  <a:pt x="839585" y="656519"/>
                </a:lnTo>
                <a:lnTo>
                  <a:pt x="838991" y="656696"/>
                </a:lnTo>
                <a:lnTo>
                  <a:pt x="836771" y="657226"/>
                </a:lnTo>
                <a:lnTo>
                  <a:pt x="834995" y="657226"/>
                </a:lnTo>
                <a:lnTo>
                  <a:pt x="832775" y="656696"/>
                </a:lnTo>
                <a:lnTo>
                  <a:pt x="830555" y="656167"/>
                </a:lnTo>
                <a:lnTo>
                  <a:pt x="828335" y="655109"/>
                </a:lnTo>
                <a:lnTo>
                  <a:pt x="826115" y="654051"/>
                </a:lnTo>
                <a:lnTo>
                  <a:pt x="823895" y="652463"/>
                </a:lnTo>
                <a:lnTo>
                  <a:pt x="821676" y="650346"/>
                </a:lnTo>
                <a:lnTo>
                  <a:pt x="819900" y="649288"/>
                </a:lnTo>
                <a:lnTo>
                  <a:pt x="819012" y="648759"/>
                </a:lnTo>
                <a:close/>
                <a:moveTo>
                  <a:pt x="861741" y="638002"/>
                </a:moveTo>
                <a:lnTo>
                  <a:pt x="859415" y="639234"/>
                </a:lnTo>
                <a:lnTo>
                  <a:pt x="859240" y="639339"/>
                </a:lnTo>
                <a:lnTo>
                  <a:pt x="861202" y="638752"/>
                </a:lnTo>
                <a:lnTo>
                  <a:pt x="862920" y="638175"/>
                </a:lnTo>
                <a:lnTo>
                  <a:pt x="863832" y="638175"/>
                </a:lnTo>
                <a:close/>
                <a:moveTo>
                  <a:pt x="707626" y="617607"/>
                </a:moveTo>
                <a:lnTo>
                  <a:pt x="709562" y="623001"/>
                </a:lnTo>
                <a:lnTo>
                  <a:pt x="712062" y="629337"/>
                </a:lnTo>
                <a:lnTo>
                  <a:pt x="713313" y="632505"/>
                </a:lnTo>
                <a:lnTo>
                  <a:pt x="715397" y="635673"/>
                </a:lnTo>
                <a:lnTo>
                  <a:pt x="717898" y="639369"/>
                </a:lnTo>
                <a:lnTo>
                  <a:pt x="720815" y="643593"/>
                </a:lnTo>
                <a:lnTo>
                  <a:pt x="724984" y="647289"/>
                </a:lnTo>
                <a:lnTo>
                  <a:pt x="729985" y="651513"/>
                </a:lnTo>
                <a:lnTo>
                  <a:pt x="736237" y="655737"/>
                </a:lnTo>
                <a:lnTo>
                  <a:pt x="743740" y="660489"/>
                </a:lnTo>
                <a:lnTo>
                  <a:pt x="738321" y="662073"/>
                </a:lnTo>
                <a:lnTo>
                  <a:pt x="732903" y="663657"/>
                </a:lnTo>
                <a:lnTo>
                  <a:pt x="732903" y="667353"/>
                </a:lnTo>
                <a:lnTo>
                  <a:pt x="732069" y="672104"/>
                </a:lnTo>
                <a:lnTo>
                  <a:pt x="731652" y="674744"/>
                </a:lnTo>
                <a:lnTo>
                  <a:pt x="730819" y="676856"/>
                </a:lnTo>
                <a:lnTo>
                  <a:pt x="729152" y="678968"/>
                </a:lnTo>
                <a:lnTo>
                  <a:pt x="727484" y="680024"/>
                </a:lnTo>
                <a:lnTo>
                  <a:pt x="728318" y="683192"/>
                </a:lnTo>
                <a:lnTo>
                  <a:pt x="729985" y="686360"/>
                </a:lnTo>
                <a:lnTo>
                  <a:pt x="732903" y="690056"/>
                </a:lnTo>
                <a:lnTo>
                  <a:pt x="735821" y="693224"/>
                </a:lnTo>
                <a:lnTo>
                  <a:pt x="728735" y="694280"/>
                </a:lnTo>
                <a:lnTo>
                  <a:pt x="720815" y="695336"/>
                </a:lnTo>
                <a:lnTo>
                  <a:pt x="712062" y="696392"/>
                </a:lnTo>
                <a:lnTo>
                  <a:pt x="702893" y="696920"/>
                </a:lnTo>
                <a:lnTo>
                  <a:pt x="692889" y="697448"/>
                </a:lnTo>
                <a:lnTo>
                  <a:pt x="682886" y="697448"/>
                </a:lnTo>
                <a:lnTo>
                  <a:pt x="672883" y="696920"/>
                </a:lnTo>
                <a:lnTo>
                  <a:pt x="663296" y="696392"/>
                </a:lnTo>
                <a:lnTo>
                  <a:pt x="661491" y="696512"/>
                </a:lnTo>
                <a:lnTo>
                  <a:pt x="650859" y="713906"/>
                </a:lnTo>
                <a:lnTo>
                  <a:pt x="650859" y="715704"/>
                </a:lnTo>
                <a:lnTo>
                  <a:pt x="650018" y="717502"/>
                </a:lnTo>
                <a:lnTo>
                  <a:pt x="649176" y="718700"/>
                </a:lnTo>
                <a:lnTo>
                  <a:pt x="648756" y="719899"/>
                </a:lnTo>
                <a:lnTo>
                  <a:pt x="647073" y="722297"/>
                </a:lnTo>
                <a:lnTo>
                  <a:pt x="646652" y="723495"/>
                </a:lnTo>
                <a:lnTo>
                  <a:pt x="646652" y="724694"/>
                </a:lnTo>
                <a:lnTo>
                  <a:pt x="647073" y="725293"/>
                </a:lnTo>
                <a:lnTo>
                  <a:pt x="647914" y="725293"/>
                </a:lnTo>
                <a:lnTo>
                  <a:pt x="649597" y="725893"/>
                </a:lnTo>
                <a:lnTo>
                  <a:pt x="655486" y="727092"/>
                </a:lnTo>
                <a:lnTo>
                  <a:pt x="665162" y="728290"/>
                </a:lnTo>
                <a:lnTo>
                  <a:pt x="663059" y="728890"/>
                </a:lnTo>
                <a:lnTo>
                  <a:pt x="659273" y="731287"/>
                </a:lnTo>
                <a:lnTo>
                  <a:pt x="655486" y="734284"/>
                </a:lnTo>
                <a:lnTo>
                  <a:pt x="650859" y="739079"/>
                </a:lnTo>
                <a:lnTo>
                  <a:pt x="646231" y="743275"/>
                </a:lnTo>
                <a:lnTo>
                  <a:pt x="644682" y="744820"/>
                </a:lnTo>
                <a:lnTo>
                  <a:pt x="646646" y="744820"/>
                </a:lnTo>
                <a:lnTo>
                  <a:pt x="648381" y="742199"/>
                </a:lnTo>
                <a:lnTo>
                  <a:pt x="652287" y="739055"/>
                </a:lnTo>
                <a:lnTo>
                  <a:pt x="657060" y="735386"/>
                </a:lnTo>
                <a:lnTo>
                  <a:pt x="662268" y="731717"/>
                </a:lnTo>
                <a:lnTo>
                  <a:pt x="667909" y="727524"/>
                </a:lnTo>
                <a:lnTo>
                  <a:pt x="672683" y="724903"/>
                </a:lnTo>
                <a:lnTo>
                  <a:pt x="676154" y="722807"/>
                </a:lnTo>
                <a:lnTo>
                  <a:pt x="678324" y="722283"/>
                </a:lnTo>
                <a:lnTo>
                  <a:pt x="706965" y="719138"/>
                </a:lnTo>
                <a:lnTo>
                  <a:pt x="708701" y="721235"/>
                </a:lnTo>
                <a:lnTo>
                  <a:pt x="710871" y="723331"/>
                </a:lnTo>
                <a:lnTo>
                  <a:pt x="712606" y="724903"/>
                </a:lnTo>
                <a:lnTo>
                  <a:pt x="714776" y="725952"/>
                </a:lnTo>
                <a:lnTo>
                  <a:pt x="718682" y="727524"/>
                </a:lnTo>
                <a:lnTo>
                  <a:pt x="724323" y="729096"/>
                </a:lnTo>
                <a:lnTo>
                  <a:pt x="726189" y="729186"/>
                </a:lnTo>
                <a:lnTo>
                  <a:pt x="723036" y="728191"/>
                </a:lnTo>
                <a:lnTo>
                  <a:pt x="718144" y="726646"/>
                </a:lnTo>
                <a:lnTo>
                  <a:pt x="714142" y="724587"/>
                </a:lnTo>
                <a:lnTo>
                  <a:pt x="711919" y="723042"/>
                </a:lnTo>
                <a:lnTo>
                  <a:pt x="710140" y="721497"/>
                </a:lnTo>
                <a:lnTo>
                  <a:pt x="707917" y="719438"/>
                </a:lnTo>
                <a:lnTo>
                  <a:pt x="706138" y="717379"/>
                </a:lnTo>
                <a:lnTo>
                  <a:pt x="679903" y="720468"/>
                </a:lnTo>
                <a:lnTo>
                  <a:pt x="669676" y="721497"/>
                </a:lnTo>
                <a:lnTo>
                  <a:pt x="662561" y="721497"/>
                </a:lnTo>
                <a:lnTo>
                  <a:pt x="660338" y="721497"/>
                </a:lnTo>
                <a:lnTo>
                  <a:pt x="659004" y="721497"/>
                </a:lnTo>
                <a:lnTo>
                  <a:pt x="657670" y="720983"/>
                </a:lnTo>
                <a:lnTo>
                  <a:pt x="657225" y="720468"/>
                </a:lnTo>
                <a:lnTo>
                  <a:pt x="657670" y="716864"/>
                </a:lnTo>
                <a:lnTo>
                  <a:pt x="659004" y="711200"/>
                </a:lnTo>
                <a:lnTo>
                  <a:pt x="674123" y="701933"/>
                </a:lnTo>
                <a:lnTo>
                  <a:pt x="680348" y="702962"/>
                </a:lnTo>
                <a:lnTo>
                  <a:pt x="686128" y="703477"/>
                </a:lnTo>
                <a:lnTo>
                  <a:pt x="691464" y="703992"/>
                </a:lnTo>
                <a:lnTo>
                  <a:pt x="696356" y="703992"/>
                </a:lnTo>
                <a:lnTo>
                  <a:pt x="705249" y="703477"/>
                </a:lnTo>
                <a:lnTo>
                  <a:pt x="712808" y="701933"/>
                </a:lnTo>
                <a:lnTo>
                  <a:pt x="726148" y="698329"/>
                </a:lnTo>
                <a:lnTo>
                  <a:pt x="739044" y="695239"/>
                </a:lnTo>
                <a:lnTo>
                  <a:pt x="735931" y="692150"/>
                </a:lnTo>
                <a:lnTo>
                  <a:pt x="732818" y="688546"/>
                </a:lnTo>
                <a:lnTo>
                  <a:pt x="731040" y="685457"/>
                </a:lnTo>
                <a:lnTo>
                  <a:pt x="730150" y="682368"/>
                </a:lnTo>
                <a:lnTo>
                  <a:pt x="731929" y="681338"/>
                </a:lnTo>
                <a:lnTo>
                  <a:pt x="733708" y="679279"/>
                </a:lnTo>
                <a:lnTo>
                  <a:pt x="734597" y="677219"/>
                </a:lnTo>
                <a:lnTo>
                  <a:pt x="735042" y="674645"/>
                </a:lnTo>
                <a:lnTo>
                  <a:pt x="735931" y="670011"/>
                </a:lnTo>
                <a:lnTo>
                  <a:pt x="735931" y="666407"/>
                </a:lnTo>
                <a:lnTo>
                  <a:pt x="741712" y="664862"/>
                </a:lnTo>
                <a:lnTo>
                  <a:pt x="747492" y="663318"/>
                </a:lnTo>
                <a:lnTo>
                  <a:pt x="791959" y="654050"/>
                </a:lnTo>
                <a:lnTo>
                  <a:pt x="799073" y="658169"/>
                </a:lnTo>
                <a:lnTo>
                  <a:pt x="803965" y="661258"/>
                </a:lnTo>
                <a:lnTo>
                  <a:pt x="805743" y="662803"/>
                </a:lnTo>
                <a:lnTo>
                  <a:pt x="808856" y="664347"/>
                </a:lnTo>
                <a:lnTo>
                  <a:pt x="811524" y="665377"/>
                </a:lnTo>
                <a:lnTo>
                  <a:pt x="814387" y="666114"/>
                </a:lnTo>
                <a:lnTo>
                  <a:pt x="814387" y="664997"/>
                </a:lnTo>
                <a:lnTo>
                  <a:pt x="811020" y="664105"/>
                </a:lnTo>
                <a:lnTo>
                  <a:pt x="808356" y="663046"/>
                </a:lnTo>
                <a:lnTo>
                  <a:pt x="805248" y="661459"/>
                </a:lnTo>
                <a:lnTo>
                  <a:pt x="803472" y="659871"/>
                </a:lnTo>
                <a:lnTo>
                  <a:pt x="798588" y="656696"/>
                </a:lnTo>
                <a:lnTo>
                  <a:pt x="791484" y="652463"/>
                </a:lnTo>
                <a:lnTo>
                  <a:pt x="747084" y="661988"/>
                </a:lnTo>
                <a:lnTo>
                  <a:pt x="739092" y="657226"/>
                </a:lnTo>
                <a:lnTo>
                  <a:pt x="732432" y="652992"/>
                </a:lnTo>
                <a:lnTo>
                  <a:pt x="727104" y="648759"/>
                </a:lnTo>
                <a:lnTo>
                  <a:pt x="722664" y="645055"/>
                </a:lnTo>
                <a:lnTo>
                  <a:pt x="719556" y="640821"/>
                </a:lnTo>
                <a:lnTo>
                  <a:pt x="716892" y="637117"/>
                </a:lnTo>
                <a:lnTo>
                  <a:pt x="714672" y="633942"/>
                </a:lnTo>
                <a:lnTo>
                  <a:pt x="713340" y="630767"/>
                </a:lnTo>
                <a:lnTo>
                  <a:pt x="710676" y="624417"/>
                </a:lnTo>
                <a:lnTo>
                  <a:pt x="708456" y="618596"/>
                </a:lnTo>
                <a:close/>
                <a:moveTo>
                  <a:pt x="468069" y="581025"/>
                </a:moveTo>
                <a:lnTo>
                  <a:pt x="468069" y="593676"/>
                </a:lnTo>
                <a:lnTo>
                  <a:pt x="476518" y="597893"/>
                </a:lnTo>
                <a:lnTo>
                  <a:pt x="484523" y="602110"/>
                </a:lnTo>
                <a:lnTo>
                  <a:pt x="492527" y="607381"/>
                </a:lnTo>
                <a:lnTo>
                  <a:pt x="500087" y="613180"/>
                </a:lnTo>
                <a:lnTo>
                  <a:pt x="508091" y="618978"/>
                </a:lnTo>
                <a:lnTo>
                  <a:pt x="516096" y="623722"/>
                </a:lnTo>
                <a:lnTo>
                  <a:pt x="524100" y="628466"/>
                </a:lnTo>
                <a:lnTo>
                  <a:pt x="532994" y="632683"/>
                </a:lnTo>
                <a:lnTo>
                  <a:pt x="536107" y="634265"/>
                </a:lnTo>
                <a:lnTo>
                  <a:pt x="542333" y="637427"/>
                </a:lnTo>
                <a:lnTo>
                  <a:pt x="546335" y="639536"/>
                </a:lnTo>
                <a:lnTo>
                  <a:pt x="549892" y="641117"/>
                </a:lnTo>
                <a:lnTo>
                  <a:pt x="553895" y="642171"/>
                </a:lnTo>
                <a:lnTo>
                  <a:pt x="556563" y="642699"/>
                </a:lnTo>
                <a:lnTo>
                  <a:pt x="565457" y="643226"/>
                </a:lnTo>
                <a:lnTo>
                  <a:pt x="569957" y="644068"/>
                </a:lnTo>
                <a:lnTo>
                  <a:pt x="570740" y="636080"/>
                </a:lnTo>
                <a:lnTo>
                  <a:pt x="570326" y="631254"/>
                </a:lnTo>
                <a:lnTo>
                  <a:pt x="570740" y="630048"/>
                </a:lnTo>
                <a:lnTo>
                  <a:pt x="571155" y="630048"/>
                </a:lnTo>
                <a:lnTo>
                  <a:pt x="572397" y="628841"/>
                </a:lnTo>
                <a:lnTo>
                  <a:pt x="575296" y="628841"/>
                </a:lnTo>
                <a:lnTo>
                  <a:pt x="588962" y="614363"/>
                </a:lnTo>
                <a:lnTo>
                  <a:pt x="588962" y="648083"/>
                </a:lnTo>
                <a:lnTo>
                  <a:pt x="592138" y="649024"/>
                </a:lnTo>
                <a:lnTo>
                  <a:pt x="589470" y="652714"/>
                </a:lnTo>
                <a:lnTo>
                  <a:pt x="588962" y="654068"/>
                </a:lnTo>
                <a:lnTo>
                  <a:pt x="588962" y="674688"/>
                </a:lnTo>
                <a:lnTo>
                  <a:pt x="586477" y="673482"/>
                </a:lnTo>
                <a:lnTo>
                  <a:pt x="583633" y="668746"/>
                </a:lnTo>
                <a:lnTo>
                  <a:pt x="580576" y="680651"/>
                </a:lnTo>
                <a:lnTo>
                  <a:pt x="576574" y="692775"/>
                </a:lnTo>
                <a:lnTo>
                  <a:pt x="572572" y="705426"/>
                </a:lnTo>
                <a:lnTo>
                  <a:pt x="567680" y="715969"/>
                </a:lnTo>
                <a:lnTo>
                  <a:pt x="565457" y="720713"/>
                </a:lnTo>
                <a:lnTo>
                  <a:pt x="562789" y="724403"/>
                </a:lnTo>
                <a:lnTo>
                  <a:pt x="559676" y="728093"/>
                </a:lnTo>
                <a:lnTo>
                  <a:pt x="556563" y="730201"/>
                </a:lnTo>
                <a:lnTo>
                  <a:pt x="557008" y="731782"/>
                </a:lnTo>
                <a:lnTo>
                  <a:pt x="558342" y="733891"/>
                </a:lnTo>
                <a:lnTo>
                  <a:pt x="560565" y="735999"/>
                </a:lnTo>
                <a:lnTo>
                  <a:pt x="563233" y="738108"/>
                </a:lnTo>
                <a:lnTo>
                  <a:pt x="566346" y="739689"/>
                </a:lnTo>
                <a:lnTo>
                  <a:pt x="569014" y="741271"/>
                </a:lnTo>
                <a:lnTo>
                  <a:pt x="571682" y="742852"/>
                </a:lnTo>
                <a:lnTo>
                  <a:pt x="573906" y="742852"/>
                </a:lnTo>
                <a:lnTo>
                  <a:pt x="573906" y="752867"/>
                </a:lnTo>
                <a:lnTo>
                  <a:pt x="573906" y="757084"/>
                </a:lnTo>
                <a:lnTo>
                  <a:pt x="573461" y="760247"/>
                </a:lnTo>
                <a:lnTo>
                  <a:pt x="573461" y="762356"/>
                </a:lnTo>
                <a:lnTo>
                  <a:pt x="572572" y="763937"/>
                </a:lnTo>
                <a:lnTo>
                  <a:pt x="571682" y="767100"/>
                </a:lnTo>
                <a:lnTo>
                  <a:pt x="571238" y="772371"/>
                </a:lnTo>
                <a:lnTo>
                  <a:pt x="571682" y="777115"/>
                </a:lnTo>
                <a:lnTo>
                  <a:pt x="571682" y="781859"/>
                </a:lnTo>
                <a:lnTo>
                  <a:pt x="572572" y="787130"/>
                </a:lnTo>
                <a:lnTo>
                  <a:pt x="573461" y="791347"/>
                </a:lnTo>
                <a:lnTo>
                  <a:pt x="574350" y="796092"/>
                </a:lnTo>
                <a:lnTo>
                  <a:pt x="576574" y="800309"/>
                </a:lnTo>
                <a:lnTo>
                  <a:pt x="577908" y="803998"/>
                </a:lnTo>
                <a:lnTo>
                  <a:pt x="580576" y="807688"/>
                </a:lnTo>
                <a:lnTo>
                  <a:pt x="573461" y="815068"/>
                </a:lnTo>
                <a:lnTo>
                  <a:pt x="567235" y="821921"/>
                </a:lnTo>
                <a:lnTo>
                  <a:pt x="560565" y="828246"/>
                </a:lnTo>
                <a:lnTo>
                  <a:pt x="553450" y="834044"/>
                </a:lnTo>
                <a:lnTo>
                  <a:pt x="549892" y="836153"/>
                </a:lnTo>
                <a:lnTo>
                  <a:pt x="546335" y="837734"/>
                </a:lnTo>
                <a:lnTo>
                  <a:pt x="541888" y="838789"/>
                </a:lnTo>
                <a:lnTo>
                  <a:pt x="537886" y="838789"/>
                </a:lnTo>
                <a:lnTo>
                  <a:pt x="533439" y="838261"/>
                </a:lnTo>
                <a:lnTo>
                  <a:pt x="528547" y="836680"/>
                </a:lnTo>
                <a:lnTo>
                  <a:pt x="523211" y="834572"/>
                </a:lnTo>
                <a:lnTo>
                  <a:pt x="517875" y="830882"/>
                </a:lnTo>
                <a:lnTo>
                  <a:pt x="513428" y="826665"/>
                </a:lnTo>
                <a:lnTo>
                  <a:pt x="508981" y="823502"/>
                </a:lnTo>
                <a:lnTo>
                  <a:pt x="507202" y="822448"/>
                </a:lnTo>
                <a:lnTo>
                  <a:pt x="504534" y="821921"/>
                </a:lnTo>
                <a:lnTo>
                  <a:pt x="502755" y="821393"/>
                </a:lnTo>
                <a:lnTo>
                  <a:pt x="500087" y="821393"/>
                </a:lnTo>
                <a:lnTo>
                  <a:pt x="496974" y="821393"/>
                </a:lnTo>
                <a:lnTo>
                  <a:pt x="493861" y="821921"/>
                </a:lnTo>
                <a:lnTo>
                  <a:pt x="490749" y="822975"/>
                </a:lnTo>
                <a:lnTo>
                  <a:pt x="487636" y="824556"/>
                </a:lnTo>
                <a:lnTo>
                  <a:pt x="484968" y="826138"/>
                </a:lnTo>
                <a:lnTo>
                  <a:pt x="482299" y="827719"/>
                </a:lnTo>
                <a:lnTo>
                  <a:pt x="479631" y="829827"/>
                </a:lnTo>
                <a:lnTo>
                  <a:pt x="477408" y="832463"/>
                </a:lnTo>
                <a:lnTo>
                  <a:pt x="473406" y="837207"/>
                </a:lnTo>
                <a:lnTo>
                  <a:pt x="470293" y="842478"/>
                </a:lnTo>
                <a:lnTo>
                  <a:pt x="469403" y="846168"/>
                </a:lnTo>
                <a:lnTo>
                  <a:pt x="468514" y="848804"/>
                </a:lnTo>
                <a:lnTo>
                  <a:pt x="468069" y="850912"/>
                </a:lnTo>
                <a:lnTo>
                  <a:pt x="468069" y="852330"/>
                </a:lnTo>
                <a:lnTo>
                  <a:pt x="469547" y="847725"/>
                </a:lnTo>
                <a:lnTo>
                  <a:pt x="473026" y="860084"/>
                </a:lnTo>
                <a:lnTo>
                  <a:pt x="473840" y="858109"/>
                </a:lnTo>
                <a:lnTo>
                  <a:pt x="475143" y="856001"/>
                </a:lnTo>
                <a:lnTo>
                  <a:pt x="476446" y="853893"/>
                </a:lnTo>
                <a:lnTo>
                  <a:pt x="477315" y="852839"/>
                </a:lnTo>
                <a:lnTo>
                  <a:pt x="478617" y="852312"/>
                </a:lnTo>
                <a:lnTo>
                  <a:pt x="481657" y="853366"/>
                </a:lnTo>
                <a:lnTo>
                  <a:pt x="484263" y="853366"/>
                </a:lnTo>
                <a:lnTo>
                  <a:pt x="487303" y="853366"/>
                </a:lnTo>
                <a:lnTo>
                  <a:pt x="489909" y="853366"/>
                </a:lnTo>
                <a:lnTo>
                  <a:pt x="493383" y="852839"/>
                </a:lnTo>
                <a:lnTo>
                  <a:pt x="496423" y="852839"/>
                </a:lnTo>
                <a:lnTo>
                  <a:pt x="499463" y="853366"/>
                </a:lnTo>
                <a:lnTo>
                  <a:pt x="502504" y="853893"/>
                </a:lnTo>
                <a:lnTo>
                  <a:pt x="503372" y="855474"/>
                </a:lnTo>
                <a:lnTo>
                  <a:pt x="504241" y="858109"/>
                </a:lnTo>
                <a:lnTo>
                  <a:pt x="505544" y="861270"/>
                </a:lnTo>
                <a:lnTo>
                  <a:pt x="505978" y="865485"/>
                </a:lnTo>
                <a:lnTo>
                  <a:pt x="506412" y="869701"/>
                </a:lnTo>
                <a:lnTo>
                  <a:pt x="506412" y="873389"/>
                </a:lnTo>
                <a:lnTo>
                  <a:pt x="505978" y="876024"/>
                </a:lnTo>
                <a:lnTo>
                  <a:pt x="505544" y="876551"/>
                </a:lnTo>
                <a:lnTo>
                  <a:pt x="499463" y="878131"/>
                </a:lnTo>
                <a:lnTo>
                  <a:pt x="493818" y="880239"/>
                </a:lnTo>
                <a:lnTo>
                  <a:pt x="489040" y="882347"/>
                </a:lnTo>
                <a:lnTo>
                  <a:pt x="484263" y="884981"/>
                </a:lnTo>
                <a:lnTo>
                  <a:pt x="479920" y="888143"/>
                </a:lnTo>
                <a:lnTo>
                  <a:pt x="476012" y="891304"/>
                </a:lnTo>
                <a:lnTo>
                  <a:pt x="472537" y="894466"/>
                </a:lnTo>
                <a:lnTo>
                  <a:pt x="470455" y="896431"/>
                </a:lnTo>
                <a:lnTo>
                  <a:pt x="468489" y="904875"/>
                </a:lnTo>
                <a:lnTo>
                  <a:pt x="467091" y="899951"/>
                </a:lnTo>
                <a:lnTo>
                  <a:pt x="456903" y="911854"/>
                </a:lnTo>
                <a:lnTo>
                  <a:pt x="447783" y="921865"/>
                </a:lnTo>
                <a:lnTo>
                  <a:pt x="444308" y="923973"/>
                </a:lnTo>
                <a:lnTo>
                  <a:pt x="442137" y="926081"/>
                </a:lnTo>
                <a:lnTo>
                  <a:pt x="439531" y="928188"/>
                </a:lnTo>
                <a:lnTo>
                  <a:pt x="437794" y="930823"/>
                </a:lnTo>
                <a:lnTo>
                  <a:pt x="434320" y="935565"/>
                </a:lnTo>
                <a:lnTo>
                  <a:pt x="432582" y="940307"/>
                </a:lnTo>
                <a:lnTo>
                  <a:pt x="431280" y="945050"/>
                </a:lnTo>
                <a:lnTo>
                  <a:pt x="430845" y="949792"/>
                </a:lnTo>
                <a:lnTo>
                  <a:pt x="430411" y="954534"/>
                </a:lnTo>
                <a:lnTo>
                  <a:pt x="430845" y="959803"/>
                </a:lnTo>
                <a:lnTo>
                  <a:pt x="430845" y="965072"/>
                </a:lnTo>
                <a:lnTo>
                  <a:pt x="431280" y="969815"/>
                </a:lnTo>
                <a:lnTo>
                  <a:pt x="430845" y="975084"/>
                </a:lnTo>
                <a:lnTo>
                  <a:pt x="430411" y="979826"/>
                </a:lnTo>
                <a:lnTo>
                  <a:pt x="429108" y="985095"/>
                </a:lnTo>
                <a:lnTo>
                  <a:pt x="426502" y="990364"/>
                </a:lnTo>
                <a:lnTo>
                  <a:pt x="425200" y="992999"/>
                </a:lnTo>
                <a:lnTo>
                  <a:pt x="423462" y="995106"/>
                </a:lnTo>
                <a:lnTo>
                  <a:pt x="420857" y="997741"/>
                </a:lnTo>
                <a:lnTo>
                  <a:pt x="418685" y="999849"/>
                </a:lnTo>
                <a:lnTo>
                  <a:pt x="410434" y="1007225"/>
                </a:lnTo>
                <a:lnTo>
                  <a:pt x="403919" y="1013548"/>
                </a:lnTo>
                <a:lnTo>
                  <a:pt x="398708" y="1018818"/>
                </a:lnTo>
                <a:lnTo>
                  <a:pt x="394799" y="1024087"/>
                </a:lnTo>
                <a:lnTo>
                  <a:pt x="391759" y="1027775"/>
                </a:lnTo>
                <a:lnTo>
                  <a:pt x="390022" y="1030937"/>
                </a:lnTo>
                <a:lnTo>
                  <a:pt x="388719" y="1033571"/>
                </a:lnTo>
                <a:lnTo>
                  <a:pt x="387850" y="1035152"/>
                </a:lnTo>
                <a:lnTo>
                  <a:pt x="387416" y="1037787"/>
                </a:lnTo>
                <a:lnTo>
                  <a:pt x="387416" y="1038840"/>
                </a:lnTo>
                <a:lnTo>
                  <a:pt x="385679" y="1038840"/>
                </a:lnTo>
                <a:lnTo>
                  <a:pt x="380902" y="1038840"/>
                </a:lnTo>
                <a:lnTo>
                  <a:pt x="370044" y="1037787"/>
                </a:lnTo>
                <a:lnTo>
                  <a:pt x="360056" y="1037260"/>
                </a:lnTo>
                <a:lnTo>
                  <a:pt x="351370" y="1037260"/>
                </a:lnTo>
                <a:lnTo>
                  <a:pt x="343553" y="1038313"/>
                </a:lnTo>
                <a:lnTo>
                  <a:pt x="337038" y="1039894"/>
                </a:lnTo>
                <a:lnTo>
                  <a:pt x="331827" y="1041475"/>
                </a:lnTo>
                <a:lnTo>
                  <a:pt x="327049" y="1043583"/>
                </a:lnTo>
                <a:lnTo>
                  <a:pt x="322707" y="1046217"/>
                </a:lnTo>
                <a:lnTo>
                  <a:pt x="316192" y="1051486"/>
                </a:lnTo>
                <a:lnTo>
                  <a:pt x="311415" y="1055702"/>
                </a:lnTo>
                <a:lnTo>
                  <a:pt x="309244" y="1057282"/>
                </a:lnTo>
                <a:lnTo>
                  <a:pt x="307506" y="1058336"/>
                </a:lnTo>
                <a:lnTo>
                  <a:pt x="304901" y="1058863"/>
                </a:lnTo>
                <a:lnTo>
                  <a:pt x="303163" y="1058336"/>
                </a:lnTo>
                <a:lnTo>
                  <a:pt x="301861" y="1057809"/>
                </a:lnTo>
                <a:lnTo>
                  <a:pt x="300123" y="1056229"/>
                </a:lnTo>
                <a:lnTo>
                  <a:pt x="298820" y="1054121"/>
                </a:lnTo>
                <a:lnTo>
                  <a:pt x="297518" y="1051486"/>
                </a:lnTo>
                <a:lnTo>
                  <a:pt x="294478" y="1045163"/>
                </a:lnTo>
                <a:lnTo>
                  <a:pt x="291872" y="1038840"/>
                </a:lnTo>
                <a:lnTo>
                  <a:pt x="289700" y="1035679"/>
                </a:lnTo>
                <a:lnTo>
                  <a:pt x="287963" y="1032517"/>
                </a:lnTo>
                <a:lnTo>
                  <a:pt x="286226" y="1029356"/>
                </a:lnTo>
                <a:lnTo>
                  <a:pt x="283620" y="1026721"/>
                </a:lnTo>
                <a:lnTo>
                  <a:pt x="281449" y="1024087"/>
                </a:lnTo>
                <a:lnTo>
                  <a:pt x="278409" y="1021979"/>
                </a:lnTo>
                <a:lnTo>
                  <a:pt x="274934" y="1020398"/>
                </a:lnTo>
                <a:lnTo>
                  <a:pt x="271894" y="1019871"/>
                </a:lnTo>
                <a:lnTo>
                  <a:pt x="274934" y="1010914"/>
                </a:lnTo>
                <a:lnTo>
                  <a:pt x="277974" y="1003537"/>
                </a:lnTo>
                <a:lnTo>
                  <a:pt x="279277" y="996160"/>
                </a:lnTo>
                <a:lnTo>
                  <a:pt x="279345" y="995540"/>
                </a:lnTo>
                <a:lnTo>
                  <a:pt x="278110" y="1002545"/>
                </a:lnTo>
                <a:lnTo>
                  <a:pt x="275100" y="1009857"/>
                </a:lnTo>
                <a:lnTo>
                  <a:pt x="272091" y="1018736"/>
                </a:lnTo>
                <a:lnTo>
                  <a:pt x="263062" y="1019780"/>
                </a:lnTo>
                <a:lnTo>
                  <a:pt x="256612" y="1021869"/>
                </a:lnTo>
                <a:lnTo>
                  <a:pt x="253173" y="1023436"/>
                </a:lnTo>
                <a:lnTo>
                  <a:pt x="250593" y="1025003"/>
                </a:lnTo>
                <a:lnTo>
                  <a:pt x="248443" y="1025525"/>
                </a:lnTo>
                <a:lnTo>
                  <a:pt x="245004" y="1025525"/>
                </a:lnTo>
                <a:lnTo>
                  <a:pt x="239844" y="1024481"/>
                </a:lnTo>
                <a:lnTo>
                  <a:pt x="231675" y="1021869"/>
                </a:lnTo>
                <a:lnTo>
                  <a:pt x="231245" y="1017169"/>
                </a:lnTo>
                <a:lnTo>
                  <a:pt x="231245" y="1013513"/>
                </a:lnTo>
                <a:lnTo>
                  <a:pt x="230386" y="1009857"/>
                </a:lnTo>
                <a:lnTo>
                  <a:pt x="229526" y="1006201"/>
                </a:lnTo>
                <a:lnTo>
                  <a:pt x="226946" y="999412"/>
                </a:lnTo>
                <a:lnTo>
                  <a:pt x="224796" y="992622"/>
                </a:lnTo>
                <a:lnTo>
                  <a:pt x="221787" y="985833"/>
                </a:lnTo>
                <a:lnTo>
                  <a:pt x="219637" y="979043"/>
                </a:lnTo>
                <a:lnTo>
                  <a:pt x="218347" y="975387"/>
                </a:lnTo>
                <a:lnTo>
                  <a:pt x="217917" y="971731"/>
                </a:lnTo>
                <a:lnTo>
                  <a:pt x="217487" y="968075"/>
                </a:lnTo>
                <a:lnTo>
                  <a:pt x="217487" y="963897"/>
                </a:lnTo>
                <a:lnTo>
                  <a:pt x="217487" y="959197"/>
                </a:lnTo>
                <a:lnTo>
                  <a:pt x="217917" y="955541"/>
                </a:lnTo>
                <a:lnTo>
                  <a:pt x="218347" y="951363"/>
                </a:lnTo>
                <a:lnTo>
                  <a:pt x="219637" y="947707"/>
                </a:lnTo>
                <a:lnTo>
                  <a:pt x="222217" y="940917"/>
                </a:lnTo>
                <a:lnTo>
                  <a:pt x="225226" y="934650"/>
                </a:lnTo>
                <a:lnTo>
                  <a:pt x="231675" y="922116"/>
                </a:lnTo>
                <a:lnTo>
                  <a:pt x="237265" y="912192"/>
                </a:lnTo>
                <a:lnTo>
                  <a:pt x="238125" y="907492"/>
                </a:lnTo>
                <a:lnTo>
                  <a:pt x="238985" y="902792"/>
                </a:lnTo>
                <a:lnTo>
                  <a:pt x="239844" y="897569"/>
                </a:lnTo>
                <a:lnTo>
                  <a:pt x="240274" y="892868"/>
                </a:lnTo>
                <a:lnTo>
                  <a:pt x="240274" y="886601"/>
                </a:lnTo>
                <a:lnTo>
                  <a:pt x="240704" y="882945"/>
                </a:lnTo>
                <a:lnTo>
                  <a:pt x="241134" y="880856"/>
                </a:lnTo>
                <a:lnTo>
                  <a:pt x="241564" y="879812"/>
                </a:lnTo>
                <a:lnTo>
                  <a:pt x="241994" y="878767"/>
                </a:lnTo>
                <a:lnTo>
                  <a:pt x="242424" y="878245"/>
                </a:lnTo>
                <a:lnTo>
                  <a:pt x="243284" y="876678"/>
                </a:lnTo>
                <a:lnTo>
                  <a:pt x="243284" y="873544"/>
                </a:lnTo>
                <a:lnTo>
                  <a:pt x="236405" y="868844"/>
                </a:lnTo>
                <a:lnTo>
                  <a:pt x="233825" y="866755"/>
                </a:lnTo>
                <a:lnTo>
                  <a:pt x="232535" y="865710"/>
                </a:lnTo>
                <a:lnTo>
                  <a:pt x="233395" y="865188"/>
                </a:lnTo>
                <a:lnTo>
                  <a:pt x="233833" y="865188"/>
                </a:lnTo>
                <a:lnTo>
                  <a:pt x="232808" y="860216"/>
                </a:lnTo>
                <a:lnTo>
                  <a:pt x="229768" y="849151"/>
                </a:lnTo>
                <a:lnTo>
                  <a:pt x="226728" y="837559"/>
                </a:lnTo>
                <a:lnTo>
                  <a:pt x="225425" y="831236"/>
                </a:lnTo>
                <a:lnTo>
                  <a:pt x="228899" y="830709"/>
                </a:lnTo>
                <a:lnTo>
                  <a:pt x="231940" y="830182"/>
                </a:lnTo>
                <a:lnTo>
                  <a:pt x="235414" y="829128"/>
                </a:lnTo>
                <a:lnTo>
                  <a:pt x="238020" y="828074"/>
                </a:lnTo>
                <a:lnTo>
                  <a:pt x="243231" y="824913"/>
                </a:lnTo>
                <a:lnTo>
                  <a:pt x="247574" y="821751"/>
                </a:lnTo>
                <a:lnTo>
                  <a:pt x="251048" y="818063"/>
                </a:lnTo>
                <a:lnTo>
                  <a:pt x="254957" y="814902"/>
                </a:lnTo>
                <a:lnTo>
                  <a:pt x="257128" y="813321"/>
                </a:lnTo>
                <a:lnTo>
                  <a:pt x="258866" y="812267"/>
                </a:lnTo>
                <a:lnTo>
                  <a:pt x="260603" y="811740"/>
                </a:lnTo>
                <a:lnTo>
                  <a:pt x="262774" y="811213"/>
                </a:lnTo>
                <a:lnTo>
                  <a:pt x="269723" y="811740"/>
                </a:lnTo>
                <a:lnTo>
                  <a:pt x="276672" y="812794"/>
                </a:lnTo>
                <a:lnTo>
                  <a:pt x="282752" y="814902"/>
                </a:lnTo>
                <a:lnTo>
                  <a:pt x="288397" y="817009"/>
                </a:lnTo>
                <a:lnTo>
                  <a:pt x="294043" y="818590"/>
                </a:lnTo>
                <a:lnTo>
                  <a:pt x="299689" y="820171"/>
                </a:lnTo>
                <a:lnTo>
                  <a:pt x="305769" y="821225"/>
                </a:lnTo>
                <a:lnTo>
                  <a:pt x="311849" y="821751"/>
                </a:lnTo>
                <a:lnTo>
                  <a:pt x="316192" y="821751"/>
                </a:lnTo>
                <a:lnTo>
                  <a:pt x="319667" y="822805"/>
                </a:lnTo>
                <a:lnTo>
                  <a:pt x="323575" y="824386"/>
                </a:lnTo>
                <a:lnTo>
                  <a:pt x="327484" y="826494"/>
                </a:lnTo>
                <a:lnTo>
                  <a:pt x="330958" y="828074"/>
                </a:lnTo>
                <a:lnTo>
                  <a:pt x="333998" y="829655"/>
                </a:lnTo>
                <a:lnTo>
                  <a:pt x="337472" y="830709"/>
                </a:lnTo>
                <a:lnTo>
                  <a:pt x="340947" y="831236"/>
                </a:lnTo>
                <a:lnTo>
                  <a:pt x="371377" y="831236"/>
                </a:lnTo>
                <a:lnTo>
                  <a:pt x="368014" y="828246"/>
                </a:lnTo>
                <a:lnTo>
                  <a:pt x="364901" y="825083"/>
                </a:lnTo>
                <a:lnTo>
                  <a:pt x="363122" y="821393"/>
                </a:lnTo>
                <a:lnTo>
                  <a:pt x="361788" y="818231"/>
                </a:lnTo>
                <a:lnTo>
                  <a:pt x="362677" y="816649"/>
                </a:lnTo>
                <a:lnTo>
                  <a:pt x="363122" y="815595"/>
                </a:lnTo>
                <a:lnTo>
                  <a:pt x="363567" y="813487"/>
                </a:lnTo>
                <a:lnTo>
                  <a:pt x="364012" y="811905"/>
                </a:lnTo>
                <a:lnTo>
                  <a:pt x="364012" y="808215"/>
                </a:lnTo>
                <a:lnTo>
                  <a:pt x="363567" y="804526"/>
                </a:lnTo>
                <a:lnTo>
                  <a:pt x="362233" y="797673"/>
                </a:lnTo>
                <a:lnTo>
                  <a:pt x="361788" y="791875"/>
                </a:lnTo>
                <a:lnTo>
                  <a:pt x="362233" y="780278"/>
                </a:lnTo>
                <a:lnTo>
                  <a:pt x="363122" y="772898"/>
                </a:lnTo>
                <a:lnTo>
                  <a:pt x="364012" y="767100"/>
                </a:lnTo>
                <a:lnTo>
                  <a:pt x="364456" y="759720"/>
                </a:lnTo>
                <a:lnTo>
                  <a:pt x="363567" y="749705"/>
                </a:lnTo>
                <a:lnTo>
                  <a:pt x="361788" y="738108"/>
                </a:lnTo>
                <a:lnTo>
                  <a:pt x="359565" y="724930"/>
                </a:lnTo>
                <a:lnTo>
                  <a:pt x="358675" y="713860"/>
                </a:lnTo>
                <a:lnTo>
                  <a:pt x="356452" y="713333"/>
                </a:lnTo>
                <a:lnTo>
                  <a:pt x="353339" y="712279"/>
                </a:lnTo>
                <a:lnTo>
                  <a:pt x="349781" y="710698"/>
                </a:lnTo>
                <a:lnTo>
                  <a:pt x="345334" y="708062"/>
                </a:lnTo>
                <a:lnTo>
                  <a:pt x="335551" y="702791"/>
                </a:lnTo>
                <a:lnTo>
                  <a:pt x="325323" y="695411"/>
                </a:lnTo>
                <a:lnTo>
                  <a:pt x="305757" y="682233"/>
                </a:lnTo>
                <a:lnTo>
                  <a:pt x="296863" y="674853"/>
                </a:lnTo>
                <a:lnTo>
                  <a:pt x="305312" y="671690"/>
                </a:lnTo>
                <a:lnTo>
                  <a:pt x="307536" y="671163"/>
                </a:lnTo>
                <a:lnTo>
                  <a:pt x="309314" y="669582"/>
                </a:lnTo>
                <a:lnTo>
                  <a:pt x="310649" y="668001"/>
                </a:lnTo>
                <a:lnTo>
                  <a:pt x="312872" y="664838"/>
                </a:lnTo>
                <a:lnTo>
                  <a:pt x="314206" y="662729"/>
                </a:lnTo>
                <a:lnTo>
                  <a:pt x="316430" y="660621"/>
                </a:lnTo>
                <a:lnTo>
                  <a:pt x="318208" y="659039"/>
                </a:lnTo>
                <a:lnTo>
                  <a:pt x="319987" y="658512"/>
                </a:lnTo>
                <a:lnTo>
                  <a:pt x="337775" y="664838"/>
                </a:lnTo>
                <a:lnTo>
                  <a:pt x="341332" y="662729"/>
                </a:lnTo>
                <a:lnTo>
                  <a:pt x="344890" y="661675"/>
                </a:lnTo>
                <a:lnTo>
                  <a:pt x="348447" y="661148"/>
                </a:lnTo>
                <a:lnTo>
                  <a:pt x="352450" y="661148"/>
                </a:lnTo>
                <a:lnTo>
                  <a:pt x="355562" y="661675"/>
                </a:lnTo>
                <a:lnTo>
                  <a:pt x="359120" y="662729"/>
                </a:lnTo>
                <a:lnTo>
                  <a:pt x="362233" y="663784"/>
                </a:lnTo>
                <a:lnTo>
                  <a:pt x="364456" y="664838"/>
                </a:lnTo>
                <a:lnTo>
                  <a:pt x="364456" y="626358"/>
                </a:lnTo>
                <a:lnTo>
                  <a:pt x="370237" y="630575"/>
                </a:lnTo>
                <a:lnTo>
                  <a:pt x="374684" y="634792"/>
                </a:lnTo>
                <a:lnTo>
                  <a:pt x="377352" y="636373"/>
                </a:lnTo>
                <a:lnTo>
                  <a:pt x="379131" y="638482"/>
                </a:lnTo>
                <a:lnTo>
                  <a:pt x="382244" y="639009"/>
                </a:lnTo>
                <a:lnTo>
                  <a:pt x="384912" y="639536"/>
                </a:lnTo>
                <a:lnTo>
                  <a:pt x="388914" y="639009"/>
                </a:lnTo>
                <a:lnTo>
                  <a:pt x="393361" y="637427"/>
                </a:lnTo>
                <a:lnTo>
                  <a:pt x="397363" y="635319"/>
                </a:lnTo>
                <a:lnTo>
                  <a:pt x="401810" y="633210"/>
                </a:lnTo>
                <a:lnTo>
                  <a:pt x="406257" y="630048"/>
                </a:lnTo>
                <a:lnTo>
                  <a:pt x="410259" y="626885"/>
                </a:lnTo>
                <a:lnTo>
                  <a:pt x="414262" y="623195"/>
                </a:lnTo>
                <a:lnTo>
                  <a:pt x="418264" y="619505"/>
                </a:lnTo>
                <a:lnTo>
                  <a:pt x="422266" y="615288"/>
                </a:lnTo>
                <a:lnTo>
                  <a:pt x="425379" y="611071"/>
                </a:lnTo>
                <a:lnTo>
                  <a:pt x="428936" y="606327"/>
                </a:lnTo>
                <a:lnTo>
                  <a:pt x="431605" y="602110"/>
                </a:lnTo>
                <a:lnTo>
                  <a:pt x="433828" y="597893"/>
                </a:lnTo>
                <a:lnTo>
                  <a:pt x="436051" y="594203"/>
                </a:lnTo>
                <a:lnTo>
                  <a:pt x="437386" y="590513"/>
                </a:lnTo>
                <a:lnTo>
                  <a:pt x="438275" y="587351"/>
                </a:lnTo>
                <a:lnTo>
                  <a:pt x="446724" y="586823"/>
                </a:lnTo>
                <a:lnTo>
                  <a:pt x="454284" y="585242"/>
                </a:lnTo>
                <a:lnTo>
                  <a:pt x="461399" y="583134"/>
                </a:lnTo>
                <a:close/>
                <a:moveTo>
                  <a:pt x="958875" y="572566"/>
                </a:moveTo>
                <a:lnTo>
                  <a:pt x="945266" y="577463"/>
                </a:lnTo>
                <a:lnTo>
                  <a:pt x="945105" y="577191"/>
                </a:lnTo>
                <a:lnTo>
                  <a:pt x="946615" y="581077"/>
                </a:lnTo>
                <a:lnTo>
                  <a:pt x="954044" y="595238"/>
                </a:lnTo>
                <a:lnTo>
                  <a:pt x="958850" y="603630"/>
                </a:lnTo>
                <a:lnTo>
                  <a:pt x="956229" y="606777"/>
                </a:lnTo>
                <a:lnTo>
                  <a:pt x="953607" y="610448"/>
                </a:lnTo>
                <a:lnTo>
                  <a:pt x="950548" y="615693"/>
                </a:lnTo>
                <a:lnTo>
                  <a:pt x="947489" y="621462"/>
                </a:lnTo>
                <a:lnTo>
                  <a:pt x="945305" y="627232"/>
                </a:lnTo>
                <a:lnTo>
                  <a:pt x="942683" y="633001"/>
                </a:lnTo>
                <a:lnTo>
                  <a:pt x="941372" y="639295"/>
                </a:lnTo>
                <a:lnTo>
                  <a:pt x="941151" y="642742"/>
                </a:lnTo>
                <a:lnTo>
                  <a:pt x="942273" y="642742"/>
                </a:lnTo>
                <a:lnTo>
                  <a:pt x="942273" y="645910"/>
                </a:lnTo>
                <a:lnTo>
                  <a:pt x="941031" y="644617"/>
                </a:lnTo>
                <a:lnTo>
                  <a:pt x="940935" y="646113"/>
                </a:lnTo>
                <a:lnTo>
                  <a:pt x="939800" y="646113"/>
                </a:lnTo>
                <a:lnTo>
                  <a:pt x="939800" y="646257"/>
                </a:lnTo>
                <a:lnTo>
                  <a:pt x="938941" y="649721"/>
                </a:lnTo>
                <a:lnTo>
                  <a:pt x="938082" y="653761"/>
                </a:lnTo>
                <a:lnTo>
                  <a:pt x="936794" y="657225"/>
                </a:lnTo>
                <a:lnTo>
                  <a:pt x="935076" y="664152"/>
                </a:lnTo>
                <a:lnTo>
                  <a:pt x="934217" y="669925"/>
                </a:lnTo>
                <a:lnTo>
                  <a:pt x="891698" y="673100"/>
                </a:lnTo>
                <a:lnTo>
                  <a:pt x="936503" y="673100"/>
                </a:lnTo>
                <a:lnTo>
                  <a:pt x="947737" y="682220"/>
                </a:lnTo>
                <a:lnTo>
                  <a:pt x="945577" y="690326"/>
                </a:lnTo>
                <a:lnTo>
                  <a:pt x="941688" y="697419"/>
                </a:lnTo>
                <a:lnTo>
                  <a:pt x="937799" y="705526"/>
                </a:lnTo>
                <a:lnTo>
                  <a:pt x="933046" y="712619"/>
                </a:lnTo>
                <a:lnTo>
                  <a:pt x="927861" y="719712"/>
                </a:lnTo>
                <a:lnTo>
                  <a:pt x="923108" y="727312"/>
                </a:lnTo>
                <a:lnTo>
                  <a:pt x="917922" y="735925"/>
                </a:lnTo>
                <a:lnTo>
                  <a:pt x="913601" y="744538"/>
                </a:lnTo>
                <a:lnTo>
                  <a:pt x="906768" y="744538"/>
                </a:lnTo>
                <a:lnTo>
                  <a:pt x="910954" y="746080"/>
                </a:lnTo>
                <a:lnTo>
                  <a:pt x="911393" y="751335"/>
                </a:lnTo>
                <a:lnTo>
                  <a:pt x="913148" y="755538"/>
                </a:lnTo>
                <a:lnTo>
                  <a:pt x="914903" y="760267"/>
                </a:lnTo>
                <a:lnTo>
                  <a:pt x="916658" y="763945"/>
                </a:lnTo>
                <a:lnTo>
                  <a:pt x="919291" y="767098"/>
                </a:lnTo>
                <a:lnTo>
                  <a:pt x="921924" y="769725"/>
                </a:lnTo>
                <a:lnTo>
                  <a:pt x="924557" y="772352"/>
                </a:lnTo>
                <a:lnTo>
                  <a:pt x="926437" y="773759"/>
                </a:lnTo>
                <a:lnTo>
                  <a:pt x="923686" y="770825"/>
                </a:lnTo>
                <a:lnTo>
                  <a:pt x="921154" y="767673"/>
                </a:lnTo>
                <a:lnTo>
                  <a:pt x="919043" y="763996"/>
                </a:lnTo>
                <a:lnTo>
                  <a:pt x="916933" y="759794"/>
                </a:lnTo>
                <a:lnTo>
                  <a:pt x="915244" y="755066"/>
                </a:lnTo>
                <a:lnTo>
                  <a:pt x="914400" y="749814"/>
                </a:lnTo>
                <a:lnTo>
                  <a:pt x="914400" y="744036"/>
                </a:lnTo>
                <a:lnTo>
                  <a:pt x="924952" y="726176"/>
                </a:lnTo>
                <a:lnTo>
                  <a:pt x="935505" y="710943"/>
                </a:lnTo>
                <a:lnTo>
                  <a:pt x="940148" y="703589"/>
                </a:lnTo>
                <a:lnTo>
                  <a:pt x="944368" y="695185"/>
                </a:lnTo>
                <a:lnTo>
                  <a:pt x="946057" y="691508"/>
                </a:lnTo>
                <a:lnTo>
                  <a:pt x="948167" y="687831"/>
                </a:lnTo>
                <a:lnTo>
                  <a:pt x="949433" y="683629"/>
                </a:lnTo>
                <a:lnTo>
                  <a:pt x="949880" y="681408"/>
                </a:lnTo>
                <a:lnTo>
                  <a:pt x="947921" y="681289"/>
                </a:lnTo>
                <a:lnTo>
                  <a:pt x="936625" y="668088"/>
                </a:lnTo>
                <a:lnTo>
                  <a:pt x="938363" y="665447"/>
                </a:lnTo>
                <a:lnTo>
                  <a:pt x="940101" y="662807"/>
                </a:lnTo>
                <a:lnTo>
                  <a:pt x="940970" y="659639"/>
                </a:lnTo>
                <a:lnTo>
                  <a:pt x="941838" y="656471"/>
                </a:lnTo>
                <a:lnTo>
                  <a:pt x="942273" y="649606"/>
                </a:lnTo>
                <a:lnTo>
                  <a:pt x="942273" y="645910"/>
                </a:lnTo>
                <a:lnTo>
                  <a:pt x="942707" y="639046"/>
                </a:lnTo>
                <a:lnTo>
                  <a:pt x="944011" y="632709"/>
                </a:lnTo>
                <a:lnTo>
                  <a:pt x="946617" y="626901"/>
                </a:lnTo>
                <a:lnTo>
                  <a:pt x="949658" y="621092"/>
                </a:lnTo>
                <a:lnTo>
                  <a:pt x="952265" y="615284"/>
                </a:lnTo>
                <a:lnTo>
                  <a:pt x="955740" y="610003"/>
                </a:lnTo>
                <a:lnTo>
                  <a:pt x="959650" y="606307"/>
                </a:lnTo>
                <a:lnTo>
                  <a:pt x="962691" y="603139"/>
                </a:lnTo>
                <a:lnTo>
                  <a:pt x="960085" y="599443"/>
                </a:lnTo>
                <a:lnTo>
                  <a:pt x="956609" y="594162"/>
                </a:lnTo>
                <a:lnTo>
                  <a:pt x="952265" y="586770"/>
                </a:lnTo>
                <a:lnTo>
                  <a:pt x="947921" y="577265"/>
                </a:lnTo>
                <a:close/>
                <a:moveTo>
                  <a:pt x="519112" y="571433"/>
                </a:moveTo>
                <a:lnTo>
                  <a:pt x="521424" y="572090"/>
                </a:lnTo>
                <a:lnTo>
                  <a:pt x="522279" y="574519"/>
                </a:lnTo>
                <a:lnTo>
                  <a:pt x="520017" y="574004"/>
                </a:lnTo>
                <a:lnTo>
                  <a:pt x="519564" y="572976"/>
                </a:lnTo>
                <a:lnTo>
                  <a:pt x="519112" y="571947"/>
                </a:lnTo>
                <a:close/>
                <a:moveTo>
                  <a:pt x="1105993" y="558287"/>
                </a:moveTo>
                <a:lnTo>
                  <a:pt x="1102969" y="571244"/>
                </a:lnTo>
                <a:lnTo>
                  <a:pt x="1102969" y="583816"/>
                </a:lnTo>
                <a:lnTo>
                  <a:pt x="1103883" y="584129"/>
                </a:lnTo>
                <a:lnTo>
                  <a:pt x="1103883" y="570929"/>
                </a:lnTo>
                <a:lnTo>
                  <a:pt x="1106795" y="558287"/>
                </a:lnTo>
                <a:close/>
                <a:moveTo>
                  <a:pt x="582442" y="514350"/>
                </a:moveTo>
                <a:lnTo>
                  <a:pt x="585608" y="514864"/>
                </a:lnTo>
                <a:lnTo>
                  <a:pt x="588775" y="515379"/>
                </a:lnTo>
                <a:lnTo>
                  <a:pt x="591037" y="515379"/>
                </a:lnTo>
                <a:lnTo>
                  <a:pt x="593751" y="515379"/>
                </a:lnTo>
                <a:lnTo>
                  <a:pt x="598727" y="514864"/>
                </a:lnTo>
                <a:lnTo>
                  <a:pt x="603250" y="514350"/>
                </a:lnTo>
                <a:lnTo>
                  <a:pt x="601893" y="519493"/>
                </a:lnTo>
                <a:lnTo>
                  <a:pt x="600988" y="524121"/>
                </a:lnTo>
                <a:lnTo>
                  <a:pt x="599631" y="527721"/>
                </a:lnTo>
                <a:lnTo>
                  <a:pt x="598727" y="530806"/>
                </a:lnTo>
                <a:lnTo>
                  <a:pt x="595560" y="534920"/>
                </a:lnTo>
                <a:lnTo>
                  <a:pt x="593751" y="537492"/>
                </a:lnTo>
                <a:lnTo>
                  <a:pt x="591037" y="540577"/>
                </a:lnTo>
                <a:lnTo>
                  <a:pt x="589679" y="544177"/>
                </a:lnTo>
                <a:lnTo>
                  <a:pt x="589227" y="546748"/>
                </a:lnTo>
                <a:lnTo>
                  <a:pt x="588775" y="549834"/>
                </a:lnTo>
                <a:lnTo>
                  <a:pt x="588322" y="553434"/>
                </a:lnTo>
                <a:lnTo>
                  <a:pt x="588322" y="558576"/>
                </a:lnTo>
                <a:lnTo>
                  <a:pt x="573395" y="587375"/>
                </a:lnTo>
                <a:lnTo>
                  <a:pt x="567644" y="582774"/>
                </a:lnTo>
                <a:lnTo>
                  <a:pt x="567986" y="583837"/>
                </a:lnTo>
                <a:lnTo>
                  <a:pt x="569739" y="587103"/>
                </a:lnTo>
                <a:lnTo>
                  <a:pt x="570615" y="588736"/>
                </a:lnTo>
                <a:lnTo>
                  <a:pt x="571930" y="590369"/>
                </a:lnTo>
                <a:lnTo>
                  <a:pt x="572368" y="592546"/>
                </a:lnTo>
                <a:lnTo>
                  <a:pt x="572806" y="594723"/>
                </a:lnTo>
                <a:lnTo>
                  <a:pt x="574559" y="595267"/>
                </a:lnTo>
                <a:lnTo>
                  <a:pt x="577627" y="595811"/>
                </a:lnTo>
                <a:lnTo>
                  <a:pt x="578942" y="596356"/>
                </a:lnTo>
                <a:lnTo>
                  <a:pt x="580256" y="596356"/>
                </a:lnTo>
                <a:lnTo>
                  <a:pt x="582447" y="595811"/>
                </a:lnTo>
                <a:lnTo>
                  <a:pt x="584200" y="594723"/>
                </a:lnTo>
                <a:lnTo>
                  <a:pt x="584200" y="611051"/>
                </a:lnTo>
                <a:lnTo>
                  <a:pt x="582885" y="611596"/>
                </a:lnTo>
                <a:lnTo>
                  <a:pt x="580694" y="612140"/>
                </a:lnTo>
                <a:lnTo>
                  <a:pt x="578942" y="612684"/>
                </a:lnTo>
                <a:lnTo>
                  <a:pt x="577627" y="614317"/>
                </a:lnTo>
                <a:lnTo>
                  <a:pt x="573683" y="617039"/>
                </a:lnTo>
                <a:lnTo>
                  <a:pt x="570177" y="620849"/>
                </a:lnTo>
                <a:lnTo>
                  <a:pt x="567548" y="624659"/>
                </a:lnTo>
                <a:lnTo>
                  <a:pt x="564480" y="628469"/>
                </a:lnTo>
                <a:lnTo>
                  <a:pt x="562727" y="631734"/>
                </a:lnTo>
                <a:lnTo>
                  <a:pt x="560975" y="635000"/>
                </a:lnTo>
                <a:lnTo>
                  <a:pt x="552648" y="630646"/>
                </a:lnTo>
                <a:lnTo>
                  <a:pt x="544760" y="626291"/>
                </a:lnTo>
                <a:lnTo>
                  <a:pt x="537749" y="621393"/>
                </a:lnTo>
                <a:lnTo>
                  <a:pt x="530299" y="616494"/>
                </a:lnTo>
                <a:lnTo>
                  <a:pt x="523288" y="611051"/>
                </a:lnTo>
                <a:lnTo>
                  <a:pt x="515838" y="606697"/>
                </a:lnTo>
                <a:lnTo>
                  <a:pt x="508388" y="601799"/>
                </a:lnTo>
                <a:lnTo>
                  <a:pt x="500062" y="597989"/>
                </a:lnTo>
                <a:lnTo>
                  <a:pt x="500062" y="584926"/>
                </a:lnTo>
                <a:lnTo>
                  <a:pt x="503130" y="581660"/>
                </a:lnTo>
                <a:lnTo>
                  <a:pt x="507074" y="580027"/>
                </a:lnTo>
                <a:lnTo>
                  <a:pt x="512770" y="578394"/>
                </a:lnTo>
                <a:lnTo>
                  <a:pt x="517591" y="577850"/>
                </a:lnTo>
                <a:lnTo>
                  <a:pt x="526355" y="578939"/>
                </a:lnTo>
                <a:lnTo>
                  <a:pt x="540816" y="580571"/>
                </a:lnTo>
                <a:lnTo>
                  <a:pt x="548704" y="581660"/>
                </a:lnTo>
                <a:lnTo>
                  <a:pt x="556154" y="581660"/>
                </a:lnTo>
                <a:lnTo>
                  <a:pt x="562727" y="581660"/>
                </a:lnTo>
                <a:lnTo>
                  <a:pt x="565778" y="581281"/>
                </a:lnTo>
                <a:lnTo>
                  <a:pt x="561181" y="577604"/>
                </a:lnTo>
                <a:lnTo>
                  <a:pt x="555301" y="577090"/>
                </a:lnTo>
                <a:lnTo>
                  <a:pt x="542635" y="575547"/>
                </a:lnTo>
                <a:lnTo>
                  <a:pt x="534945" y="574519"/>
                </a:lnTo>
                <a:lnTo>
                  <a:pt x="528159" y="573490"/>
                </a:lnTo>
                <a:lnTo>
                  <a:pt x="522731" y="572462"/>
                </a:lnTo>
                <a:lnTo>
                  <a:pt x="521424" y="572090"/>
                </a:lnTo>
                <a:lnTo>
                  <a:pt x="520469" y="569376"/>
                </a:lnTo>
                <a:lnTo>
                  <a:pt x="520017" y="565262"/>
                </a:lnTo>
                <a:lnTo>
                  <a:pt x="520469" y="562176"/>
                </a:lnTo>
                <a:lnTo>
                  <a:pt x="521826" y="559091"/>
                </a:lnTo>
                <a:lnTo>
                  <a:pt x="523183" y="556519"/>
                </a:lnTo>
                <a:lnTo>
                  <a:pt x="524993" y="553434"/>
                </a:lnTo>
                <a:lnTo>
                  <a:pt x="526802" y="549834"/>
                </a:lnTo>
                <a:lnTo>
                  <a:pt x="528159" y="545720"/>
                </a:lnTo>
                <a:lnTo>
                  <a:pt x="528159" y="543149"/>
                </a:lnTo>
                <a:lnTo>
                  <a:pt x="528612" y="540577"/>
                </a:lnTo>
                <a:lnTo>
                  <a:pt x="529516" y="538006"/>
                </a:lnTo>
                <a:lnTo>
                  <a:pt x="530421" y="535949"/>
                </a:lnTo>
                <a:lnTo>
                  <a:pt x="531778" y="533378"/>
                </a:lnTo>
                <a:lnTo>
                  <a:pt x="533135" y="531835"/>
                </a:lnTo>
                <a:lnTo>
                  <a:pt x="534945" y="530806"/>
                </a:lnTo>
                <a:lnTo>
                  <a:pt x="537206" y="530292"/>
                </a:lnTo>
                <a:lnTo>
                  <a:pt x="537659" y="533892"/>
                </a:lnTo>
                <a:lnTo>
                  <a:pt x="537659" y="536463"/>
                </a:lnTo>
                <a:lnTo>
                  <a:pt x="538563" y="539549"/>
                </a:lnTo>
                <a:lnTo>
                  <a:pt x="539468" y="542120"/>
                </a:lnTo>
                <a:lnTo>
                  <a:pt x="540373" y="544177"/>
                </a:lnTo>
                <a:lnTo>
                  <a:pt x="542182" y="546234"/>
                </a:lnTo>
                <a:lnTo>
                  <a:pt x="543992" y="547777"/>
                </a:lnTo>
                <a:lnTo>
                  <a:pt x="545801" y="548806"/>
                </a:lnTo>
                <a:lnTo>
                  <a:pt x="558467" y="548806"/>
                </a:lnTo>
                <a:lnTo>
                  <a:pt x="558467" y="536463"/>
                </a:lnTo>
                <a:lnTo>
                  <a:pt x="554848" y="535435"/>
                </a:lnTo>
                <a:lnTo>
                  <a:pt x="552586" y="533892"/>
                </a:lnTo>
                <a:lnTo>
                  <a:pt x="550325" y="532863"/>
                </a:lnTo>
                <a:lnTo>
                  <a:pt x="548968" y="531321"/>
                </a:lnTo>
                <a:lnTo>
                  <a:pt x="547610" y="529778"/>
                </a:lnTo>
                <a:lnTo>
                  <a:pt x="547158" y="528235"/>
                </a:lnTo>
                <a:lnTo>
                  <a:pt x="546706" y="526178"/>
                </a:lnTo>
                <a:lnTo>
                  <a:pt x="545801" y="523607"/>
                </a:lnTo>
                <a:lnTo>
                  <a:pt x="550777" y="523092"/>
                </a:lnTo>
                <a:lnTo>
                  <a:pt x="554848" y="522578"/>
                </a:lnTo>
                <a:lnTo>
                  <a:pt x="558467" y="521550"/>
                </a:lnTo>
                <a:lnTo>
                  <a:pt x="560729" y="520521"/>
                </a:lnTo>
                <a:lnTo>
                  <a:pt x="563443" y="519493"/>
                </a:lnTo>
                <a:lnTo>
                  <a:pt x="565705" y="518464"/>
                </a:lnTo>
                <a:lnTo>
                  <a:pt x="569324" y="517436"/>
                </a:lnTo>
                <a:lnTo>
                  <a:pt x="573395" y="517436"/>
                </a:lnTo>
                <a:lnTo>
                  <a:pt x="577918" y="515893"/>
                </a:lnTo>
                <a:close/>
                <a:moveTo>
                  <a:pt x="956117" y="500559"/>
                </a:moveTo>
                <a:lnTo>
                  <a:pt x="952709" y="502992"/>
                </a:lnTo>
                <a:lnTo>
                  <a:pt x="949330" y="505706"/>
                </a:lnTo>
                <a:lnTo>
                  <a:pt x="948063" y="507335"/>
                </a:lnTo>
                <a:lnTo>
                  <a:pt x="946796" y="508963"/>
                </a:lnTo>
                <a:lnTo>
                  <a:pt x="946312" y="509585"/>
                </a:lnTo>
                <a:lnTo>
                  <a:pt x="949674" y="513419"/>
                </a:lnTo>
                <a:lnTo>
                  <a:pt x="948800" y="519188"/>
                </a:lnTo>
                <a:lnTo>
                  <a:pt x="947052" y="525482"/>
                </a:lnTo>
                <a:lnTo>
                  <a:pt x="945305" y="531251"/>
                </a:lnTo>
                <a:lnTo>
                  <a:pt x="943994" y="535971"/>
                </a:lnTo>
                <a:lnTo>
                  <a:pt x="941372" y="540692"/>
                </a:lnTo>
                <a:lnTo>
                  <a:pt x="939624" y="544363"/>
                </a:lnTo>
                <a:lnTo>
                  <a:pt x="937439" y="546986"/>
                </a:lnTo>
                <a:lnTo>
                  <a:pt x="935255" y="548559"/>
                </a:lnTo>
                <a:lnTo>
                  <a:pt x="937002" y="556951"/>
                </a:lnTo>
                <a:lnTo>
                  <a:pt x="937810" y="559373"/>
                </a:lnTo>
                <a:lnTo>
                  <a:pt x="937057" y="556214"/>
                </a:lnTo>
                <a:lnTo>
                  <a:pt x="936625" y="552068"/>
                </a:lnTo>
                <a:lnTo>
                  <a:pt x="936625" y="548441"/>
                </a:lnTo>
                <a:lnTo>
                  <a:pt x="938786" y="546886"/>
                </a:lnTo>
                <a:lnTo>
                  <a:pt x="940946" y="544294"/>
                </a:lnTo>
                <a:lnTo>
                  <a:pt x="942674" y="540667"/>
                </a:lnTo>
                <a:lnTo>
                  <a:pt x="945266" y="536002"/>
                </a:lnTo>
                <a:lnTo>
                  <a:pt x="946563" y="531338"/>
                </a:lnTo>
                <a:lnTo>
                  <a:pt x="948291" y="525637"/>
                </a:lnTo>
                <a:lnTo>
                  <a:pt x="950019" y="519418"/>
                </a:lnTo>
                <a:lnTo>
                  <a:pt x="950883" y="513717"/>
                </a:lnTo>
                <a:lnTo>
                  <a:pt x="954340" y="504389"/>
                </a:lnTo>
                <a:lnTo>
                  <a:pt x="955636" y="501279"/>
                </a:lnTo>
                <a:close/>
                <a:moveTo>
                  <a:pt x="896937" y="474405"/>
                </a:moveTo>
                <a:lnTo>
                  <a:pt x="896937" y="490536"/>
                </a:lnTo>
                <a:lnTo>
                  <a:pt x="917758" y="492279"/>
                </a:lnTo>
                <a:lnTo>
                  <a:pt x="900342" y="488879"/>
                </a:lnTo>
                <a:close/>
                <a:moveTo>
                  <a:pt x="631825" y="462712"/>
                </a:moveTo>
                <a:lnTo>
                  <a:pt x="630912" y="463079"/>
                </a:lnTo>
                <a:lnTo>
                  <a:pt x="629603" y="463604"/>
                </a:lnTo>
                <a:lnTo>
                  <a:pt x="628651" y="463604"/>
                </a:lnTo>
                <a:lnTo>
                  <a:pt x="631825" y="465012"/>
                </a:lnTo>
                <a:close/>
                <a:moveTo>
                  <a:pt x="970164" y="441473"/>
                </a:moveTo>
                <a:lnTo>
                  <a:pt x="970446" y="442196"/>
                </a:lnTo>
                <a:lnTo>
                  <a:pt x="971713" y="442739"/>
                </a:lnTo>
                <a:lnTo>
                  <a:pt x="972980" y="443281"/>
                </a:lnTo>
                <a:lnTo>
                  <a:pt x="976780" y="443281"/>
                </a:lnTo>
                <a:lnTo>
                  <a:pt x="981214" y="443281"/>
                </a:lnTo>
                <a:lnTo>
                  <a:pt x="978097" y="442506"/>
                </a:lnTo>
                <a:lnTo>
                  <a:pt x="974596" y="441473"/>
                </a:lnTo>
                <a:close/>
                <a:moveTo>
                  <a:pt x="769937" y="398463"/>
                </a:moveTo>
                <a:lnTo>
                  <a:pt x="784225" y="398463"/>
                </a:lnTo>
                <a:lnTo>
                  <a:pt x="781164" y="410989"/>
                </a:lnTo>
                <a:lnTo>
                  <a:pt x="778612" y="421949"/>
                </a:lnTo>
                <a:lnTo>
                  <a:pt x="776061" y="432127"/>
                </a:lnTo>
                <a:lnTo>
                  <a:pt x="773509" y="441521"/>
                </a:lnTo>
                <a:lnTo>
                  <a:pt x="769937" y="455613"/>
                </a:lnTo>
                <a:lnTo>
                  <a:pt x="770958" y="435258"/>
                </a:lnTo>
                <a:lnTo>
                  <a:pt x="772999" y="420384"/>
                </a:lnTo>
                <a:lnTo>
                  <a:pt x="773509" y="414121"/>
                </a:lnTo>
                <a:lnTo>
                  <a:pt x="772999" y="408640"/>
                </a:lnTo>
                <a:lnTo>
                  <a:pt x="771978" y="403943"/>
                </a:lnTo>
                <a:close/>
                <a:moveTo>
                  <a:pt x="291544" y="393699"/>
                </a:moveTo>
                <a:lnTo>
                  <a:pt x="294987" y="394228"/>
                </a:lnTo>
                <a:lnTo>
                  <a:pt x="299291" y="395287"/>
                </a:lnTo>
                <a:lnTo>
                  <a:pt x="302304" y="404282"/>
                </a:lnTo>
                <a:lnTo>
                  <a:pt x="305747" y="411691"/>
                </a:lnTo>
                <a:lnTo>
                  <a:pt x="306177" y="413807"/>
                </a:lnTo>
                <a:lnTo>
                  <a:pt x="306608" y="415395"/>
                </a:lnTo>
                <a:lnTo>
                  <a:pt x="306608" y="416982"/>
                </a:lnTo>
                <a:lnTo>
                  <a:pt x="306608" y="418570"/>
                </a:lnTo>
                <a:lnTo>
                  <a:pt x="306177" y="420157"/>
                </a:lnTo>
                <a:lnTo>
                  <a:pt x="305317" y="421216"/>
                </a:lnTo>
                <a:lnTo>
                  <a:pt x="304025" y="423332"/>
                </a:lnTo>
                <a:lnTo>
                  <a:pt x="301873" y="424391"/>
                </a:lnTo>
                <a:lnTo>
                  <a:pt x="304886" y="424391"/>
                </a:lnTo>
                <a:lnTo>
                  <a:pt x="303595" y="427037"/>
                </a:lnTo>
                <a:lnTo>
                  <a:pt x="301873" y="429153"/>
                </a:lnTo>
                <a:lnTo>
                  <a:pt x="300582" y="431270"/>
                </a:lnTo>
                <a:lnTo>
                  <a:pt x="298861" y="433387"/>
                </a:lnTo>
                <a:lnTo>
                  <a:pt x="296709" y="434974"/>
                </a:lnTo>
                <a:lnTo>
                  <a:pt x="294987" y="436033"/>
                </a:lnTo>
                <a:lnTo>
                  <a:pt x="292405" y="437091"/>
                </a:lnTo>
                <a:lnTo>
                  <a:pt x="290683" y="437091"/>
                </a:lnTo>
                <a:lnTo>
                  <a:pt x="290683" y="439208"/>
                </a:lnTo>
                <a:lnTo>
                  <a:pt x="291544" y="441324"/>
                </a:lnTo>
                <a:lnTo>
                  <a:pt x="292405" y="442912"/>
                </a:lnTo>
                <a:lnTo>
                  <a:pt x="294126" y="444499"/>
                </a:lnTo>
                <a:lnTo>
                  <a:pt x="295418" y="446087"/>
                </a:lnTo>
                <a:lnTo>
                  <a:pt x="297139" y="447145"/>
                </a:lnTo>
                <a:lnTo>
                  <a:pt x="299291" y="447674"/>
                </a:lnTo>
                <a:lnTo>
                  <a:pt x="301443" y="448203"/>
                </a:lnTo>
                <a:lnTo>
                  <a:pt x="306177" y="449262"/>
                </a:lnTo>
                <a:lnTo>
                  <a:pt x="310912" y="449791"/>
                </a:lnTo>
                <a:lnTo>
                  <a:pt x="315216" y="449791"/>
                </a:lnTo>
                <a:lnTo>
                  <a:pt x="319089" y="449791"/>
                </a:lnTo>
                <a:lnTo>
                  <a:pt x="319089" y="459316"/>
                </a:lnTo>
                <a:lnTo>
                  <a:pt x="319089" y="466724"/>
                </a:lnTo>
                <a:lnTo>
                  <a:pt x="319089" y="474133"/>
                </a:lnTo>
                <a:lnTo>
                  <a:pt x="319089" y="483129"/>
                </a:lnTo>
                <a:lnTo>
                  <a:pt x="319089" y="484716"/>
                </a:lnTo>
                <a:lnTo>
                  <a:pt x="318659" y="486833"/>
                </a:lnTo>
                <a:lnTo>
                  <a:pt x="317798" y="488420"/>
                </a:lnTo>
                <a:lnTo>
                  <a:pt x="316937" y="490008"/>
                </a:lnTo>
                <a:lnTo>
                  <a:pt x="314785" y="492654"/>
                </a:lnTo>
                <a:lnTo>
                  <a:pt x="311772" y="495829"/>
                </a:lnTo>
                <a:lnTo>
                  <a:pt x="309621" y="499004"/>
                </a:lnTo>
                <a:lnTo>
                  <a:pt x="307038" y="502179"/>
                </a:lnTo>
                <a:lnTo>
                  <a:pt x="306177" y="503766"/>
                </a:lnTo>
                <a:lnTo>
                  <a:pt x="305317" y="505354"/>
                </a:lnTo>
                <a:lnTo>
                  <a:pt x="304886" y="506941"/>
                </a:lnTo>
                <a:lnTo>
                  <a:pt x="304886" y="508529"/>
                </a:lnTo>
                <a:lnTo>
                  <a:pt x="301443" y="509058"/>
                </a:lnTo>
                <a:lnTo>
                  <a:pt x="299291" y="509058"/>
                </a:lnTo>
                <a:lnTo>
                  <a:pt x="296278" y="510116"/>
                </a:lnTo>
                <a:lnTo>
                  <a:pt x="294557" y="511704"/>
                </a:lnTo>
                <a:lnTo>
                  <a:pt x="292835" y="512762"/>
                </a:lnTo>
                <a:lnTo>
                  <a:pt x="291544" y="514879"/>
                </a:lnTo>
                <a:lnTo>
                  <a:pt x="290683" y="516466"/>
                </a:lnTo>
                <a:lnTo>
                  <a:pt x="290683" y="518583"/>
                </a:lnTo>
                <a:lnTo>
                  <a:pt x="287240" y="519112"/>
                </a:lnTo>
                <a:lnTo>
                  <a:pt x="285088" y="520170"/>
                </a:lnTo>
                <a:lnTo>
                  <a:pt x="282506" y="521758"/>
                </a:lnTo>
                <a:lnTo>
                  <a:pt x="280784" y="523875"/>
                </a:lnTo>
                <a:lnTo>
                  <a:pt x="278632" y="525462"/>
                </a:lnTo>
                <a:lnTo>
                  <a:pt x="277341" y="527050"/>
                </a:lnTo>
                <a:lnTo>
                  <a:pt x="275620" y="528108"/>
                </a:lnTo>
                <a:lnTo>
                  <a:pt x="273037" y="528637"/>
                </a:lnTo>
                <a:lnTo>
                  <a:pt x="265721" y="528637"/>
                </a:lnTo>
                <a:lnTo>
                  <a:pt x="258834" y="529695"/>
                </a:lnTo>
                <a:lnTo>
                  <a:pt x="253239" y="530754"/>
                </a:lnTo>
                <a:lnTo>
                  <a:pt x="248075" y="531812"/>
                </a:lnTo>
                <a:lnTo>
                  <a:pt x="238606" y="534987"/>
                </a:lnTo>
                <a:lnTo>
                  <a:pt x="227846" y="538162"/>
                </a:lnTo>
                <a:lnTo>
                  <a:pt x="230429" y="531812"/>
                </a:lnTo>
                <a:lnTo>
                  <a:pt x="226555" y="531812"/>
                </a:lnTo>
                <a:lnTo>
                  <a:pt x="222251" y="531812"/>
                </a:lnTo>
                <a:lnTo>
                  <a:pt x="222251" y="508529"/>
                </a:lnTo>
                <a:lnTo>
                  <a:pt x="225694" y="507999"/>
                </a:lnTo>
                <a:lnTo>
                  <a:pt x="229568" y="506941"/>
                </a:lnTo>
                <a:lnTo>
                  <a:pt x="231289" y="505883"/>
                </a:lnTo>
                <a:lnTo>
                  <a:pt x="232581" y="504824"/>
                </a:lnTo>
                <a:lnTo>
                  <a:pt x="233011" y="503766"/>
                </a:lnTo>
                <a:lnTo>
                  <a:pt x="233441" y="502179"/>
                </a:lnTo>
                <a:lnTo>
                  <a:pt x="239467" y="502179"/>
                </a:lnTo>
                <a:lnTo>
                  <a:pt x="245492" y="501649"/>
                </a:lnTo>
                <a:lnTo>
                  <a:pt x="248075" y="500591"/>
                </a:lnTo>
                <a:lnTo>
                  <a:pt x="249796" y="499533"/>
                </a:lnTo>
                <a:lnTo>
                  <a:pt x="251948" y="497945"/>
                </a:lnTo>
                <a:lnTo>
                  <a:pt x="253239" y="495829"/>
                </a:lnTo>
                <a:lnTo>
                  <a:pt x="249796" y="496887"/>
                </a:lnTo>
                <a:lnTo>
                  <a:pt x="245492" y="498474"/>
                </a:lnTo>
                <a:lnTo>
                  <a:pt x="242910" y="498474"/>
                </a:lnTo>
                <a:lnTo>
                  <a:pt x="241188" y="498474"/>
                </a:lnTo>
                <a:lnTo>
                  <a:pt x="239897" y="498474"/>
                </a:lnTo>
                <a:lnTo>
                  <a:pt x="239467" y="497945"/>
                </a:lnTo>
                <a:lnTo>
                  <a:pt x="239036" y="496887"/>
                </a:lnTo>
                <a:lnTo>
                  <a:pt x="239036" y="495829"/>
                </a:lnTo>
                <a:lnTo>
                  <a:pt x="239036" y="493183"/>
                </a:lnTo>
                <a:lnTo>
                  <a:pt x="239897" y="490537"/>
                </a:lnTo>
                <a:lnTo>
                  <a:pt x="241188" y="487891"/>
                </a:lnTo>
                <a:lnTo>
                  <a:pt x="242049" y="485245"/>
                </a:lnTo>
                <a:lnTo>
                  <a:pt x="243771" y="481541"/>
                </a:lnTo>
                <a:lnTo>
                  <a:pt x="244631" y="479424"/>
                </a:lnTo>
                <a:lnTo>
                  <a:pt x="239036" y="478366"/>
                </a:lnTo>
                <a:lnTo>
                  <a:pt x="234302" y="476779"/>
                </a:lnTo>
                <a:lnTo>
                  <a:pt x="231289" y="475191"/>
                </a:lnTo>
                <a:lnTo>
                  <a:pt x="228277" y="473074"/>
                </a:lnTo>
                <a:lnTo>
                  <a:pt x="226555" y="470428"/>
                </a:lnTo>
                <a:lnTo>
                  <a:pt x="225264" y="466724"/>
                </a:lnTo>
                <a:lnTo>
                  <a:pt x="224833" y="462491"/>
                </a:lnTo>
                <a:lnTo>
                  <a:pt x="224833" y="457199"/>
                </a:lnTo>
                <a:lnTo>
                  <a:pt x="228707" y="455612"/>
                </a:lnTo>
                <a:lnTo>
                  <a:pt x="231720" y="454553"/>
                </a:lnTo>
                <a:lnTo>
                  <a:pt x="233441" y="452966"/>
                </a:lnTo>
                <a:lnTo>
                  <a:pt x="235163" y="451378"/>
                </a:lnTo>
                <a:lnTo>
                  <a:pt x="237315" y="447674"/>
                </a:lnTo>
                <a:lnTo>
                  <a:pt x="239036" y="443441"/>
                </a:lnTo>
                <a:lnTo>
                  <a:pt x="246353" y="443441"/>
                </a:lnTo>
                <a:lnTo>
                  <a:pt x="251518" y="443441"/>
                </a:lnTo>
                <a:lnTo>
                  <a:pt x="255391" y="443441"/>
                </a:lnTo>
                <a:lnTo>
                  <a:pt x="258834" y="443441"/>
                </a:lnTo>
                <a:lnTo>
                  <a:pt x="260986" y="443441"/>
                </a:lnTo>
                <a:lnTo>
                  <a:pt x="262708" y="442912"/>
                </a:lnTo>
                <a:lnTo>
                  <a:pt x="263999" y="441853"/>
                </a:lnTo>
                <a:lnTo>
                  <a:pt x="265290" y="440266"/>
                </a:lnTo>
                <a:lnTo>
                  <a:pt x="267012" y="437091"/>
                </a:lnTo>
                <a:lnTo>
                  <a:pt x="267873" y="432328"/>
                </a:lnTo>
                <a:lnTo>
                  <a:pt x="268733" y="421216"/>
                </a:lnTo>
                <a:lnTo>
                  <a:pt x="270455" y="411162"/>
                </a:lnTo>
                <a:lnTo>
                  <a:pt x="272607" y="410632"/>
                </a:lnTo>
                <a:lnTo>
                  <a:pt x="273898" y="410103"/>
                </a:lnTo>
                <a:lnTo>
                  <a:pt x="275620" y="409045"/>
                </a:lnTo>
                <a:lnTo>
                  <a:pt x="276480" y="407457"/>
                </a:lnTo>
                <a:lnTo>
                  <a:pt x="278202" y="404282"/>
                </a:lnTo>
                <a:lnTo>
                  <a:pt x="280784" y="400578"/>
                </a:lnTo>
                <a:lnTo>
                  <a:pt x="281645" y="398991"/>
                </a:lnTo>
                <a:lnTo>
                  <a:pt x="282936" y="397403"/>
                </a:lnTo>
                <a:lnTo>
                  <a:pt x="284658" y="395816"/>
                </a:lnTo>
                <a:lnTo>
                  <a:pt x="286379" y="394757"/>
                </a:lnTo>
                <a:lnTo>
                  <a:pt x="288962" y="394228"/>
                </a:lnTo>
                <a:close/>
                <a:moveTo>
                  <a:pt x="813329" y="376238"/>
                </a:moveTo>
                <a:lnTo>
                  <a:pt x="817827" y="384082"/>
                </a:lnTo>
                <a:lnTo>
                  <a:pt x="822325" y="390806"/>
                </a:lnTo>
                <a:lnTo>
                  <a:pt x="821875" y="398650"/>
                </a:lnTo>
                <a:lnTo>
                  <a:pt x="820526" y="408735"/>
                </a:lnTo>
                <a:lnTo>
                  <a:pt x="819626" y="414338"/>
                </a:lnTo>
                <a:lnTo>
                  <a:pt x="818727" y="418820"/>
                </a:lnTo>
                <a:lnTo>
                  <a:pt x="817377" y="423303"/>
                </a:lnTo>
                <a:lnTo>
                  <a:pt x="815578" y="426665"/>
                </a:lnTo>
                <a:lnTo>
                  <a:pt x="813779" y="430026"/>
                </a:lnTo>
                <a:lnTo>
                  <a:pt x="811980" y="432267"/>
                </a:lnTo>
                <a:lnTo>
                  <a:pt x="809281" y="433388"/>
                </a:lnTo>
                <a:lnTo>
                  <a:pt x="807482" y="433388"/>
                </a:lnTo>
                <a:lnTo>
                  <a:pt x="804333" y="432267"/>
                </a:lnTo>
                <a:lnTo>
                  <a:pt x="802084" y="428906"/>
                </a:lnTo>
                <a:lnTo>
                  <a:pt x="798486" y="424423"/>
                </a:lnTo>
                <a:lnTo>
                  <a:pt x="795337" y="417700"/>
                </a:lnTo>
                <a:lnTo>
                  <a:pt x="798036" y="409856"/>
                </a:lnTo>
                <a:lnTo>
                  <a:pt x="802084" y="397529"/>
                </a:lnTo>
                <a:lnTo>
                  <a:pt x="804333" y="390806"/>
                </a:lnTo>
                <a:lnTo>
                  <a:pt x="807482" y="385203"/>
                </a:lnTo>
                <a:lnTo>
                  <a:pt x="810181" y="380720"/>
                </a:lnTo>
                <a:close/>
                <a:moveTo>
                  <a:pt x="923153" y="328613"/>
                </a:moveTo>
                <a:lnTo>
                  <a:pt x="930447" y="328613"/>
                </a:lnTo>
                <a:lnTo>
                  <a:pt x="937312" y="328613"/>
                </a:lnTo>
                <a:lnTo>
                  <a:pt x="944177" y="328613"/>
                </a:lnTo>
                <a:lnTo>
                  <a:pt x="952329" y="329118"/>
                </a:lnTo>
                <a:lnTo>
                  <a:pt x="959193" y="330127"/>
                </a:lnTo>
                <a:lnTo>
                  <a:pt x="964342" y="331640"/>
                </a:lnTo>
                <a:lnTo>
                  <a:pt x="968633" y="333154"/>
                </a:lnTo>
                <a:lnTo>
                  <a:pt x="971636" y="334668"/>
                </a:lnTo>
                <a:lnTo>
                  <a:pt x="975498" y="336181"/>
                </a:lnTo>
                <a:lnTo>
                  <a:pt x="979359" y="337190"/>
                </a:lnTo>
                <a:lnTo>
                  <a:pt x="984079" y="337695"/>
                </a:lnTo>
                <a:lnTo>
                  <a:pt x="989656" y="338200"/>
                </a:lnTo>
                <a:lnTo>
                  <a:pt x="999525" y="338200"/>
                </a:lnTo>
                <a:lnTo>
                  <a:pt x="1004244" y="338200"/>
                </a:lnTo>
                <a:lnTo>
                  <a:pt x="1008535" y="337695"/>
                </a:lnTo>
                <a:lnTo>
                  <a:pt x="1010251" y="337190"/>
                </a:lnTo>
                <a:lnTo>
                  <a:pt x="1011538" y="336686"/>
                </a:lnTo>
                <a:lnTo>
                  <a:pt x="1012396" y="335677"/>
                </a:lnTo>
                <a:lnTo>
                  <a:pt x="1012825" y="334668"/>
                </a:lnTo>
                <a:lnTo>
                  <a:pt x="1011967" y="343245"/>
                </a:lnTo>
                <a:lnTo>
                  <a:pt x="1010251" y="353841"/>
                </a:lnTo>
                <a:lnTo>
                  <a:pt x="1009822" y="360400"/>
                </a:lnTo>
                <a:lnTo>
                  <a:pt x="1009822" y="368977"/>
                </a:lnTo>
                <a:lnTo>
                  <a:pt x="1011109" y="380077"/>
                </a:lnTo>
                <a:lnTo>
                  <a:pt x="1012825" y="393700"/>
                </a:lnTo>
                <a:lnTo>
                  <a:pt x="1011014" y="393294"/>
                </a:lnTo>
                <a:lnTo>
                  <a:pt x="1011795" y="394955"/>
                </a:lnTo>
                <a:lnTo>
                  <a:pt x="1016171" y="405809"/>
                </a:lnTo>
                <a:lnTo>
                  <a:pt x="1021861" y="419765"/>
                </a:lnTo>
                <a:lnTo>
                  <a:pt x="1027112" y="431136"/>
                </a:lnTo>
                <a:lnTo>
                  <a:pt x="997791" y="447675"/>
                </a:lnTo>
                <a:lnTo>
                  <a:pt x="994290" y="446641"/>
                </a:lnTo>
                <a:lnTo>
                  <a:pt x="993202" y="446356"/>
                </a:lnTo>
                <a:lnTo>
                  <a:pt x="994518" y="447624"/>
                </a:lnTo>
                <a:lnTo>
                  <a:pt x="995362" y="449795"/>
                </a:lnTo>
                <a:lnTo>
                  <a:pt x="995362" y="452509"/>
                </a:lnTo>
                <a:lnTo>
                  <a:pt x="978470" y="472594"/>
                </a:lnTo>
                <a:lnTo>
                  <a:pt x="977203" y="473137"/>
                </a:lnTo>
                <a:lnTo>
                  <a:pt x="976358" y="475308"/>
                </a:lnTo>
                <a:lnTo>
                  <a:pt x="975091" y="478022"/>
                </a:lnTo>
                <a:lnTo>
                  <a:pt x="973402" y="481279"/>
                </a:lnTo>
                <a:lnTo>
                  <a:pt x="971290" y="487793"/>
                </a:lnTo>
                <a:lnTo>
                  <a:pt x="970446" y="492136"/>
                </a:lnTo>
                <a:lnTo>
                  <a:pt x="968394" y="493191"/>
                </a:lnTo>
                <a:lnTo>
                  <a:pt x="969030" y="492987"/>
                </a:lnTo>
                <a:lnTo>
                  <a:pt x="974215" y="490914"/>
                </a:lnTo>
                <a:lnTo>
                  <a:pt x="974215" y="489878"/>
                </a:lnTo>
                <a:lnTo>
                  <a:pt x="975079" y="488323"/>
                </a:lnTo>
                <a:lnTo>
                  <a:pt x="975943" y="486768"/>
                </a:lnTo>
                <a:lnTo>
                  <a:pt x="977239" y="485213"/>
                </a:lnTo>
                <a:lnTo>
                  <a:pt x="978967" y="483659"/>
                </a:lnTo>
                <a:lnTo>
                  <a:pt x="980263" y="482622"/>
                </a:lnTo>
                <a:lnTo>
                  <a:pt x="981128" y="482104"/>
                </a:lnTo>
                <a:lnTo>
                  <a:pt x="982424" y="481586"/>
                </a:lnTo>
                <a:lnTo>
                  <a:pt x="982424" y="475367"/>
                </a:lnTo>
                <a:lnTo>
                  <a:pt x="982424" y="472775"/>
                </a:lnTo>
                <a:lnTo>
                  <a:pt x="982856" y="470702"/>
                </a:lnTo>
                <a:lnTo>
                  <a:pt x="983720" y="469666"/>
                </a:lnTo>
                <a:lnTo>
                  <a:pt x="984152" y="468629"/>
                </a:lnTo>
                <a:lnTo>
                  <a:pt x="985448" y="468111"/>
                </a:lnTo>
                <a:lnTo>
                  <a:pt x="987176" y="468629"/>
                </a:lnTo>
                <a:lnTo>
                  <a:pt x="989337" y="469148"/>
                </a:lnTo>
                <a:lnTo>
                  <a:pt x="991065" y="469148"/>
                </a:lnTo>
                <a:lnTo>
                  <a:pt x="991929" y="469148"/>
                </a:lnTo>
                <a:lnTo>
                  <a:pt x="992361" y="468629"/>
                </a:lnTo>
                <a:lnTo>
                  <a:pt x="993657" y="467593"/>
                </a:lnTo>
                <a:lnTo>
                  <a:pt x="994089" y="465520"/>
                </a:lnTo>
                <a:lnTo>
                  <a:pt x="994522" y="462410"/>
                </a:lnTo>
                <a:lnTo>
                  <a:pt x="995818" y="458264"/>
                </a:lnTo>
                <a:lnTo>
                  <a:pt x="996682" y="456191"/>
                </a:lnTo>
                <a:lnTo>
                  <a:pt x="997978" y="454636"/>
                </a:lnTo>
                <a:lnTo>
                  <a:pt x="998842" y="453600"/>
                </a:lnTo>
                <a:lnTo>
                  <a:pt x="999706" y="453082"/>
                </a:lnTo>
                <a:lnTo>
                  <a:pt x="1028654" y="433388"/>
                </a:lnTo>
                <a:lnTo>
                  <a:pt x="1025630" y="436498"/>
                </a:lnTo>
                <a:lnTo>
                  <a:pt x="1045505" y="443753"/>
                </a:lnTo>
                <a:lnTo>
                  <a:pt x="1062787" y="443753"/>
                </a:lnTo>
                <a:lnTo>
                  <a:pt x="1066244" y="456191"/>
                </a:lnTo>
                <a:lnTo>
                  <a:pt x="1083094" y="449972"/>
                </a:lnTo>
                <a:lnTo>
                  <a:pt x="1097352" y="456191"/>
                </a:lnTo>
                <a:lnTo>
                  <a:pt x="1100377" y="481586"/>
                </a:lnTo>
                <a:lnTo>
                  <a:pt x="1120252" y="501279"/>
                </a:lnTo>
                <a:lnTo>
                  <a:pt x="1134942" y="510608"/>
                </a:lnTo>
                <a:lnTo>
                  <a:pt x="1146175" y="519937"/>
                </a:lnTo>
                <a:lnTo>
                  <a:pt x="1134942" y="529783"/>
                </a:lnTo>
                <a:lnTo>
                  <a:pt x="1114635" y="523046"/>
                </a:lnTo>
                <a:lnTo>
                  <a:pt x="1117227" y="536002"/>
                </a:lnTo>
                <a:lnTo>
                  <a:pt x="1123708" y="542221"/>
                </a:lnTo>
                <a:lnTo>
                  <a:pt x="1123708" y="557728"/>
                </a:lnTo>
                <a:lnTo>
                  <a:pt x="1124736" y="557728"/>
                </a:lnTo>
                <a:lnTo>
                  <a:pt x="1138638" y="557728"/>
                </a:lnTo>
                <a:lnTo>
                  <a:pt x="1147326" y="550863"/>
                </a:lnTo>
                <a:lnTo>
                  <a:pt x="1167311" y="550863"/>
                </a:lnTo>
                <a:lnTo>
                  <a:pt x="1175999" y="557728"/>
                </a:lnTo>
                <a:lnTo>
                  <a:pt x="1188163" y="570929"/>
                </a:lnTo>
                <a:lnTo>
                  <a:pt x="1182081" y="584129"/>
                </a:lnTo>
                <a:lnTo>
                  <a:pt x="1205106" y="584129"/>
                </a:lnTo>
                <a:lnTo>
                  <a:pt x="1213795" y="609475"/>
                </a:lnTo>
                <a:lnTo>
                  <a:pt x="1225090" y="606307"/>
                </a:lnTo>
                <a:lnTo>
                  <a:pt x="1237255" y="616340"/>
                </a:lnTo>
                <a:lnTo>
                  <a:pt x="1251591" y="609475"/>
                </a:lnTo>
                <a:lnTo>
                  <a:pt x="1265927" y="622676"/>
                </a:lnTo>
                <a:lnTo>
                  <a:pt x="1282870" y="622676"/>
                </a:lnTo>
                <a:lnTo>
                  <a:pt x="1300682" y="632709"/>
                </a:lnTo>
                <a:lnTo>
                  <a:pt x="1317625" y="639046"/>
                </a:lnTo>
                <a:lnTo>
                  <a:pt x="1315019" y="655415"/>
                </a:lnTo>
                <a:lnTo>
                  <a:pt x="1311978" y="674952"/>
                </a:lnTo>
                <a:lnTo>
                  <a:pt x="1317625" y="687625"/>
                </a:lnTo>
                <a:lnTo>
                  <a:pt x="1303289" y="687625"/>
                </a:lnTo>
                <a:lnTo>
                  <a:pt x="1285911" y="694490"/>
                </a:lnTo>
                <a:lnTo>
                  <a:pt x="1282870" y="710859"/>
                </a:lnTo>
                <a:lnTo>
                  <a:pt x="1274182" y="714027"/>
                </a:lnTo>
                <a:lnTo>
                  <a:pt x="1264190" y="716139"/>
                </a:lnTo>
                <a:lnTo>
                  <a:pt x="1254198" y="718779"/>
                </a:lnTo>
                <a:lnTo>
                  <a:pt x="1244640" y="721948"/>
                </a:lnTo>
                <a:lnTo>
                  <a:pt x="1235517" y="725116"/>
                </a:lnTo>
                <a:lnTo>
                  <a:pt x="1232041" y="727228"/>
                </a:lnTo>
                <a:lnTo>
                  <a:pt x="1228132" y="728812"/>
                </a:lnTo>
                <a:lnTo>
                  <a:pt x="1224656" y="731980"/>
                </a:lnTo>
                <a:lnTo>
                  <a:pt x="1221615" y="734092"/>
                </a:lnTo>
                <a:lnTo>
                  <a:pt x="1219877" y="736733"/>
                </a:lnTo>
                <a:lnTo>
                  <a:pt x="1218139" y="739901"/>
                </a:lnTo>
                <a:lnTo>
                  <a:pt x="1217271" y="743069"/>
                </a:lnTo>
                <a:lnTo>
                  <a:pt x="1216402" y="746237"/>
                </a:lnTo>
                <a:lnTo>
                  <a:pt x="1217271" y="748878"/>
                </a:lnTo>
                <a:lnTo>
                  <a:pt x="1217705" y="751518"/>
                </a:lnTo>
                <a:lnTo>
                  <a:pt x="1219008" y="754158"/>
                </a:lnTo>
                <a:lnTo>
                  <a:pt x="1220312" y="756798"/>
                </a:lnTo>
                <a:lnTo>
                  <a:pt x="1221615" y="759438"/>
                </a:lnTo>
                <a:lnTo>
                  <a:pt x="1223787" y="761550"/>
                </a:lnTo>
                <a:lnTo>
                  <a:pt x="1225959" y="762607"/>
                </a:lnTo>
                <a:lnTo>
                  <a:pt x="1228132" y="763135"/>
                </a:lnTo>
                <a:lnTo>
                  <a:pt x="1237255" y="762078"/>
                </a:lnTo>
                <a:lnTo>
                  <a:pt x="1245509" y="759966"/>
                </a:lnTo>
                <a:lnTo>
                  <a:pt x="1249853" y="759438"/>
                </a:lnTo>
                <a:lnTo>
                  <a:pt x="1254198" y="758910"/>
                </a:lnTo>
                <a:lnTo>
                  <a:pt x="1258542" y="758910"/>
                </a:lnTo>
                <a:lnTo>
                  <a:pt x="1262886" y="759966"/>
                </a:lnTo>
                <a:lnTo>
                  <a:pt x="1258976" y="761550"/>
                </a:lnTo>
                <a:lnTo>
                  <a:pt x="1255501" y="763663"/>
                </a:lnTo>
                <a:lnTo>
                  <a:pt x="1252894" y="766303"/>
                </a:lnTo>
                <a:lnTo>
                  <a:pt x="1249853" y="769471"/>
                </a:lnTo>
                <a:lnTo>
                  <a:pt x="1247681" y="773167"/>
                </a:lnTo>
                <a:lnTo>
                  <a:pt x="1245074" y="776336"/>
                </a:lnTo>
                <a:lnTo>
                  <a:pt x="1242902" y="779504"/>
                </a:lnTo>
                <a:lnTo>
                  <a:pt x="1239861" y="782144"/>
                </a:lnTo>
                <a:lnTo>
                  <a:pt x="1238558" y="777920"/>
                </a:lnTo>
                <a:lnTo>
                  <a:pt x="1237689" y="774751"/>
                </a:lnTo>
                <a:lnTo>
                  <a:pt x="1235951" y="772111"/>
                </a:lnTo>
                <a:lnTo>
                  <a:pt x="1235082" y="770527"/>
                </a:lnTo>
                <a:lnTo>
                  <a:pt x="1232041" y="768415"/>
                </a:lnTo>
                <a:lnTo>
                  <a:pt x="1228132" y="766303"/>
                </a:lnTo>
                <a:lnTo>
                  <a:pt x="1228132" y="768943"/>
                </a:lnTo>
                <a:lnTo>
                  <a:pt x="1227263" y="771583"/>
                </a:lnTo>
                <a:lnTo>
                  <a:pt x="1225959" y="774223"/>
                </a:lnTo>
                <a:lnTo>
                  <a:pt x="1224656" y="776336"/>
                </a:lnTo>
                <a:lnTo>
                  <a:pt x="1220746" y="780560"/>
                </a:lnTo>
                <a:lnTo>
                  <a:pt x="1215967" y="784256"/>
                </a:lnTo>
                <a:lnTo>
                  <a:pt x="1211623" y="788480"/>
                </a:lnTo>
                <a:lnTo>
                  <a:pt x="1207713" y="791649"/>
                </a:lnTo>
                <a:lnTo>
                  <a:pt x="1205541" y="793761"/>
                </a:lnTo>
                <a:lnTo>
                  <a:pt x="1204238" y="795345"/>
                </a:lnTo>
                <a:lnTo>
                  <a:pt x="1202934" y="796929"/>
                </a:lnTo>
                <a:lnTo>
                  <a:pt x="1202065" y="798513"/>
                </a:lnTo>
                <a:lnTo>
                  <a:pt x="1199459" y="797985"/>
                </a:lnTo>
                <a:lnTo>
                  <a:pt x="1197287" y="796929"/>
                </a:lnTo>
                <a:lnTo>
                  <a:pt x="1195114" y="795873"/>
                </a:lnTo>
                <a:lnTo>
                  <a:pt x="1193377" y="794289"/>
                </a:lnTo>
                <a:lnTo>
                  <a:pt x="1191639" y="793233"/>
                </a:lnTo>
                <a:lnTo>
                  <a:pt x="1190336" y="791121"/>
                </a:lnTo>
                <a:lnTo>
                  <a:pt x="1189467" y="789536"/>
                </a:lnTo>
                <a:lnTo>
                  <a:pt x="1188163" y="786896"/>
                </a:lnTo>
                <a:lnTo>
                  <a:pt x="1186426" y="782672"/>
                </a:lnTo>
                <a:lnTo>
                  <a:pt x="1185557" y="777392"/>
                </a:lnTo>
                <a:lnTo>
                  <a:pt x="1185122" y="772111"/>
                </a:lnTo>
                <a:lnTo>
                  <a:pt x="1185122" y="766303"/>
                </a:lnTo>
                <a:lnTo>
                  <a:pt x="1181212" y="765775"/>
                </a:lnTo>
                <a:lnTo>
                  <a:pt x="1177737" y="765247"/>
                </a:lnTo>
                <a:lnTo>
                  <a:pt x="1174696" y="764191"/>
                </a:lnTo>
                <a:lnTo>
                  <a:pt x="1171220" y="762607"/>
                </a:lnTo>
                <a:lnTo>
                  <a:pt x="1165573" y="759438"/>
                </a:lnTo>
                <a:lnTo>
                  <a:pt x="1161663" y="756270"/>
                </a:lnTo>
                <a:lnTo>
                  <a:pt x="1167745" y="754158"/>
                </a:lnTo>
                <a:lnTo>
                  <a:pt x="1174262" y="752046"/>
                </a:lnTo>
                <a:lnTo>
                  <a:pt x="1179475" y="750990"/>
                </a:lnTo>
                <a:lnTo>
                  <a:pt x="1185122" y="749934"/>
                </a:lnTo>
                <a:lnTo>
                  <a:pt x="1195983" y="748349"/>
                </a:lnTo>
                <a:lnTo>
                  <a:pt x="1208147" y="746237"/>
                </a:lnTo>
                <a:lnTo>
                  <a:pt x="1159056" y="746237"/>
                </a:lnTo>
                <a:lnTo>
                  <a:pt x="1155146" y="742013"/>
                </a:lnTo>
                <a:lnTo>
                  <a:pt x="1150802" y="737789"/>
                </a:lnTo>
                <a:lnTo>
                  <a:pt x="1145589" y="734620"/>
                </a:lnTo>
                <a:lnTo>
                  <a:pt x="1140376" y="731452"/>
                </a:lnTo>
                <a:lnTo>
                  <a:pt x="1129949" y="726700"/>
                </a:lnTo>
                <a:lnTo>
                  <a:pt x="1121260" y="723532"/>
                </a:lnTo>
                <a:lnTo>
                  <a:pt x="1115613" y="735677"/>
                </a:lnTo>
                <a:lnTo>
                  <a:pt x="1109531" y="745709"/>
                </a:lnTo>
                <a:lnTo>
                  <a:pt x="1107358" y="750462"/>
                </a:lnTo>
                <a:lnTo>
                  <a:pt x="1104317" y="754686"/>
                </a:lnTo>
                <a:lnTo>
                  <a:pt x="1101711" y="759438"/>
                </a:lnTo>
                <a:lnTo>
                  <a:pt x="1098235" y="763135"/>
                </a:lnTo>
                <a:lnTo>
                  <a:pt x="1093891" y="762607"/>
                </a:lnTo>
                <a:lnTo>
                  <a:pt x="1092780" y="762457"/>
                </a:lnTo>
                <a:lnTo>
                  <a:pt x="1090833" y="765572"/>
                </a:lnTo>
                <a:lnTo>
                  <a:pt x="1087034" y="770299"/>
                </a:lnTo>
                <a:lnTo>
                  <a:pt x="1082391" y="775027"/>
                </a:lnTo>
                <a:lnTo>
                  <a:pt x="1076904" y="779754"/>
                </a:lnTo>
                <a:lnTo>
                  <a:pt x="1076060" y="784482"/>
                </a:lnTo>
                <a:lnTo>
                  <a:pt x="1076060" y="788684"/>
                </a:lnTo>
                <a:lnTo>
                  <a:pt x="1076482" y="792361"/>
                </a:lnTo>
                <a:lnTo>
                  <a:pt x="1076904" y="795513"/>
                </a:lnTo>
                <a:lnTo>
                  <a:pt x="1078592" y="800765"/>
                </a:lnTo>
                <a:lnTo>
                  <a:pt x="1079858" y="805493"/>
                </a:lnTo>
                <a:lnTo>
                  <a:pt x="1072683" y="804442"/>
                </a:lnTo>
                <a:lnTo>
                  <a:pt x="1064663" y="802341"/>
                </a:lnTo>
                <a:lnTo>
                  <a:pt x="1060864" y="801291"/>
                </a:lnTo>
                <a:lnTo>
                  <a:pt x="1056221" y="800240"/>
                </a:lnTo>
                <a:lnTo>
                  <a:pt x="1051156" y="799715"/>
                </a:lnTo>
                <a:lnTo>
                  <a:pt x="1045669" y="799190"/>
                </a:lnTo>
                <a:lnTo>
                  <a:pt x="1038916" y="799715"/>
                </a:lnTo>
                <a:lnTo>
                  <a:pt x="1031740" y="801291"/>
                </a:lnTo>
                <a:lnTo>
                  <a:pt x="1030055" y="801990"/>
                </a:lnTo>
                <a:lnTo>
                  <a:pt x="1036112" y="800641"/>
                </a:lnTo>
                <a:lnTo>
                  <a:pt x="1042972" y="800100"/>
                </a:lnTo>
                <a:lnTo>
                  <a:pt x="1048547" y="800641"/>
                </a:lnTo>
                <a:lnTo>
                  <a:pt x="1053692" y="801182"/>
                </a:lnTo>
                <a:lnTo>
                  <a:pt x="1058408" y="802264"/>
                </a:lnTo>
                <a:lnTo>
                  <a:pt x="1062267" y="803346"/>
                </a:lnTo>
                <a:lnTo>
                  <a:pt x="1070414" y="805510"/>
                </a:lnTo>
                <a:lnTo>
                  <a:pt x="1077703" y="806592"/>
                </a:lnTo>
                <a:lnTo>
                  <a:pt x="1076846" y="811461"/>
                </a:lnTo>
                <a:lnTo>
                  <a:pt x="1075560" y="815248"/>
                </a:lnTo>
                <a:lnTo>
                  <a:pt x="1073844" y="819576"/>
                </a:lnTo>
                <a:lnTo>
                  <a:pt x="1071701" y="822822"/>
                </a:lnTo>
                <a:lnTo>
                  <a:pt x="1069557" y="826068"/>
                </a:lnTo>
                <a:lnTo>
                  <a:pt x="1067842" y="828773"/>
                </a:lnTo>
                <a:lnTo>
                  <a:pt x="1066555" y="830937"/>
                </a:lnTo>
                <a:lnTo>
                  <a:pt x="1066126" y="833642"/>
                </a:lnTo>
                <a:lnTo>
                  <a:pt x="1066126" y="834724"/>
                </a:lnTo>
                <a:lnTo>
                  <a:pt x="1066555" y="835806"/>
                </a:lnTo>
                <a:lnTo>
                  <a:pt x="1067842" y="837429"/>
                </a:lnTo>
                <a:lnTo>
                  <a:pt x="1068699" y="838511"/>
                </a:lnTo>
                <a:lnTo>
                  <a:pt x="1071272" y="840675"/>
                </a:lnTo>
                <a:lnTo>
                  <a:pt x="1074702" y="842839"/>
                </a:lnTo>
                <a:lnTo>
                  <a:pt x="1081562" y="847167"/>
                </a:lnTo>
                <a:lnTo>
                  <a:pt x="1085850" y="850413"/>
                </a:lnTo>
                <a:lnTo>
                  <a:pt x="1080276" y="854200"/>
                </a:lnTo>
                <a:lnTo>
                  <a:pt x="1075560" y="857987"/>
                </a:lnTo>
                <a:lnTo>
                  <a:pt x="1073844" y="859610"/>
                </a:lnTo>
                <a:lnTo>
                  <a:pt x="1072987" y="862314"/>
                </a:lnTo>
                <a:lnTo>
                  <a:pt x="1071701" y="865560"/>
                </a:lnTo>
                <a:lnTo>
                  <a:pt x="1071701" y="869888"/>
                </a:lnTo>
                <a:lnTo>
                  <a:pt x="1068699" y="870970"/>
                </a:lnTo>
                <a:lnTo>
                  <a:pt x="1060552" y="873675"/>
                </a:lnTo>
                <a:lnTo>
                  <a:pt x="1051119" y="877462"/>
                </a:lnTo>
                <a:lnTo>
                  <a:pt x="1043620" y="879952"/>
                </a:lnTo>
                <a:lnTo>
                  <a:pt x="1044378" y="882650"/>
                </a:lnTo>
                <a:lnTo>
                  <a:pt x="1045270" y="886883"/>
                </a:lnTo>
                <a:lnTo>
                  <a:pt x="1045716" y="891646"/>
                </a:lnTo>
                <a:lnTo>
                  <a:pt x="1045716" y="896409"/>
                </a:lnTo>
                <a:lnTo>
                  <a:pt x="1046162" y="905404"/>
                </a:lnTo>
                <a:lnTo>
                  <a:pt x="1046162" y="909109"/>
                </a:lnTo>
                <a:lnTo>
                  <a:pt x="1007803" y="899054"/>
                </a:lnTo>
                <a:lnTo>
                  <a:pt x="1001113" y="900642"/>
                </a:lnTo>
                <a:lnTo>
                  <a:pt x="994868" y="902759"/>
                </a:lnTo>
                <a:lnTo>
                  <a:pt x="989516" y="905934"/>
                </a:lnTo>
                <a:lnTo>
                  <a:pt x="984610" y="909109"/>
                </a:lnTo>
                <a:lnTo>
                  <a:pt x="982826" y="910696"/>
                </a:lnTo>
                <a:lnTo>
                  <a:pt x="981041" y="912813"/>
                </a:lnTo>
                <a:lnTo>
                  <a:pt x="979703" y="914929"/>
                </a:lnTo>
                <a:lnTo>
                  <a:pt x="979257" y="917575"/>
                </a:lnTo>
                <a:lnTo>
                  <a:pt x="978811" y="920221"/>
                </a:lnTo>
                <a:lnTo>
                  <a:pt x="979257" y="922338"/>
                </a:lnTo>
                <a:lnTo>
                  <a:pt x="979703" y="925513"/>
                </a:lnTo>
                <a:lnTo>
                  <a:pt x="981041" y="928159"/>
                </a:lnTo>
                <a:lnTo>
                  <a:pt x="980595" y="929217"/>
                </a:lnTo>
                <a:lnTo>
                  <a:pt x="979257" y="931334"/>
                </a:lnTo>
                <a:lnTo>
                  <a:pt x="978365" y="932921"/>
                </a:lnTo>
                <a:lnTo>
                  <a:pt x="977473" y="933450"/>
                </a:lnTo>
                <a:lnTo>
                  <a:pt x="976135" y="935038"/>
                </a:lnTo>
                <a:lnTo>
                  <a:pt x="975243" y="935038"/>
                </a:lnTo>
                <a:lnTo>
                  <a:pt x="973459" y="935038"/>
                </a:lnTo>
                <a:lnTo>
                  <a:pt x="972121" y="933450"/>
                </a:lnTo>
                <a:lnTo>
                  <a:pt x="970783" y="932392"/>
                </a:lnTo>
                <a:lnTo>
                  <a:pt x="969891" y="931334"/>
                </a:lnTo>
                <a:lnTo>
                  <a:pt x="969445" y="928159"/>
                </a:lnTo>
                <a:lnTo>
                  <a:pt x="969445" y="924984"/>
                </a:lnTo>
                <a:lnTo>
                  <a:pt x="964984" y="924454"/>
                </a:lnTo>
                <a:lnTo>
                  <a:pt x="960524" y="922867"/>
                </a:lnTo>
                <a:lnTo>
                  <a:pt x="957402" y="921279"/>
                </a:lnTo>
                <a:lnTo>
                  <a:pt x="954725" y="918634"/>
                </a:lnTo>
                <a:lnTo>
                  <a:pt x="954725" y="923396"/>
                </a:lnTo>
                <a:lnTo>
                  <a:pt x="954725" y="928159"/>
                </a:lnTo>
                <a:lnTo>
                  <a:pt x="955171" y="930275"/>
                </a:lnTo>
                <a:lnTo>
                  <a:pt x="956064" y="932921"/>
                </a:lnTo>
                <a:lnTo>
                  <a:pt x="958740" y="937154"/>
                </a:lnTo>
                <a:lnTo>
                  <a:pt x="960524" y="940859"/>
                </a:lnTo>
                <a:lnTo>
                  <a:pt x="963646" y="944034"/>
                </a:lnTo>
                <a:lnTo>
                  <a:pt x="965876" y="946679"/>
                </a:lnTo>
                <a:lnTo>
                  <a:pt x="967214" y="947738"/>
                </a:lnTo>
                <a:lnTo>
                  <a:pt x="968106" y="948267"/>
                </a:lnTo>
                <a:lnTo>
                  <a:pt x="968552" y="948267"/>
                </a:lnTo>
                <a:lnTo>
                  <a:pt x="969445" y="948267"/>
                </a:lnTo>
                <a:lnTo>
                  <a:pt x="969445" y="957263"/>
                </a:lnTo>
                <a:lnTo>
                  <a:pt x="969445" y="965730"/>
                </a:lnTo>
                <a:lnTo>
                  <a:pt x="969445" y="973138"/>
                </a:lnTo>
                <a:lnTo>
                  <a:pt x="969445" y="980546"/>
                </a:lnTo>
                <a:lnTo>
                  <a:pt x="969445" y="992188"/>
                </a:lnTo>
                <a:lnTo>
                  <a:pt x="969445" y="1004888"/>
                </a:lnTo>
                <a:lnTo>
                  <a:pt x="968998" y="1007534"/>
                </a:lnTo>
                <a:lnTo>
                  <a:pt x="968552" y="1010180"/>
                </a:lnTo>
                <a:lnTo>
                  <a:pt x="968106" y="1012296"/>
                </a:lnTo>
                <a:lnTo>
                  <a:pt x="967214" y="1013884"/>
                </a:lnTo>
                <a:lnTo>
                  <a:pt x="965430" y="1015471"/>
                </a:lnTo>
                <a:lnTo>
                  <a:pt x="964092" y="1016530"/>
                </a:lnTo>
                <a:lnTo>
                  <a:pt x="962754" y="1016530"/>
                </a:lnTo>
                <a:lnTo>
                  <a:pt x="960524" y="1016530"/>
                </a:lnTo>
                <a:lnTo>
                  <a:pt x="963200" y="1019176"/>
                </a:lnTo>
                <a:lnTo>
                  <a:pt x="967214" y="1022351"/>
                </a:lnTo>
                <a:lnTo>
                  <a:pt x="968998" y="1024467"/>
                </a:lnTo>
                <a:lnTo>
                  <a:pt x="970783" y="1025526"/>
                </a:lnTo>
                <a:lnTo>
                  <a:pt x="973013" y="1026055"/>
                </a:lnTo>
                <a:lnTo>
                  <a:pt x="975243" y="1026584"/>
                </a:lnTo>
                <a:lnTo>
                  <a:pt x="973013" y="1030817"/>
                </a:lnTo>
                <a:lnTo>
                  <a:pt x="970337" y="1033463"/>
                </a:lnTo>
                <a:lnTo>
                  <a:pt x="968998" y="1034521"/>
                </a:lnTo>
                <a:lnTo>
                  <a:pt x="967660" y="1035580"/>
                </a:lnTo>
                <a:lnTo>
                  <a:pt x="965430" y="1036109"/>
                </a:lnTo>
                <a:lnTo>
                  <a:pt x="963646" y="1036109"/>
                </a:lnTo>
                <a:lnTo>
                  <a:pt x="960970" y="1036638"/>
                </a:lnTo>
                <a:lnTo>
                  <a:pt x="959632" y="1037696"/>
                </a:lnTo>
                <a:lnTo>
                  <a:pt x="958294" y="1039284"/>
                </a:lnTo>
                <a:lnTo>
                  <a:pt x="956510" y="1041930"/>
                </a:lnTo>
                <a:lnTo>
                  <a:pt x="955618" y="1044046"/>
                </a:lnTo>
                <a:lnTo>
                  <a:pt x="955171" y="1046692"/>
                </a:lnTo>
                <a:lnTo>
                  <a:pt x="954725" y="1049338"/>
                </a:lnTo>
                <a:lnTo>
                  <a:pt x="954725" y="1052513"/>
                </a:lnTo>
                <a:lnTo>
                  <a:pt x="952941" y="1044046"/>
                </a:lnTo>
                <a:lnTo>
                  <a:pt x="952495" y="1038226"/>
                </a:lnTo>
                <a:lnTo>
                  <a:pt x="952495" y="1036109"/>
                </a:lnTo>
                <a:lnTo>
                  <a:pt x="952941" y="1033992"/>
                </a:lnTo>
                <a:lnTo>
                  <a:pt x="953833" y="1031876"/>
                </a:lnTo>
                <a:lnTo>
                  <a:pt x="954725" y="1029759"/>
                </a:lnTo>
                <a:lnTo>
                  <a:pt x="950265" y="1029759"/>
                </a:lnTo>
                <a:lnTo>
                  <a:pt x="947143" y="1030817"/>
                </a:lnTo>
                <a:lnTo>
                  <a:pt x="944467" y="1031876"/>
                </a:lnTo>
                <a:lnTo>
                  <a:pt x="942237" y="1032934"/>
                </a:lnTo>
                <a:lnTo>
                  <a:pt x="940006" y="1033992"/>
                </a:lnTo>
                <a:lnTo>
                  <a:pt x="938222" y="1035051"/>
                </a:lnTo>
                <a:lnTo>
                  <a:pt x="935546" y="1035580"/>
                </a:lnTo>
                <a:lnTo>
                  <a:pt x="933762" y="1036109"/>
                </a:lnTo>
                <a:lnTo>
                  <a:pt x="933316" y="1023409"/>
                </a:lnTo>
                <a:lnTo>
                  <a:pt x="931532" y="1012296"/>
                </a:lnTo>
                <a:lnTo>
                  <a:pt x="931086" y="1007534"/>
                </a:lnTo>
                <a:lnTo>
                  <a:pt x="931086" y="1003300"/>
                </a:lnTo>
                <a:lnTo>
                  <a:pt x="932424" y="998538"/>
                </a:lnTo>
                <a:lnTo>
                  <a:pt x="933762" y="993775"/>
                </a:lnTo>
                <a:lnTo>
                  <a:pt x="928856" y="993775"/>
                </a:lnTo>
                <a:lnTo>
                  <a:pt x="923949" y="992188"/>
                </a:lnTo>
                <a:lnTo>
                  <a:pt x="919935" y="991130"/>
                </a:lnTo>
                <a:lnTo>
                  <a:pt x="916367" y="989013"/>
                </a:lnTo>
                <a:lnTo>
                  <a:pt x="913690" y="986896"/>
                </a:lnTo>
                <a:lnTo>
                  <a:pt x="911014" y="984250"/>
                </a:lnTo>
                <a:lnTo>
                  <a:pt x="908784" y="981605"/>
                </a:lnTo>
                <a:lnTo>
                  <a:pt x="907446" y="978430"/>
                </a:lnTo>
                <a:lnTo>
                  <a:pt x="904324" y="971021"/>
                </a:lnTo>
                <a:lnTo>
                  <a:pt x="902540" y="963084"/>
                </a:lnTo>
                <a:lnTo>
                  <a:pt x="900309" y="955675"/>
                </a:lnTo>
                <a:lnTo>
                  <a:pt x="898525" y="948267"/>
                </a:lnTo>
                <a:lnTo>
                  <a:pt x="902986" y="945092"/>
                </a:lnTo>
                <a:lnTo>
                  <a:pt x="907000" y="941917"/>
                </a:lnTo>
                <a:lnTo>
                  <a:pt x="911014" y="938213"/>
                </a:lnTo>
                <a:lnTo>
                  <a:pt x="915028" y="932921"/>
                </a:lnTo>
                <a:lnTo>
                  <a:pt x="918597" y="928159"/>
                </a:lnTo>
                <a:lnTo>
                  <a:pt x="920827" y="922338"/>
                </a:lnTo>
                <a:lnTo>
                  <a:pt x="923503" y="915988"/>
                </a:lnTo>
                <a:lnTo>
                  <a:pt x="924841" y="909109"/>
                </a:lnTo>
                <a:lnTo>
                  <a:pt x="931086" y="908579"/>
                </a:lnTo>
                <a:lnTo>
                  <a:pt x="937776" y="906992"/>
                </a:lnTo>
                <a:lnTo>
                  <a:pt x="944021" y="904346"/>
                </a:lnTo>
                <a:lnTo>
                  <a:pt x="949819" y="901171"/>
                </a:lnTo>
                <a:lnTo>
                  <a:pt x="960970" y="894821"/>
                </a:lnTo>
                <a:lnTo>
                  <a:pt x="972567" y="889529"/>
                </a:lnTo>
                <a:lnTo>
                  <a:pt x="978811" y="886883"/>
                </a:lnTo>
                <a:lnTo>
                  <a:pt x="984164" y="884767"/>
                </a:lnTo>
                <a:lnTo>
                  <a:pt x="988615" y="883954"/>
                </a:lnTo>
                <a:lnTo>
                  <a:pt x="988089" y="883954"/>
                </a:lnTo>
                <a:lnTo>
                  <a:pt x="980800" y="883954"/>
                </a:lnTo>
                <a:lnTo>
                  <a:pt x="977798" y="884495"/>
                </a:lnTo>
                <a:lnTo>
                  <a:pt x="974368" y="885036"/>
                </a:lnTo>
                <a:lnTo>
                  <a:pt x="971795" y="886118"/>
                </a:lnTo>
                <a:lnTo>
                  <a:pt x="969891" y="886919"/>
                </a:lnTo>
                <a:lnTo>
                  <a:pt x="960031" y="893098"/>
                </a:lnTo>
                <a:lnTo>
                  <a:pt x="948511" y="900316"/>
                </a:lnTo>
                <a:lnTo>
                  <a:pt x="942538" y="902894"/>
                </a:lnTo>
                <a:lnTo>
                  <a:pt x="935712" y="905988"/>
                </a:lnTo>
                <a:lnTo>
                  <a:pt x="929739" y="907535"/>
                </a:lnTo>
                <a:lnTo>
                  <a:pt x="923340" y="908050"/>
                </a:lnTo>
                <a:lnTo>
                  <a:pt x="919738" y="902827"/>
                </a:lnTo>
                <a:lnTo>
                  <a:pt x="922337" y="907445"/>
                </a:lnTo>
                <a:lnTo>
                  <a:pt x="920697" y="913198"/>
                </a:lnTo>
                <a:lnTo>
                  <a:pt x="919056" y="918952"/>
                </a:lnTo>
                <a:lnTo>
                  <a:pt x="916596" y="924705"/>
                </a:lnTo>
                <a:lnTo>
                  <a:pt x="914545" y="929936"/>
                </a:lnTo>
                <a:lnTo>
                  <a:pt x="911265" y="935166"/>
                </a:lnTo>
                <a:lnTo>
                  <a:pt x="908394" y="939351"/>
                </a:lnTo>
                <a:lnTo>
                  <a:pt x="904293" y="943012"/>
                </a:lnTo>
                <a:lnTo>
                  <a:pt x="900602" y="946150"/>
                </a:lnTo>
                <a:lnTo>
                  <a:pt x="900192" y="944581"/>
                </a:lnTo>
                <a:lnTo>
                  <a:pt x="899782" y="943535"/>
                </a:lnTo>
                <a:lnTo>
                  <a:pt x="898551" y="941966"/>
                </a:lnTo>
                <a:lnTo>
                  <a:pt x="897731" y="940920"/>
                </a:lnTo>
                <a:lnTo>
                  <a:pt x="895271" y="937781"/>
                </a:lnTo>
                <a:lnTo>
                  <a:pt x="891990" y="934643"/>
                </a:lnTo>
                <a:lnTo>
                  <a:pt x="888299" y="931505"/>
                </a:lnTo>
                <a:lnTo>
                  <a:pt x="885428" y="928367"/>
                </a:lnTo>
                <a:lnTo>
                  <a:pt x="882968" y="925751"/>
                </a:lnTo>
                <a:lnTo>
                  <a:pt x="881327" y="923136"/>
                </a:lnTo>
                <a:lnTo>
                  <a:pt x="879277" y="915813"/>
                </a:lnTo>
                <a:lnTo>
                  <a:pt x="877226" y="907445"/>
                </a:lnTo>
                <a:lnTo>
                  <a:pt x="875176" y="898553"/>
                </a:lnTo>
                <a:lnTo>
                  <a:pt x="873125" y="891230"/>
                </a:lnTo>
                <a:lnTo>
                  <a:pt x="874766" y="887569"/>
                </a:lnTo>
                <a:lnTo>
                  <a:pt x="876406" y="883908"/>
                </a:lnTo>
                <a:lnTo>
                  <a:pt x="877226" y="880769"/>
                </a:lnTo>
                <a:lnTo>
                  <a:pt x="878046" y="877631"/>
                </a:lnTo>
                <a:lnTo>
                  <a:pt x="878867" y="871355"/>
                </a:lnTo>
                <a:lnTo>
                  <a:pt x="879277" y="866124"/>
                </a:lnTo>
                <a:lnTo>
                  <a:pt x="879277" y="863509"/>
                </a:lnTo>
                <a:lnTo>
                  <a:pt x="879687" y="861940"/>
                </a:lnTo>
                <a:lnTo>
                  <a:pt x="880917" y="859847"/>
                </a:lnTo>
                <a:lnTo>
                  <a:pt x="881737" y="858278"/>
                </a:lnTo>
                <a:lnTo>
                  <a:pt x="882968" y="857232"/>
                </a:lnTo>
                <a:lnTo>
                  <a:pt x="884198" y="856186"/>
                </a:lnTo>
                <a:lnTo>
                  <a:pt x="886659" y="855663"/>
                </a:lnTo>
                <a:lnTo>
                  <a:pt x="889119" y="855663"/>
                </a:lnTo>
                <a:lnTo>
                  <a:pt x="890760" y="856186"/>
                </a:lnTo>
                <a:lnTo>
                  <a:pt x="890957" y="856312"/>
                </a:lnTo>
                <a:lnTo>
                  <a:pt x="890329" y="855372"/>
                </a:lnTo>
                <a:lnTo>
                  <a:pt x="889013" y="853796"/>
                </a:lnTo>
                <a:lnTo>
                  <a:pt x="887257" y="853270"/>
                </a:lnTo>
                <a:lnTo>
                  <a:pt x="884624" y="853270"/>
                </a:lnTo>
                <a:lnTo>
                  <a:pt x="881992" y="853796"/>
                </a:lnTo>
                <a:lnTo>
                  <a:pt x="880675" y="854847"/>
                </a:lnTo>
                <a:lnTo>
                  <a:pt x="879359" y="855897"/>
                </a:lnTo>
                <a:lnTo>
                  <a:pt x="878481" y="857474"/>
                </a:lnTo>
                <a:lnTo>
                  <a:pt x="877164" y="859575"/>
                </a:lnTo>
                <a:lnTo>
                  <a:pt x="876726" y="861152"/>
                </a:lnTo>
                <a:lnTo>
                  <a:pt x="876726" y="863779"/>
                </a:lnTo>
                <a:lnTo>
                  <a:pt x="876287" y="869033"/>
                </a:lnTo>
                <a:lnTo>
                  <a:pt x="875409" y="874813"/>
                </a:lnTo>
                <a:lnTo>
                  <a:pt x="874532" y="878491"/>
                </a:lnTo>
                <a:lnTo>
                  <a:pt x="873654" y="881644"/>
                </a:lnTo>
                <a:lnTo>
                  <a:pt x="871899" y="885322"/>
                </a:lnTo>
                <a:lnTo>
                  <a:pt x="870143" y="889000"/>
                </a:lnTo>
                <a:lnTo>
                  <a:pt x="868827" y="877440"/>
                </a:lnTo>
                <a:lnTo>
                  <a:pt x="867072" y="867457"/>
                </a:lnTo>
                <a:lnTo>
                  <a:pt x="865755" y="862728"/>
                </a:lnTo>
                <a:lnTo>
                  <a:pt x="863122" y="859050"/>
                </a:lnTo>
                <a:lnTo>
                  <a:pt x="861806" y="857474"/>
                </a:lnTo>
                <a:lnTo>
                  <a:pt x="860489" y="855897"/>
                </a:lnTo>
                <a:lnTo>
                  <a:pt x="857856" y="854321"/>
                </a:lnTo>
                <a:lnTo>
                  <a:pt x="855662" y="853270"/>
                </a:lnTo>
                <a:lnTo>
                  <a:pt x="855662" y="852395"/>
                </a:lnTo>
                <a:lnTo>
                  <a:pt x="832397" y="842694"/>
                </a:lnTo>
                <a:lnTo>
                  <a:pt x="829197" y="842963"/>
                </a:lnTo>
                <a:lnTo>
                  <a:pt x="822238" y="842963"/>
                </a:lnTo>
                <a:lnTo>
                  <a:pt x="819194" y="842963"/>
                </a:lnTo>
                <a:lnTo>
                  <a:pt x="816149" y="842451"/>
                </a:lnTo>
                <a:lnTo>
                  <a:pt x="813105" y="841425"/>
                </a:lnTo>
                <a:lnTo>
                  <a:pt x="809625" y="839375"/>
                </a:lnTo>
                <a:lnTo>
                  <a:pt x="806581" y="837838"/>
                </a:lnTo>
                <a:lnTo>
                  <a:pt x="804406" y="835787"/>
                </a:lnTo>
                <a:lnTo>
                  <a:pt x="802666" y="832712"/>
                </a:lnTo>
                <a:lnTo>
                  <a:pt x="801362" y="830149"/>
                </a:lnTo>
                <a:lnTo>
                  <a:pt x="800057" y="827074"/>
                </a:lnTo>
                <a:lnTo>
                  <a:pt x="798752" y="824511"/>
                </a:lnTo>
                <a:lnTo>
                  <a:pt x="797012" y="822461"/>
                </a:lnTo>
                <a:lnTo>
                  <a:pt x="795273" y="820923"/>
                </a:lnTo>
                <a:lnTo>
                  <a:pt x="790488" y="811697"/>
                </a:lnTo>
                <a:lnTo>
                  <a:pt x="785704" y="802984"/>
                </a:lnTo>
                <a:lnTo>
                  <a:pt x="780920" y="794783"/>
                </a:lnTo>
                <a:lnTo>
                  <a:pt x="775701" y="786582"/>
                </a:lnTo>
                <a:lnTo>
                  <a:pt x="772656" y="782482"/>
                </a:lnTo>
                <a:lnTo>
                  <a:pt x="770046" y="779406"/>
                </a:lnTo>
                <a:lnTo>
                  <a:pt x="767002" y="776331"/>
                </a:lnTo>
                <a:lnTo>
                  <a:pt x="765897" y="775028"/>
                </a:lnTo>
                <a:lnTo>
                  <a:pt x="760695" y="773466"/>
                </a:lnTo>
                <a:lnTo>
                  <a:pt x="752475" y="771349"/>
                </a:lnTo>
                <a:lnTo>
                  <a:pt x="752475" y="767207"/>
                </a:lnTo>
                <a:lnTo>
                  <a:pt x="751779" y="767105"/>
                </a:lnTo>
                <a:lnTo>
                  <a:pt x="750040" y="764542"/>
                </a:lnTo>
                <a:lnTo>
                  <a:pt x="747865" y="761979"/>
                </a:lnTo>
                <a:lnTo>
                  <a:pt x="746995" y="760442"/>
                </a:lnTo>
                <a:lnTo>
                  <a:pt x="746560" y="758391"/>
                </a:lnTo>
                <a:lnTo>
                  <a:pt x="746125" y="756341"/>
                </a:lnTo>
                <a:lnTo>
                  <a:pt x="746125" y="753778"/>
                </a:lnTo>
                <a:lnTo>
                  <a:pt x="752475" y="755139"/>
                </a:lnTo>
                <a:lnTo>
                  <a:pt x="752475" y="753710"/>
                </a:lnTo>
                <a:lnTo>
                  <a:pt x="752475" y="743127"/>
                </a:lnTo>
                <a:lnTo>
                  <a:pt x="752475" y="731838"/>
                </a:lnTo>
                <a:lnTo>
                  <a:pt x="757955" y="731838"/>
                </a:lnTo>
                <a:lnTo>
                  <a:pt x="761087" y="731838"/>
                </a:lnTo>
                <a:lnTo>
                  <a:pt x="764610" y="731838"/>
                </a:lnTo>
                <a:lnTo>
                  <a:pt x="768133" y="731838"/>
                </a:lnTo>
                <a:lnTo>
                  <a:pt x="772830" y="731838"/>
                </a:lnTo>
                <a:lnTo>
                  <a:pt x="777136" y="730427"/>
                </a:lnTo>
                <a:lnTo>
                  <a:pt x="781050" y="729016"/>
                </a:lnTo>
                <a:lnTo>
                  <a:pt x="784965" y="726899"/>
                </a:lnTo>
                <a:lnTo>
                  <a:pt x="791630" y="722894"/>
                </a:lnTo>
                <a:lnTo>
                  <a:pt x="791069" y="723042"/>
                </a:lnTo>
                <a:lnTo>
                  <a:pt x="783510" y="726131"/>
                </a:lnTo>
                <a:lnTo>
                  <a:pt x="779508" y="727676"/>
                </a:lnTo>
                <a:lnTo>
                  <a:pt x="775061" y="728706"/>
                </a:lnTo>
                <a:lnTo>
                  <a:pt x="770615" y="730250"/>
                </a:lnTo>
                <a:lnTo>
                  <a:pt x="765279" y="730250"/>
                </a:lnTo>
                <a:lnTo>
                  <a:pt x="760832" y="730250"/>
                </a:lnTo>
                <a:lnTo>
                  <a:pt x="755941" y="730250"/>
                </a:lnTo>
                <a:lnTo>
                  <a:pt x="750605" y="730250"/>
                </a:lnTo>
                <a:lnTo>
                  <a:pt x="747259" y="730250"/>
                </a:lnTo>
                <a:lnTo>
                  <a:pt x="746889" y="736958"/>
                </a:lnTo>
                <a:lnTo>
                  <a:pt x="746021" y="743247"/>
                </a:lnTo>
                <a:lnTo>
                  <a:pt x="744285" y="748489"/>
                </a:lnTo>
                <a:lnTo>
                  <a:pt x="742983" y="753206"/>
                </a:lnTo>
                <a:lnTo>
                  <a:pt x="742115" y="757923"/>
                </a:lnTo>
                <a:lnTo>
                  <a:pt x="742549" y="762116"/>
                </a:lnTo>
                <a:lnTo>
                  <a:pt x="742915" y="763881"/>
                </a:lnTo>
                <a:lnTo>
                  <a:pt x="742115" y="763688"/>
                </a:lnTo>
                <a:lnTo>
                  <a:pt x="739946" y="763688"/>
                </a:lnTo>
                <a:lnTo>
                  <a:pt x="738644" y="763688"/>
                </a:lnTo>
                <a:lnTo>
                  <a:pt x="737342" y="763688"/>
                </a:lnTo>
                <a:lnTo>
                  <a:pt x="736040" y="763164"/>
                </a:lnTo>
                <a:lnTo>
                  <a:pt x="735172" y="762116"/>
                </a:lnTo>
                <a:lnTo>
                  <a:pt x="733870" y="760543"/>
                </a:lnTo>
                <a:lnTo>
                  <a:pt x="732134" y="758447"/>
                </a:lnTo>
                <a:lnTo>
                  <a:pt x="731266" y="755302"/>
                </a:lnTo>
                <a:lnTo>
                  <a:pt x="730399" y="751109"/>
                </a:lnTo>
                <a:lnTo>
                  <a:pt x="722587" y="753730"/>
                </a:lnTo>
                <a:lnTo>
                  <a:pt x="717380" y="755826"/>
                </a:lnTo>
                <a:lnTo>
                  <a:pt x="715210" y="757399"/>
                </a:lnTo>
                <a:lnTo>
                  <a:pt x="713474" y="758971"/>
                </a:lnTo>
                <a:lnTo>
                  <a:pt x="712173" y="760019"/>
                </a:lnTo>
                <a:lnTo>
                  <a:pt x="711305" y="761592"/>
                </a:lnTo>
                <a:lnTo>
                  <a:pt x="710437" y="764736"/>
                </a:lnTo>
                <a:lnTo>
                  <a:pt x="710003" y="768929"/>
                </a:lnTo>
                <a:lnTo>
                  <a:pt x="710003" y="774170"/>
                </a:lnTo>
                <a:lnTo>
                  <a:pt x="710003" y="780460"/>
                </a:lnTo>
                <a:lnTo>
                  <a:pt x="710437" y="787797"/>
                </a:lnTo>
                <a:lnTo>
                  <a:pt x="711305" y="794087"/>
                </a:lnTo>
                <a:lnTo>
                  <a:pt x="713040" y="799328"/>
                </a:lnTo>
                <a:lnTo>
                  <a:pt x="715644" y="804045"/>
                </a:lnTo>
                <a:lnTo>
                  <a:pt x="716946" y="806141"/>
                </a:lnTo>
                <a:lnTo>
                  <a:pt x="718682" y="807714"/>
                </a:lnTo>
                <a:lnTo>
                  <a:pt x="720418" y="809286"/>
                </a:lnTo>
                <a:lnTo>
                  <a:pt x="722153" y="810334"/>
                </a:lnTo>
                <a:lnTo>
                  <a:pt x="724323" y="811383"/>
                </a:lnTo>
                <a:lnTo>
                  <a:pt x="726059" y="811907"/>
                </a:lnTo>
                <a:lnTo>
                  <a:pt x="727795" y="812431"/>
                </a:lnTo>
                <a:lnTo>
                  <a:pt x="730399" y="812431"/>
                </a:lnTo>
                <a:lnTo>
                  <a:pt x="730399" y="814527"/>
                </a:lnTo>
                <a:lnTo>
                  <a:pt x="731266" y="817148"/>
                </a:lnTo>
                <a:lnTo>
                  <a:pt x="732568" y="819244"/>
                </a:lnTo>
                <a:lnTo>
                  <a:pt x="734738" y="821341"/>
                </a:lnTo>
                <a:lnTo>
                  <a:pt x="739512" y="825534"/>
                </a:lnTo>
                <a:lnTo>
                  <a:pt x="745153" y="829727"/>
                </a:lnTo>
                <a:lnTo>
                  <a:pt x="755568" y="837064"/>
                </a:lnTo>
                <a:lnTo>
                  <a:pt x="761643" y="841781"/>
                </a:lnTo>
                <a:lnTo>
                  <a:pt x="793756" y="874277"/>
                </a:lnTo>
                <a:lnTo>
                  <a:pt x="795492" y="877945"/>
                </a:lnTo>
                <a:lnTo>
                  <a:pt x="798095" y="881090"/>
                </a:lnTo>
                <a:lnTo>
                  <a:pt x="800265" y="883711"/>
                </a:lnTo>
                <a:lnTo>
                  <a:pt x="803303" y="885807"/>
                </a:lnTo>
                <a:lnTo>
                  <a:pt x="806774" y="886855"/>
                </a:lnTo>
                <a:lnTo>
                  <a:pt x="810246" y="887904"/>
                </a:lnTo>
                <a:lnTo>
                  <a:pt x="814585" y="887904"/>
                </a:lnTo>
                <a:lnTo>
                  <a:pt x="819359" y="887380"/>
                </a:lnTo>
                <a:lnTo>
                  <a:pt x="820227" y="888952"/>
                </a:lnTo>
                <a:lnTo>
                  <a:pt x="821963" y="891048"/>
                </a:lnTo>
                <a:lnTo>
                  <a:pt x="823265" y="893145"/>
                </a:lnTo>
                <a:lnTo>
                  <a:pt x="825000" y="895765"/>
                </a:lnTo>
                <a:lnTo>
                  <a:pt x="830208" y="900482"/>
                </a:lnTo>
                <a:lnTo>
                  <a:pt x="835849" y="905724"/>
                </a:lnTo>
                <a:lnTo>
                  <a:pt x="841491" y="909917"/>
                </a:lnTo>
                <a:lnTo>
                  <a:pt x="846698" y="913061"/>
                </a:lnTo>
                <a:lnTo>
                  <a:pt x="851038" y="915158"/>
                </a:lnTo>
                <a:lnTo>
                  <a:pt x="854075" y="916206"/>
                </a:lnTo>
                <a:lnTo>
                  <a:pt x="853641" y="919875"/>
                </a:lnTo>
                <a:lnTo>
                  <a:pt x="852339" y="924068"/>
                </a:lnTo>
                <a:lnTo>
                  <a:pt x="850604" y="928785"/>
                </a:lnTo>
                <a:lnTo>
                  <a:pt x="848434" y="932454"/>
                </a:lnTo>
                <a:lnTo>
                  <a:pt x="842792" y="922495"/>
                </a:lnTo>
                <a:lnTo>
                  <a:pt x="838019" y="921971"/>
                </a:lnTo>
                <a:lnTo>
                  <a:pt x="833245" y="920399"/>
                </a:lnTo>
                <a:lnTo>
                  <a:pt x="831510" y="919875"/>
                </a:lnTo>
                <a:lnTo>
                  <a:pt x="829340" y="918826"/>
                </a:lnTo>
                <a:lnTo>
                  <a:pt x="828472" y="917254"/>
                </a:lnTo>
                <a:lnTo>
                  <a:pt x="828038" y="916206"/>
                </a:lnTo>
                <a:lnTo>
                  <a:pt x="823699" y="916206"/>
                </a:lnTo>
                <a:lnTo>
                  <a:pt x="819359" y="916206"/>
                </a:lnTo>
                <a:lnTo>
                  <a:pt x="819359" y="919351"/>
                </a:lnTo>
                <a:lnTo>
                  <a:pt x="819359" y="923019"/>
                </a:lnTo>
                <a:lnTo>
                  <a:pt x="819359" y="927212"/>
                </a:lnTo>
                <a:lnTo>
                  <a:pt x="819359" y="932454"/>
                </a:lnTo>
                <a:lnTo>
                  <a:pt x="819793" y="936122"/>
                </a:lnTo>
                <a:lnTo>
                  <a:pt x="821963" y="940315"/>
                </a:lnTo>
                <a:lnTo>
                  <a:pt x="822831" y="942412"/>
                </a:lnTo>
                <a:lnTo>
                  <a:pt x="824132" y="943984"/>
                </a:lnTo>
                <a:lnTo>
                  <a:pt x="826302" y="945032"/>
                </a:lnTo>
                <a:lnTo>
                  <a:pt x="828038" y="945556"/>
                </a:lnTo>
                <a:lnTo>
                  <a:pt x="826302" y="950798"/>
                </a:lnTo>
                <a:lnTo>
                  <a:pt x="823699" y="957087"/>
                </a:lnTo>
                <a:lnTo>
                  <a:pt x="822831" y="960232"/>
                </a:lnTo>
                <a:lnTo>
                  <a:pt x="821963" y="962852"/>
                </a:lnTo>
                <a:lnTo>
                  <a:pt x="820227" y="964425"/>
                </a:lnTo>
                <a:lnTo>
                  <a:pt x="819359" y="964949"/>
                </a:lnTo>
                <a:lnTo>
                  <a:pt x="817189" y="973335"/>
                </a:lnTo>
                <a:lnTo>
                  <a:pt x="814152" y="980148"/>
                </a:lnTo>
                <a:lnTo>
                  <a:pt x="812850" y="983817"/>
                </a:lnTo>
                <a:lnTo>
                  <a:pt x="811982" y="986962"/>
                </a:lnTo>
                <a:lnTo>
                  <a:pt x="811548" y="990630"/>
                </a:lnTo>
                <a:lnTo>
                  <a:pt x="810680" y="993775"/>
                </a:lnTo>
                <a:lnTo>
                  <a:pt x="805039" y="992727"/>
                </a:lnTo>
                <a:lnTo>
                  <a:pt x="798529" y="990630"/>
                </a:lnTo>
                <a:lnTo>
                  <a:pt x="793322" y="988010"/>
                </a:lnTo>
                <a:lnTo>
                  <a:pt x="790718" y="986962"/>
                </a:lnTo>
                <a:lnTo>
                  <a:pt x="792454" y="983817"/>
                </a:lnTo>
                <a:lnTo>
                  <a:pt x="794190" y="980672"/>
                </a:lnTo>
                <a:lnTo>
                  <a:pt x="796359" y="978052"/>
                </a:lnTo>
                <a:lnTo>
                  <a:pt x="798963" y="975431"/>
                </a:lnTo>
                <a:lnTo>
                  <a:pt x="801133" y="972810"/>
                </a:lnTo>
                <a:lnTo>
                  <a:pt x="803303" y="969666"/>
                </a:lnTo>
                <a:lnTo>
                  <a:pt x="804171" y="968093"/>
                </a:lnTo>
                <a:lnTo>
                  <a:pt x="804605" y="965997"/>
                </a:lnTo>
                <a:lnTo>
                  <a:pt x="805039" y="963900"/>
                </a:lnTo>
                <a:lnTo>
                  <a:pt x="805039" y="961804"/>
                </a:lnTo>
                <a:lnTo>
                  <a:pt x="804605" y="957611"/>
                </a:lnTo>
                <a:lnTo>
                  <a:pt x="804171" y="953942"/>
                </a:lnTo>
                <a:lnTo>
                  <a:pt x="803303" y="950273"/>
                </a:lnTo>
                <a:lnTo>
                  <a:pt x="802001" y="946605"/>
                </a:lnTo>
                <a:lnTo>
                  <a:pt x="798095" y="939267"/>
                </a:lnTo>
                <a:lnTo>
                  <a:pt x="793756" y="932454"/>
                </a:lnTo>
                <a:lnTo>
                  <a:pt x="788548" y="926164"/>
                </a:lnTo>
                <a:lnTo>
                  <a:pt x="783341" y="920399"/>
                </a:lnTo>
                <a:lnTo>
                  <a:pt x="778133" y="916206"/>
                </a:lnTo>
                <a:lnTo>
                  <a:pt x="773360" y="913061"/>
                </a:lnTo>
                <a:lnTo>
                  <a:pt x="770322" y="912537"/>
                </a:lnTo>
                <a:lnTo>
                  <a:pt x="767285" y="911489"/>
                </a:lnTo>
                <a:lnTo>
                  <a:pt x="764681" y="909917"/>
                </a:lnTo>
                <a:lnTo>
                  <a:pt x="762077" y="908868"/>
                </a:lnTo>
                <a:lnTo>
                  <a:pt x="757304" y="905724"/>
                </a:lnTo>
                <a:lnTo>
                  <a:pt x="754266" y="902055"/>
                </a:lnTo>
                <a:lnTo>
                  <a:pt x="749059" y="896289"/>
                </a:lnTo>
                <a:lnTo>
                  <a:pt x="747323" y="893669"/>
                </a:lnTo>
                <a:lnTo>
                  <a:pt x="741247" y="892097"/>
                </a:lnTo>
                <a:lnTo>
                  <a:pt x="735606" y="890524"/>
                </a:lnTo>
                <a:lnTo>
                  <a:pt x="729965" y="888428"/>
                </a:lnTo>
                <a:lnTo>
                  <a:pt x="724757" y="886331"/>
                </a:lnTo>
                <a:lnTo>
                  <a:pt x="719550" y="884235"/>
                </a:lnTo>
                <a:lnTo>
                  <a:pt x="714776" y="881614"/>
                </a:lnTo>
                <a:lnTo>
                  <a:pt x="710437" y="878470"/>
                </a:lnTo>
                <a:lnTo>
                  <a:pt x="706097" y="875849"/>
                </a:lnTo>
                <a:lnTo>
                  <a:pt x="697852" y="868511"/>
                </a:lnTo>
                <a:lnTo>
                  <a:pt x="690909" y="861698"/>
                </a:lnTo>
                <a:lnTo>
                  <a:pt x="683966" y="854360"/>
                </a:lnTo>
                <a:lnTo>
                  <a:pt x="678324" y="847023"/>
                </a:lnTo>
                <a:lnTo>
                  <a:pt x="673551" y="839161"/>
                </a:lnTo>
                <a:lnTo>
                  <a:pt x="669211" y="831823"/>
                </a:lnTo>
                <a:lnTo>
                  <a:pt x="665740" y="825010"/>
                </a:lnTo>
                <a:lnTo>
                  <a:pt x="662702" y="818196"/>
                </a:lnTo>
                <a:lnTo>
                  <a:pt x="657928" y="807190"/>
                </a:lnTo>
                <a:lnTo>
                  <a:pt x="654891" y="799852"/>
                </a:lnTo>
                <a:lnTo>
                  <a:pt x="647513" y="799852"/>
                </a:lnTo>
                <a:lnTo>
                  <a:pt x="641872" y="799852"/>
                </a:lnTo>
                <a:lnTo>
                  <a:pt x="636665" y="799852"/>
                </a:lnTo>
                <a:lnTo>
                  <a:pt x="632325" y="799852"/>
                </a:lnTo>
                <a:lnTo>
                  <a:pt x="629721" y="800376"/>
                </a:lnTo>
                <a:lnTo>
                  <a:pt x="627986" y="800376"/>
                </a:lnTo>
                <a:lnTo>
                  <a:pt x="625382" y="801424"/>
                </a:lnTo>
                <a:lnTo>
                  <a:pt x="623212" y="802473"/>
                </a:lnTo>
                <a:lnTo>
                  <a:pt x="618005" y="805093"/>
                </a:lnTo>
                <a:lnTo>
                  <a:pt x="612363" y="809286"/>
                </a:lnTo>
                <a:lnTo>
                  <a:pt x="609759" y="805617"/>
                </a:lnTo>
                <a:lnTo>
                  <a:pt x="608458" y="801949"/>
                </a:lnTo>
                <a:lnTo>
                  <a:pt x="606288" y="797756"/>
                </a:lnTo>
                <a:lnTo>
                  <a:pt x="605420" y="793039"/>
                </a:lnTo>
                <a:lnTo>
                  <a:pt x="604552" y="788846"/>
                </a:lnTo>
                <a:lnTo>
                  <a:pt x="603684" y="783604"/>
                </a:lnTo>
                <a:lnTo>
                  <a:pt x="603684" y="778887"/>
                </a:lnTo>
                <a:lnTo>
                  <a:pt x="603250" y="774170"/>
                </a:lnTo>
                <a:lnTo>
                  <a:pt x="603684" y="767881"/>
                </a:lnTo>
                <a:lnTo>
                  <a:pt x="604552" y="762640"/>
                </a:lnTo>
                <a:lnTo>
                  <a:pt x="605420" y="756350"/>
                </a:lnTo>
                <a:lnTo>
                  <a:pt x="605538" y="754063"/>
                </a:lnTo>
                <a:lnTo>
                  <a:pt x="597432" y="754063"/>
                </a:lnTo>
                <a:lnTo>
                  <a:pt x="595328" y="754063"/>
                </a:lnTo>
                <a:lnTo>
                  <a:pt x="592804" y="752265"/>
                </a:lnTo>
                <a:lnTo>
                  <a:pt x="590280" y="750467"/>
                </a:lnTo>
                <a:lnTo>
                  <a:pt x="587335" y="748669"/>
                </a:lnTo>
                <a:lnTo>
                  <a:pt x="584811" y="746271"/>
                </a:lnTo>
                <a:lnTo>
                  <a:pt x="582708" y="743874"/>
                </a:lnTo>
                <a:lnTo>
                  <a:pt x="581446" y="741476"/>
                </a:lnTo>
                <a:lnTo>
                  <a:pt x="581025" y="739678"/>
                </a:lnTo>
                <a:lnTo>
                  <a:pt x="583129" y="737880"/>
                </a:lnTo>
                <a:lnTo>
                  <a:pt x="585232" y="735483"/>
                </a:lnTo>
                <a:lnTo>
                  <a:pt x="586915" y="731287"/>
                </a:lnTo>
                <a:lnTo>
                  <a:pt x="589439" y="727092"/>
                </a:lnTo>
                <a:lnTo>
                  <a:pt x="590701" y="722297"/>
                </a:lnTo>
                <a:lnTo>
                  <a:pt x="592384" y="717502"/>
                </a:lnTo>
                <a:lnTo>
                  <a:pt x="593646" y="712107"/>
                </a:lnTo>
                <a:lnTo>
                  <a:pt x="594908" y="706713"/>
                </a:lnTo>
                <a:lnTo>
                  <a:pt x="608790" y="703716"/>
                </a:lnTo>
                <a:lnTo>
                  <a:pt x="624356" y="700719"/>
                </a:lnTo>
                <a:lnTo>
                  <a:pt x="640530" y="697976"/>
                </a:lnTo>
                <a:lnTo>
                  <a:pt x="634953" y="697976"/>
                </a:lnTo>
                <a:lnTo>
                  <a:pt x="629118" y="697976"/>
                </a:lnTo>
                <a:lnTo>
                  <a:pt x="623282" y="697976"/>
                </a:lnTo>
                <a:lnTo>
                  <a:pt x="617030" y="699032"/>
                </a:lnTo>
                <a:lnTo>
                  <a:pt x="610778" y="700088"/>
                </a:lnTo>
                <a:lnTo>
                  <a:pt x="614946" y="686360"/>
                </a:lnTo>
                <a:lnTo>
                  <a:pt x="617864" y="673160"/>
                </a:lnTo>
                <a:lnTo>
                  <a:pt x="619531" y="666297"/>
                </a:lnTo>
                <a:lnTo>
                  <a:pt x="621198" y="660489"/>
                </a:lnTo>
                <a:lnTo>
                  <a:pt x="622449" y="655209"/>
                </a:lnTo>
                <a:lnTo>
                  <a:pt x="624950" y="650985"/>
                </a:lnTo>
                <a:lnTo>
                  <a:pt x="616613" y="648345"/>
                </a:lnTo>
                <a:lnTo>
                  <a:pt x="607860" y="646761"/>
                </a:lnTo>
                <a:lnTo>
                  <a:pt x="599941" y="645177"/>
                </a:lnTo>
                <a:lnTo>
                  <a:pt x="591605" y="644649"/>
                </a:lnTo>
                <a:lnTo>
                  <a:pt x="591605" y="624585"/>
                </a:lnTo>
                <a:lnTo>
                  <a:pt x="594106" y="608217"/>
                </a:lnTo>
                <a:lnTo>
                  <a:pt x="588687" y="592377"/>
                </a:lnTo>
                <a:lnTo>
                  <a:pt x="587020" y="592905"/>
                </a:lnTo>
                <a:lnTo>
                  <a:pt x="585353" y="592905"/>
                </a:lnTo>
                <a:lnTo>
                  <a:pt x="584102" y="591849"/>
                </a:lnTo>
                <a:lnTo>
                  <a:pt x="583269" y="590265"/>
                </a:lnTo>
                <a:lnTo>
                  <a:pt x="582435" y="588681"/>
                </a:lnTo>
                <a:lnTo>
                  <a:pt x="580768" y="587625"/>
                </a:lnTo>
                <a:lnTo>
                  <a:pt x="579517" y="586569"/>
                </a:lnTo>
                <a:lnTo>
                  <a:pt x="577850" y="586042"/>
                </a:lnTo>
                <a:lnTo>
                  <a:pt x="591605" y="556474"/>
                </a:lnTo>
                <a:lnTo>
                  <a:pt x="591605" y="551194"/>
                </a:lnTo>
                <a:lnTo>
                  <a:pt x="592022" y="547498"/>
                </a:lnTo>
                <a:lnTo>
                  <a:pt x="592438" y="544330"/>
                </a:lnTo>
                <a:lnTo>
                  <a:pt x="592855" y="541690"/>
                </a:lnTo>
                <a:lnTo>
                  <a:pt x="594106" y="537994"/>
                </a:lnTo>
                <a:lnTo>
                  <a:pt x="596606" y="534826"/>
                </a:lnTo>
                <a:lnTo>
                  <a:pt x="598274" y="532186"/>
                </a:lnTo>
                <a:lnTo>
                  <a:pt x="601191" y="527962"/>
                </a:lnTo>
                <a:lnTo>
                  <a:pt x="602025" y="524794"/>
                </a:lnTo>
                <a:lnTo>
                  <a:pt x="603275" y="521098"/>
                </a:lnTo>
                <a:lnTo>
                  <a:pt x="604109" y="516346"/>
                </a:lnTo>
                <a:lnTo>
                  <a:pt x="605359" y="511066"/>
                </a:lnTo>
                <a:lnTo>
                  <a:pt x="611195" y="506315"/>
                </a:lnTo>
                <a:lnTo>
                  <a:pt x="616613" y="502091"/>
                </a:lnTo>
                <a:lnTo>
                  <a:pt x="619114" y="500507"/>
                </a:lnTo>
                <a:lnTo>
                  <a:pt x="621615" y="499451"/>
                </a:lnTo>
                <a:lnTo>
                  <a:pt x="624533" y="498395"/>
                </a:lnTo>
                <a:lnTo>
                  <a:pt x="627450" y="498395"/>
                </a:lnTo>
                <a:lnTo>
                  <a:pt x="623699" y="495227"/>
                </a:lnTo>
                <a:lnTo>
                  <a:pt x="619948" y="491003"/>
                </a:lnTo>
                <a:lnTo>
                  <a:pt x="618697" y="489419"/>
                </a:lnTo>
                <a:lnTo>
                  <a:pt x="617447" y="487835"/>
                </a:lnTo>
                <a:lnTo>
                  <a:pt x="616613" y="486251"/>
                </a:lnTo>
                <a:lnTo>
                  <a:pt x="616613" y="484667"/>
                </a:lnTo>
                <a:lnTo>
                  <a:pt x="616613" y="480443"/>
                </a:lnTo>
                <a:lnTo>
                  <a:pt x="617030" y="476747"/>
                </a:lnTo>
                <a:lnTo>
                  <a:pt x="617447" y="474107"/>
                </a:lnTo>
                <a:lnTo>
                  <a:pt x="618697" y="471467"/>
                </a:lnTo>
                <a:lnTo>
                  <a:pt x="621198" y="466715"/>
                </a:lnTo>
                <a:lnTo>
                  <a:pt x="624245" y="462856"/>
                </a:lnTo>
                <a:lnTo>
                  <a:pt x="623490" y="462553"/>
                </a:lnTo>
                <a:lnTo>
                  <a:pt x="622181" y="461502"/>
                </a:lnTo>
                <a:lnTo>
                  <a:pt x="619561" y="460976"/>
                </a:lnTo>
                <a:lnTo>
                  <a:pt x="616505" y="459399"/>
                </a:lnTo>
                <a:lnTo>
                  <a:pt x="613013" y="456771"/>
                </a:lnTo>
                <a:lnTo>
                  <a:pt x="609957" y="454143"/>
                </a:lnTo>
                <a:lnTo>
                  <a:pt x="606464" y="450464"/>
                </a:lnTo>
                <a:lnTo>
                  <a:pt x="604282" y="446785"/>
                </a:lnTo>
                <a:lnTo>
                  <a:pt x="602972" y="444683"/>
                </a:lnTo>
                <a:lnTo>
                  <a:pt x="602535" y="443106"/>
                </a:lnTo>
                <a:lnTo>
                  <a:pt x="602099" y="441004"/>
                </a:lnTo>
                <a:lnTo>
                  <a:pt x="601662" y="439427"/>
                </a:lnTo>
                <a:lnTo>
                  <a:pt x="602535" y="432068"/>
                </a:lnTo>
                <a:lnTo>
                  <a:pt x="605155" y="422608"/>
                </a:lnTo>
                <a:lnTo>
                  <a:pt x="607774" y="412096"/>
                </a:lnTo>
                <a:lnTo>
                  <a:pt x="610393" y="403161"/>
                </a:lnTo>
                <a:lnTo>
                  <a:pt x="615632" y="402635"/>
                </a:lnTo>
                <a:lnTo>
                  <a:pt x="619998" y="402110"/>
                </a:lnTo>
                <a:lnTo>
                  <a:pt x="623927" y="401058"/>
                </a:lnTo>
                <a:lnTo>
                  <a:pt x="626983" y="399482"/>
                </a:lnTo>
                <a:lnTo>
                  <a:pt x="632222" y="396328"/>
                </a:lnTo>
                <a:lnTo>
                  <a:pt x="636588" y="393700"/>
                </a:lnTo>
                <a:lnTo>
                  <a:pt x="638770" y="394751"/>
                </a:lnTo>
                <a:lnTo>
                  <a:pt x="642263" y="397379"/>
                </a:lnTo>
                <a:lnTo>
                  <a:pt x="644446" y="398956"/>
                </a:lnTo>
                <a:lnTo>
                  <a:pt x="646192" y="400533"/>
                </a:lnTo>
                <a:lnTo>
                  <a:pt x="647938" y="402110"/>
                </a:lnTo>
                <a:lnTo>
                  <a:pt x="648375" y="403161"/>
                </a:lnTo>
                <a:lnTo>
                  <a:pt x="645319" y="408417"/>
                </a:lnTo>
                <a:lnTo>
                  <a:pt x="642263" y="413147"/>
                </a:lnTo>
                <a:lnTo>
                  <a:pt x="643136" y="415775"/>
                </a:lnTo>
                <a:lnTo>
                  <a:pt x="644446" y="419454"/>
                </a:lnTo>
                <a:lnTo>
                  <a:pt x="646192" y="423133"/>
                </a:lnTo>
                <a:lnTo>
                  <a:pt x="648375" y="426813"/>
                </a:lnTo>
                <a:lnTo>
                  <a:pt x="651867" y="433120"/>
                </a:lnTo>
                <a:lnTo>
                  <a:pt x="654050" y="435222"/>
                </a:lnTo>
                <a:lnTo>
                  <a:pt x="650994" y="436273"/>
                </a:lnTo>
                <a:lnTo>
                  <a:pt x="648375" y="437850"/>
                </a:lnTo>
                <a:lnTo>
                  <a:pt x="645319" y="439427"/>
                </a:lnTo>
                <a:lnTo>
                  <a:pt x="643573" y="441529"/>
                </a:lnTo>
                <a:lnTo>
                  <a:pt x="640953" y="443632"/>
                </a:lnTo>
                <a:lnTo>
                  <a:pt x="639644" y="445734"/>
                </a:lnTo>
                <a:lnTo>
                  <a:pt x="637461" y="448362"/>
                </a:lnTo>
                <a:lnTo>
                  <a:pt x="636588" y="450990"/>
                </a:lnTo>
                <a:lnTo>
                  <a:pt x="636213" y="452116"/>
                </a:lnTo>
                <a:lnTo>
                  <a:pt x="638175" y="450879"/>
                </a:lnTo>
                <a:lnTo>
                  <a:pt x="641562" y="448743"/>
                </a:lnTo>
                <a:lnTo>
                  <a:pt x="645795" y="447675"/>
                </a:lnTo>
                <a:lnTo>
                  <a:pt x="646219" y="454083"/>
                </a:lnTo>
                <a:lnTo>
                  <a:pt x="646642" y="460491"/>
                </a:lnTo>
                <a:lnTo>
                  <a:pt x="648335" y="465830"/>
                </a:lnTo>
                <a:lnTo>
                  <a:pt x="649605" y="471170"/>
                </a:lnTo>
                <a:lnTo>
                  <a:pt x="652920" y="483716"/>
                </a:lnTo>
                <a:lnTo>
                  <a:pt x="657044" y="487307"/>
                </a:lnTo>
                <a:lnTo>
                  <a:pt x="663296" y="492587"/>
                </a:lnTo>
                <a:lnTo>
                  <a:pt x="668051" y="496602"/>
                </a:lnTo>
                <a:lnTo>
                  <a:pt x="666334" y="492434"/>
                </a:lnTo>
                <a:lnTo>
                  <a:pt x="663367" y="480729"/>
                </a:lnTo>
                <a:lnTo>
                  <a:pt x="661884" y="475326"/>
                </a:lnTo>
                <a:lnTo>
                  <a:pt x="661389" y="469924"/>
                </a:lnTo>
                <a:lnTo>
                  <a:pt x="660895" y="464522"/>
                </a:lnTo>
                <a:lnTo>
                  <a:pt x="660400" y="459120"/>
                </a:lnTo>
                <a:lnTo>
                  <a:pt x="660400" y="451016"/>
                </a:lnTo>
                <a:lnTo>
                  <a:pt x="660400" y="442913"/>
                </a:lnTo>
                <a:lnTo>
                  <a:pt x="663367" y="444714"/>
                </a:lnTo>
                <a:lnTo>
                  <a:pt x="665345" y="445614"/>
                </a:lnTo>
                <a:lnTo>
                  <a:pt x="666828" y="446515"/>
                </a:lnTo>
                <a:lnTo>
                  <a:pt x="669301" y="446515"/>
                </a:lnTo>
                <a:lnTo>
                  <a:pt x="674245" y="445614"/>
                </a:lnTo>
                <a:lnTo>
                  <a:pt x="680673" y="442913"/>
                </a:lnTo>
                <a:lnTo>
                  <a:pt x="686607" y="455518"/>
                </a:lnTo>
                <a:lnTo>
                  <a:pt x="690562" y="464522"/>
                </a:lnTo>
                <a:lnTo>
                  <a:pt x="689573" y="471725"/>
                </a:lnTo>
                <a:lnTo>
                  <a:pt x="688584" y="478928"/>
                </a:lnTo>
                <a:lnTo>
                  <a:pt x="686607" y="485231"/>
                </a:lnTo>
                <a:lnTo>
                  <a:pt x="684134" y="490633"/>
                </a:lnTo>
                <a:lnTo>
                  <a:pt x="683320" y="491868"/>
                </a:lnTo>
                <a:lnTo>
                  <a:pt x="686220" y="489419"/>
                </a:lnTo>
                <a:lnTo>
                  <a:pt x="689555" y="486779"/>
                </a:lnTo>
                <a:lnTo>
                  <a:pt x="692889" y="484139"/>
                </a:lnTo>
                <a:lnTo>
                  <a:pt x="695390" y="483083"/>
                </a:lnTo>
                <a:lnTo>
                  <a:pt x="697474" y="482555"/>
                </a:lnTo>
                <a:lnTo>
                  <a:pt x="699975" y="482027"/>
                </a:lnTo>
                <a:lnTo>
                  <a:pt x="702059" y="481499"/>
                </a:lnTo>
                <a:lnTo>
                  <a:pt x="705810" y="482027"/>
                </a:lnTo>
                <a:lnTo>
                  <a:pt x="708728" y="482027"/>
                </a:lnTo>
                <a:lnTo>
                  <a:pt x="711229" y="483083"/>
                </a:lnTo>
                <a:lnTo>
                  <a:pt x="713730" y="483611"/>
                </a:lnTo>
                <a:lnTo>
                  <a:pt x="717481" y="485723"/>
                </a:lnTo>
                <a:lnTo>
                  <a:pt x="720399" y="487835"/>
                </a:lnTo>
                <a:lnTo>
                  <a:pt x="723316" y="490475"/>
                </a:lnTo>
                <a:lnTo>
                  <a:pt x="726234" y="492587"/>
                </a:lnTo>
                <a:lnTo>
                  <a:pt x="727484" y="493643"/>
                </a:lnTo>
                <a:lnTo>
                  <a:pt x="729152" y="494171"/>
                </a:lnTo>
                <a:lnTo>
                  <a:pt x="730819" y="494699"/>
                </a:lnTo>
                <a:lnTo>
                  <a:pt x="732903" y="494699"/>
                </a:lnTo>
                <a:lnTo>
                  <a:pt x="736237" y="501035"/>
                </a:lnTo>
                <a:lnTo>
                  <a:pt x="739155" y="506842"/>
                </a:lnTo>
                <a:lnTo>
                  <a:pt x="741656" y="512122"/>
                </a:lnTo>
                <a:lnTo>
                  <a:pt x="743740" y="517930"/>
                </a:lnTo>
                <a:lnTo>
                  <a:pt x="747908" y="529546"/>
                </a:lnTo>
                <a:lnTo>
                  <a:pt x="750826" y="540106"/>
                </a:lnTo>
                <a:lnTo>
                  <a:pt x="752910" y="551194"/>
                </a:lnTo>
                <a:lnTo>
                  <a:pt x="755411" y="562282"/>
                </a:lnTo>
                <a:lnTo>
                  <a:pt x="757495" y="573898"/>
                </a:lnTo>
                <a:lnTo>
                  <a:pt x="760412" y="586042"/>
                </a:lnTo>
                <a:lnTo>
                  <a:pt x="755827" y="586569"/>
                </a:lnTo>
                <a:lnTo>
                  <a:pt x="751242" y="587097"/>
                </a:lnTo>
                <a:lnTo>
                  <a:pt x="747491" y="588681"/>
                </a:lnTo>
                <a:lnTo>
                  <a:pt x="743740" y="590265"/>
                </a:lnTo>
                <a:lnTo>
                  <a:pt x="737488" y="594489"/>
                </a:lnTo>
                <a:lnTo>
                  <a:pt x="731652" y="599241"/>
                </a:lnTo>
                <a:lnTo>
                  <a:pt x="728735" y="601353"/>
                </a:lnTo>
                <a:lnTo>
                  <a:pt x="725400" y="603465"/>
                </a:lnTo>
                <a:lnTo>
                  <a:pt x="722066" y="605049"/>
                </a:lnTo>
                <a:lnTo>
                  <a:pt x="717898" y="606105"/>
                </a:lnTo>
                <a:lnTo>
                  <a:pt x="713730" y="607161"/>
                </a:lnTo>
                <a:lnTo>
                  <a:pt x="708728" y="607161"/>
                </a:lnTo>
                <a:lnTo>
                  <a:pt x="703310" y="606633"/>
                </a:lnTo>
                <a:lnTo>
                  <a:pt x="696641" y="605049"/>
                </a:lnTo>
                <a:lnTo>
                  <a:pt x="698758" y="606838"/>
                </a:lnTo>
                <a:lnTo>
                  <a:pt x="704016" y="608013"/>
                </a:lnTo>
                <a:lnTo>
                  <a:pt x="709788" y="608542"/>
                </a:lnTo>
                <a:lnTo>
                  <a:pt x="715116" y="608542"/>
                </a:lnTo>
                <a:lnTo>
                  <a:pt x="720000" y="607484"/>
                </a:lnTo>
                <a:lnTo>
                  <a:pt x="724440" y="606425"/>
                </a:lnTo>
                <a:lnTo>
                  <a:pt x="728880" y="604838"/>
                </a:lnTo>
                <a:lnTo>
                  <a:pt x="731988" y="602721"/>
                </a:lnTo>
                <a:lnTo>
                  <a:pt x="735540" y="600604"/>
                </a:lnTo>
                <a:lnTo>
                  <a:pt x="742200" y="595842"/>
                </a:lnTo>
                <a:lnTo>
                  <a:pt x="749748" y="591608"/>
                </a:lnTo>
                <a:lnTo>
                  <a:pt x="753744" y="590021"/>
                </a:lnTo>
                <a:lnTo>
                  <a:pt x="758184" y="588433"/>
                </a:lnTo>
                <a:lnTo>
                  <a:pt x="763068" y="587904"/>
                </a:lnTo>
                <a:lnTo>
                  <a:pt x="766543" y="587490"/>
                </a:lnTo>
                <a:lnTo>
                  <a:pt x="765279" y="576357"/>
                </a:lnTo>
                <a:lnTo>
                  <a:pt x="763094" y="566392"/>
                </a:lnTo>
                <a:lnTo>
                  <a:pt x="760909" y="556951"/>
                </a:lnTo>
                <a:lnTo>
                  <a:pt x="758724" y="548035"/>
                </a:lnTo>
                <a:lnTo>
                  <a:pt x="753918" y="533349"/>
                </a:lnTo>
                <a:lnTo>
                  <a:pt x="749111" y="520761"/>
                </a:lnTo>
                <a:lnTo>
                  <a:pt x="744742" y="511845"/>
                </a:lnTo>
                <a:lnTo>
                  <a:pt x="741246" y="505551"/>
                </a:lnTo>
                <a:lnTo>
                  <a:pt x="739061" y="501880"/>
                </a:lnTo>
                <a:lnTo>
                  <a:pt x="738187" y="500831"/>
                </a:lnTo>
                <a:lnTo>
                  <a:pt x="740372" y="500307"/>
                </a:lnTo>
                <a:lnTo>
                  <a:pt x="741683" y="499258"/>
                </a:lnTo>
                <a:lnTo>
                  <a:pt x="742994" y="497684"/>
                </a:lnTo>
                <a:lnTo>
                  <a:pt x="742994" y="495062"/>
                </a:lnTo>
                <a:lnTo>
                  <a:pt x="742994" y="493488"/>
                </a:lnTo>
                <a:lnTo>
                  <a:pt x="742994" y="491915"/>
                </a:lnTo>
                <a:lnTo>
                  <a:pt x="742994" y="490866"/>
                </a:lnTo>
                <a:lnTo>
                  <a:pt x="743868" y="490341"/>
                </a:lnTo>
                <a:lnTo>
                  <a:pt x="753044" y="486146"/>
                </a:lnTo>
                <a:lnTo>
                  <a:pt x="762220" y="482474"/>
                </a:lnTo>
                <a:lnTo>
                  <a:pt x="770085" y="479852"/>
                </a:lnTo>
                <a:lnTo>
                  <a:pt x="778387" y="477229"/>
                </a:lnTo>
                <a:lnTo>
                  <a:pt x="794118" y="472509"/>
                </a:lnTo>
                <a:lnTo>
                  <a:pt x="810285" y="468313"/>
                </a:lnTo>
                <a:lnTo>
                  <a:pt x="813781" y="474082"/>
                </a:lnTo>
                <a:lnTo>
                  <a:pt x="818150" y="480376"/>
                </a:lnTo>
                <a:lnTo>
                  <a:pt x="820335" y="482999"/>
                </a:lnTo>
                <a:lnTo>
                  <a:pt x="822957" y="485097"/>
                </a:lnTo>
                <a:lnTo>
                  <a:pt x="826015" y="486670"/>
                </a:lnTo>
                <a:lnTo>
                  <a:pt x="827763" y="487194"/>
                </a:lnTo>
                <a:lnTo>
                  <a:pt x="833881" y="487194"/>
                </a:lnTo>
                <a:lnTo>
                  <a:pt x="838687" y="487194"/>
                </a:lnTo>
                <a:lnTo>
                  <a:pt x="842620" y="487194"/>
                </a:lnTo>
                <a:lnTo>
                  <a:pt x="845679" y="487194"/>
                </a:lnTo>
                <a:lnTo>
                  <a:pt x="851359" y="480901"/>
                </a:lnTo>
                <a:lnTo>
                  <a:pt x="854072" y="483907"/>
                </a:lnTo>
                <a:lnTo>
                  <a:pt x="854075" y="483899"/>
                </a:lnTo>
                <a:lnTo>
                  <a:pt x="856932" y="476423"/>
                </a:lnTo>
                <a:lnTo>
                  <a:pt x="862171" y="462540"/>
                </a:lnTo>
                <a:lnTo>
                  <a:pt x="865028" y="457200"/>
                </a:lnTo>
                <a:lnTo>
                  <a:pt x="895797" y="469558"/>
                </a:lnTo>
                <a:lnTo>
                  <a:pt x="894851" y="465537"/>
                </a:lnTo>
                <a:lnTo>
                  <a:pt x="863600" y="455766"/>
                </a:lnTo>
                <a:lnTo>
                  <a:pt x="865290" y="455224"/>
                </a:lnTo>
                <a:lnTo>
                  <a:pt x="867401" y="454681"/>
                </a:lnTo>
                <a:lnTo>
                  <a:pt x="868668" y="453052"/>
                </a:lnTo>
                <a:lnTo>
                  <a:pt x="869935" y="451424"/>
                </a:lnTo>
                <a:lnTo>
                  <a:pt x="871202" y="449795"/>
                </a:lnTo>
                <a:lnTo>
                  <a:pt x="871624" y="447624"/>
                </a:lnTo>
                <a:lnTo>
                  <a:pt x="872047" y="444910"/>
                </a:lnTo>
                <a:lnTo>
                  <a:pt x="872047" y="442739"/>
                </a:lnTo>
                <a:lnTo>
                  <a:pt x="872047" y="440567"/>
                </a:lnTo>
                <a:lnTo>
                  <a:pt x="871624" y="439482"/>
                </a:lnTo>
                <a:lnTo>
                  <a:pt x="871202" y="439482"/>
                </a:lnTo>
                <a:lnTo>
                  <a:pt x="869935" y="439482"/>
                </a:lnTo>
                <a:lnTo>
                  <a:pt x="869090" y="438939"/>
                </a:lnTo>
                <a:lnTo>
                  <a:pt x="868246" y="438939"/>
                </a:lnTo>
                <a:lnTo>
                  <a:pt x="867401" y="437853"/>
                </a:lnTo>
                <a:lnTo>
                  <a:pt x="866556" y="435139"/>
                </a:lnTo>
                <a:lnTo>
                  <a:pt x="871202" y="434053"/>
                </a:lnTo>
                <a:lnTo>
                  <a:pt x="877959" y="432968"/>
                </a:lnTo>
                <a:lnTo>
                  <a:pt x="885983" y="431882"/>
                </a:lnTo>
                <a:lnTo>
                  <a:pt x="894851" y="430796"/>
                </a:lnTo>
                <a:lnTo>
                  <a:pt x="910055" y="429168"/>
                </a:lnTo>
                <a:lnTo>
                  <a:pt x="916812" y="428625"/>
                </a:lnTo>
                <a:lnTo>
                  <a:pt x="925258" y="429168"/>
                </a:lnTo>
                <a:lnTo>
                  <a:pt x="932437" y="430254"/>
                </a:lnTo>
                <a:lnTo>
                  <a:pt x="938350" y="431882"/>
                </a:lnTo>
                <a:lnTo>
                  <a:pt x="943418" y="433510"/>
                </a:lnTo>
                <a:lnTo>
                  <a:pt x="948908" y="435682"/>
                </a:lnTo>
                <a:lnTo>
                  <a:pt x="954820" y="437853"/>
                </a:lnTo>
                <a:lnTo>
                  <a:pt x="961577" y="438939"/>
                </a:lnTo>
                <a:lnTo>
                  <a:pt x="968907" y="439387"/>
                </a:lnTo>
                <a:lnTo>
                  <a:pt x="968907" y="438372"/>
                </a:lnTo>
                <a:lnTo>
                  <a:pt x="960154" y="437855"/>
                </a:lnTo>
                <a:lnTo>
                  <a:pt x="953152" y="436821"/>
                </a:lnTo>
                <a:lnTo>
                  <a:pt x="947900" y="434754"/>
                </a:lnTo>
                <a:lnTo>
                  <a:pt x="942649" y="432686"/>
                </a:lnTo>
                <a:lnTo>
                  <a:pt x="937835" y="431136"/>
                </a:lnTo>
                <a:lnTo>
                  <a:pt x="931708" y="429585"/>
                </a:lnTo>
                <a:lnTo>
                  <a:pt x="925143" y="428551"/>
                </a:lnTo>
                <a:lnTo>
                  <a:pt x="916391" y="428034"/>
                </a:lnTo>
                <a:lnTo>
                  <a:pt x="909826" y="428551"/>
                </a:lnTo>
                <a:lnTo>
                  <a:pt x="895384" y="430102"/>
                </a:lnTo>
                <a:lnTo>
                  <a:pt x="887069" y="431136"/>
                </a:lnTo>
                <a:lnTo>
                  <a:pt x="879629" y="432169"/>
                </a:lnTo>
                <a:lnTo>
                  <a:pt x="873940" y="433203"/>
                </a:lnTo>
                <a:lnTo>
                  <a:pt x="870001" y="434237"/>
                </a:lnTo>
                <a:lnTo>
                  <a:pt x="867813" y="430619"/>
                </a:lnTo>
                <a:lnTo>
                  <a:pt x="866500" y="426484"/>
                </a:lnTo>
                <a:lnTo>
                  <a:pt x="865625" y="423383"/>
                </a:lnTo>
                <a:lnTo>
                  <a:pt x="865187" y="419765"/>
                </a:lnTo>
                <a:lnTo>
                  <a:pt x="865187" y="416663"/>
                </a:lnTo>
                <a:lnTo>
                  <a:pt x="865625" y="413562"/>
                </a:lnTo>
                <a:lnTo>
                  <a:pt x="866500" y="410461"/>
                </a:lnTo>
                <a:lnTo>
                  <a:pt x="867375" y="407877"/>
                </a:lnTo>
                <a:lnTo>
                  <a:pt x="869126" y="404776"/>
                </a:lnTo>
                <a:lnTo>
                  <a:pt x="870439" y="402191"/>
                </a:lnTo>
                <a:lnTo>
                  <a:pt x="872189" y="400124"/>
                </a:lnTo>
                <a:lnTo>
                  <a:pt x="874378" y="398056"/>
                </a:lnTo>
                <a:lnTo>
                  <a:pt x="879192" y="393922"/>
                </a:lnTo>
                <a:lnTo>
                  <a:pt x="884443" y="390304"/>
                </a:lnTo>
                <a:lnTo>
                  <a:pt x="891445" y="394438"/>
                </a:lnTo>
                <a:lnTo>
                  <a:pt x="901949" y="400641"/>
                </a:lnTo>
                <a:lnTo>
                  <a:pt x="908075" y="403742"/>
                </a:lnTo>
                <a:lnTo>
                  <a:pt x="913765" y="406326"/>
                </a:lnTo>
                <a:lnTo>
                  <a:pt x="918579" y="408911"/>
                </a:lnTo>
                <a:lnTo>
                  <a:pt x="922517" y="409427"/>
                </a:lnTo>
                <a:lnTo>
                  <a:pt x="923830" y="405809"/>
                </a:lnTo>
                <a:lnTo>
                  <a:pt x="926456" y="399090"/>
                </a:lnTo>
                <a:lnTo>
                  <a:pt x="929520" y="391854"/>
                </a:lnTo>
                <a:lnTo>
                  <a:pt x="930833" y="387202"/>
                </a:lnTo>
                <a:lnTo>
                  <a:pt x="936084" y="384618"/>
                </a:lnTo>
                <a:lnTo>
                  <a:pt x="937260" y="383924"/>
                </a:lnTo>
                <a:lnTo>
                  <a:pt x="936454" y="384114"/>
                </a:lnTo>
                <a:lnTo>
                  <a:pt x="930018" y="384618"/>
                </a:lnTo>
                <a:lnTo>
                  <a:pt x="930447" y="381591"/>
                </a:lnTo>
                <a:lnTo>
                  <a:pt x="930447" y="378564"/>
                </a:lnTo>
                <a:lnTo>
                  <a:pt x="929589" y="376545"/>
                </a:lnTo>
                <a:lnTo>
                  <a:pt x="927873" y="375032"/>
                </a:lnTo>
                <a:lnTo>
                  <a:pt x="923153" y="373013"/>
                </a:lnTo>
                <a:lnTo>
                  <a:pt x="917575" y="371500"/>
                </a:lnTo>
                <a:lnTo>
                  <a:pt x="915001" y="370491"/>
                </a:lnTo>
                <a:lnTo>
                  <a:pt x="911998" y="368977"/>
                </a:lnTo>
                <a:lnTo>
                  <a:pt x="908994" y="366959"/>
                </a:lnTo>
                <a:lnTo>
                  <a:pt x="906849" y="364436"/>
                </a:lnTo>
                <a:lnTo>
                  <a:pt x="904275" y="361409"/>
                </a:lnTo>
                <a:lnTo>
                  <a:pt x="902987" y="357877"/>
                </a:lnTo>
                <a:lnTo>
                  <a:pt x="901700" y="352831"/>
                </a:lnTo>
                <a:lnTo>
                  <a:pt x="901700" y="346777"/>
                </a:lnTo>
                <a:lnTo>
                  <a:pt x="901700" y="343245"/>
                </a:lnTo>
                <a:lnTo>
                  <a:pt x="902558" y="339713"/>
                </a:lnTo>
                <a:lnTo>
                  <a:pt x="903846" y="337190"/>
                </a:lnTo>
                <a:lnTo>
                  <a:pt x="905991" y="335172"/>
                </a:lnTo>
                <a:lnTo>
                  <a:pt x="907707" y="333154"/>
                </a:lnTo>
                <a:lnTo>
                  <a:pt x="910710" y="331640"/>
                </a:lnTo>
                <a:lnTo>
                  <a:pt x="913285" y="330631"/>
                </a:lnTo>
                <a:lnTo>
                  <a:pt x="916288" y="329622"/>
                </a:lnTo>
                <a:close/>
                <a:moveTo>
                  <a:pt x="307385" y="327025"/>
                </a:moveTo>
                <a:lnTo>
                  <a:pt x="311262" y="327546"/>
                </a:lnTo>
                <a:lnTo>
                  <a:pt x="316000" y="328067"/>
                </a:lnTo>
                <a:lnTo>
                  <a:pt x="321601" y="329630"/>
                </a:lnTo>
                <a:lnTo>
                  <a:pt x="328924" y="331193"/>
                </a:lnTo>
                <a:lnTo>
                  <a:pt x="337109" y="332756"/>
                </a:lnTo>
                <a:lnTo>
                  <a:pt x="345724" y="333798"/>
                </a:lnTo>
                <a:lnTo>
                  <a:pt x="356494" y="333798"/>
                </a:lnTo>
                <a:lnTo>
                  <a:pt x="356494" y="335882"/>
                </a:lnTo>
                <a:lnTo>
                  <a:pt x="355632" y="337445"/>
                </a:lnTo>
                <a:lnTo>
                  <a:pt x="354770" y="339008"/>
                </a:lnTo>
                <a:lnTo>
                  <a:pt x="353909" y="340571"/>
                </a:lnTo>
                <a:lnTo>
                  <a:pt x="350893" y="343697"/>
                </a:lnTo>
                <a:lnTo>
                  <a:pt x="347447" y="346302"/>
                </a:lnTo>
                <a:lnTo>
                  <a:pt x="339262" y="351512"/>
                </a:lnTo>
                <a:lnTo>
                  <a:pt x="333232" y="356722"/>
                </a:lnTo>
                <a:lnTo>
                  <a:pt x="332801" y="357764"/>
                </a:lnTo>
                <a:lnTo>
                  <a:pt x="332370" y="358806"/>
                </a:lnTo>
                <a:lnTo>
                  <a:pt x="332370" y="359327"/>
                </a:lnTo>
                <a:lnTo>
                  <a:pt x="332801" y="360369"/>
                </a:lnTo>
                <a:lnTo>
                  <a:pt x="334093" y="361411"/>
                </a:lnTo>
                <a:lnTo>
                  <a:pt x="335385" y="361932"/>
                </a:lnTo>
                <a:lnTo>
                  <a:pt x="337970" y="362974"/>
                </a:lnTo>
                <a:lnTo>
                  <a:pt x="340986" y="363495"/>
                </a:lnTo>
                <a:lnTo>
                  <a:pt x="349170" y="365058"/>
                </a:lnTo>
                <a:lnTo>
                  <a:pt x="361232" y="366621"/>
                </a:lnTo>
                <a:lnTo>
                  <a:pt x="376740" y="368184"/>
                </a:lnTo>
                <a:lnTo>
                  <a:pt x="396556" y="369226"/>
                </a:lnTo>
                <a:lnTo>
                  <a:pt x="396556" y="374436"/>
                </a:lnTo>
                <a:lnTo>
                  <a:pt x="396556" y="381729"/>
                </a:lnTo>
                <a:lnTo>
                  <a:pt x="395264" y="383813"/>
                </a:lnTo>
                <a:lnTo>
                  <a:pt x="391817" y="385376"/>
                </a:lnTo>
                <a:lnTo>
                  <a:pt x="387079" y="387460"/>
                </a:lnTo>
                <a:lnTo>
                  <a:pt x="381910" y="389544"/>
                </a:lnTo>
                <a:lnTo>
                  <a:pt x="371140" y="393191"/>
                </a:lnTo>
                <a:lnTo>
                  <a:pt x="364678" y="394754"/>
                </a:lnTo>
                <a:lnTo>
                  <a:pt x="365971" y="396317"/>
                </a:lnTo>
                <a:lnTo>
                  <a:pt x="366832" y="397880"/>
                </a:lnTo>
                <a:lnTo>
                  <a:pt x="368125" y="398922"/>
                </a:lnTo>
                <a:lnTo>
                  <a:pt x="369417" y="399964"/>
                </a:lnTo>
                <a:lnTo>
                  <a:pt x="373725" y="401006"/>
                </a:lnTo>
                <a:lnTo>
                  <a:pt x="378033" y="401527"/>
                </a:lnTo>
                <a:lnTo>
                  <a:pt x="387079" y="401527"/>
                </a:lnTo>
                <a:lnTo>
                  <a:pt x="393541" y="401006"/>
                </a:lnTo>
                <a:lnTo>
                  <a:pt x="393541" y="403611"/>
                </a:lnTo>
                <a:lnTo>
                  <a:pt x="394402" y="406216"/>
                </a:lnTo>
                <a:lnTo>
                  <a:pt x="395694" y="408300"/>
                </a:lnTo>
                <a:lnTo>
                  <a:pt x="396987" y="410905"/>
                </a:lnTo>
                <a:lnTo>
                  <a:pt x="400864" y="416636"/>
                </a:lnTo>
                <a:lnTo>
                  <a:pt x="405172" y="421846"/>
                </a:lnTo>
                <a:lnTo>
                  <a:pt x="409479" y="426535"/>
                </a:lnTo>
                <a:lnTo>
                  <a:pt x="412495" y="431224"/>
                </a:lnTo>
                <a:lnTo>
                  <a:pt x="414218" y="433829"/>
                </a:lnTo>
                <a:lnTo>
                  <a:pt x="415510" y="435913"/>
                </a:lnTo>
                <a:lnTo>
                  <a:pt x="415941" y="437476"/>
                </a:lnTo>
                <a:lnTo>
                  <a:pt x="416372" y="439560"/>
                </a:lnTo>
                <a:lnTo>
                  <a:pt x="416372" y="443207"/>
                </a:lnTo>
                <a:lnTo>
                  <a:pt x="416803" y="447896"/>
                </a:lnTo>
                <a:lnTo>
                  <a:pt x="416803" y="450501"/>
                </a:lnTo>
                <a:lnTo>
                  <a:pt x="417664" y="452585"/>
                </a:lnTo>
                <a:lnTo>
                  <a:pt x="418095" y="454148"/>
                </a:lnTo>
                <a:lnTo>
                  <a:pt x="419387" y="455711"/>
                </a:lnTo>
                <a:lnTo>
                  <a:pt x="421972" y="459358"/>
                </a:lnTo>
                <a:lnTo>
                  <a:pt x="424126" y="463005"/>
                </a:lnTo>
                <a:lnTo>
                  <a:pt x="425418" y="466131"/>
                </a:lnTo>
                <a:lnTo>
                  <a:pt x="426711" y="469256"/>
                </a:lnTo>
                <a:lnTo>
                  <a:pt x="428003" y="472382"/>
                </a:lnTo>
                <a:lnTo>
                  <a:pt x="430157" y="474987"/>
                </a:lnTo>
                <a:lnTo>
                  <a:pt x="432741" y="477071"/>
                </a:lnTo>
                <a:lnTo>
                  <a:pt x="436188" y="478634"/>
                </a:lnTo>
                <a:lnTo>
                  <a:pt x="436618" y="481760"/>
                </a:lnTo>
                <a:lnTo>
                  <a:pt x="438342" y="485407"/>
                </a:lnTo>
                <a:lnTo>
                  <a:pt x="440495" y="488533"/>
                </a:lnTo>
                <a:lnTo>
                  <a:pt x="442649" y="491659"/>
                </a:lnTo>
                <a:lnTo>
                  <a:pt x="445665" y="493743"/>
                </a:lnTo>
                <a:lnTo>
                  <a:pt x="448680" y="495827"/>
                </a:lnTo>
                <a:lnTo>
                  <a:pt x="451265" y="496869"/>
                </a:lnTo>
                <a:lnTo>
                  <a:pt x="453850" y="497390"/>
                </a:lnTo>
                <a:lnTo>
                  <a:pt x="453850" y="502600"/>
                </a:lnTo>
                <a:lnTo>
                  <a:pt x="453850" y="507289"/>
                </a:lnTo>
                <a:lnTo>
                  <a:pt x="457727" y="505726"/>
                </a:lnTo>
                <a:lnTo>
                  <a:pt x="461173" y="504684"/>
                </a:lnTo>
                <a:lnTo>
                  <a:pt x="464188" y="504684"/>
                </a:lnTo>
                <a:lnTo>
                  <a:pt x="466773" y="505205"/>
                </a:lnTo>
                <a:lnTo>
                  <a:pt x="472373" y="507810"/>
                </a:lnTo>
                <a:lnTo>
                  <a:pt x="476250" y="510415"/>
                </a:lnTo>
                <a:lnTo>
                  <a:pt x="475389" y="517188"/>
                </a:lnTo>
                <a:lnTo>
                  <a:pt x="474527" y="522919"/>
                </a:lnTo>
                <a:lnTo>
                  <a:pt x="474096" y="526045"/>
                </a:lnTo>
                <a:lnTo>
                  <a:pt x="474096" y="529692"/>
                </a:lnTo>
                <a:lnTo>
                  <a:pt x="474958" y="532818"/>
                </a:lnTo>
                <a:lnTo>
                  <a:pt x="476250" y="535944"/>
                </a:lnTo>
                <a:lnTo>
                  <a:pt x="474096" y="536465"/>
                </a:lnTo>
                <a:lnTo>
                  <a:pt x="471512" y="536986"/>
                </a:lnTo>
                <a:lnTo>
                  <a:pt x="469358" y="537507"/>
                </a:lnTo>
                <a:lnTo>
                  <a:pt x="466773" y="538549"/>
                </a:lnTo>
                <a:lnTo>
                  <a:pt x="465050" y="540112"/>
                </a:lnTo>
                <a:lnTo>
                  <a:pt x="463758" y="541675"/>
                </a:lnTo>
                <a:lnTo>
                  <a:pt x="462896" y="543238"/>
                </a:lnTo>
                <a:lnTo>
                  <a:pt x="462034" y="545843"/>
                </a:lnTo>
                <a:lnTo>
                  <a:pt x="462034" y="546885"/>
                </a:lnTo>
                <a:lnTo>
                  <a:pt x="462896" y="547927"/>
                </a:lnTo>
                <a:lnTo>
                  <a:pt x="463327" y="548969"/>
                </a:lnTo>
                <a:lnTo>
                  <a:pt x="464188" y="550532"/>
                </a:lnTo>
                <a:lnTo>
                  <a:pt x="466773" y="552616"/>
                </a:lnTo>
                <a:lnTo>
                  <a:pt x="470650" y="555221"/>
                </a:lnTo>
                <a:lnTo>
                  <a:pt x="466773" y="557826"/>
                </a:lnTo>
                <a:lnTo>
                  <a:pt x="464619" y="559909"/>
                </a:lnTo>
                <a:lnTo>
                  <a:pt x="462896" y="561993"/>
                </a:lnTo>
                <a:lnTo>
                  <a:pt x="461173" y="564077"/>
                </a:lnTo>
                <a:lnTo>
                  <a:pt x="459450" y="568245"/>
                </a:lnTo>
                <a:lnTo>
                  <a:pt x="456434" y="574497"/>
                </a:lnTo>
                <a:lnTo>
                  <a:pt x="367694" y="574497"/>
                </a:lnTo>
                <a:lnTo>
                  <a:pt x="367694" y="580749"/>
                </a:lnTo>
                <a:lnTo>
                  <a:pt x="367694" y="587522"/>
                </a:lnTo>
                <a:lnTo>
                  <a:pt x="354770" y="588043"/>
                </a:lnTo>
                <a:lnTo>
                  <a:pt x="343570" y="589085"/>
                </a:lnTo>
                <a:lnTo>
                  <a:pt x="338401" y="590127"/>
                </a:lnTo>
                <a:lnTo>
                  <a:pt x="334093" y="591690"/>
                </a:lnTo>
                <a:lnTo>
                  <a:pt x="332370" y="592732"/>
                </a:lnTo>
                <a:lnTo>
                  <a:pt x="330216" y="593774"/>
                </a:lnTo>
                <a:lnTo>
                  <a:pt x="328924" y="595337"/>
                </a:lnTo>
                <a:lnTo>
                  <a:pt x="327631" y="596900"/>
                </a:lnTo>
                <a:lnTo>
                  <a:pt x="328062" y="593253"/>
                </a:lnTo>
                <a:lnTo>
                  <a:pt x="328493" y="590127"/>
                </a:lnTo>
                <a:lnTo>
                  <a:pt x="328924" y="587001"/>
                </a:lnTo>
                <a:lnTo>
                  <a:pt x="329785" y="583875"/>
                </a:lnTo>
                <a:lnTo>
                  <a:pt x="331078" y="581270"/>
                </a:lnTo>
                <a:lnTo>
                  <a:pt x="332370" y="579186"/>
                </a:lnTo>
                <a:lnTo>
                  <a:pt x="334093" y="577102"/>
                </a:lnTo>
                <a:lnTo>
                  <a:pt x="335385" y="575018"/>
                </a:lnTo>
                <a:lnTo>
                  <a:pt x="339693" y="571892"/>
                </a:lnTo>
                <a:lnTo>
                  <a:pt x="344001" y="569287"/>
                </a:lnTo>
                <a:lnTo>
                  <a:pt x="348740" y="567724"/>
                </a:lnTo>
                <a:lnTo>
                  <a:pt x="353909" y="565640"/>
                </a:lnTo>
                <a:lnTo>
                  <a:pt x="363386" y="563035"/>
                </a:lnTo>
                <a:lnTo>
                  <a:pt x="372432" y="560430"/>
                </a:lnTo>
                <a:lnTo>
                  <a:pt x="375879" y="558346"/>
                </a:lnTo>
                <a:lnTo>
                  <a:pt x="378894" y="555742"/>
                </a:lnTo>
                <a:lnTo>
                  <a:pt x="379756" y="554179"/>
                </a:lnTo>
                <a:lnTo>
                  <a:pt x="381048" y="552616"/>
                </a:lnTo>
                <a:lnTo>
                  <a:pt x="381910" y="550532"/>
                </a:lnTo>
                <a:lnTo>
                  <a:pt x="381910" y="550011"/>
                </a:lnTo>
                <a:lnTo>
                  <a:pt x="381048" y="551053"/>
                </a:lnTo>
                <a:lnTo>
                  <a:pt x="379756" y="552095"/>
                </a:lnTo>
                <a:lnTo>
                  <a:pt x="378463" y="553137"/>
                </a:lnTo>
                <a:lnTo>
                  <a:pt x="374586" y="554700"/>
                </a:lnTo>
                <a:lnTo>
                  <a:pt x="370279" y="555221"/>
                </a:lnTo>
                <a:lnTo>
                  <a:pt x="363817" y="554700"/>
                </a:lnTo>
                <a:lnTo>
                  <a:pt x="352617" y="552095"/>
                </a:lnTo>
                <a:lnTo>
                  <a:pt x="346155" y="550532"/>
                </a:lnTo>
                <a:lnTo>
                  <a:pt x="340986" y="548448"/>
                </a:lnTo>
                <a:lnTo>
                  <a:pt x="339262" y="547406"/>
                </a:lnTo>
                <a:lnTo>
                  <a:pt x="337539" y="545843"/>
                </a:lnTo>
                <a:lnTo>
                  <a:pt x="336247" y="544280"/>
                </a:lnTo>
                <a:lnTo>
                  <a:pt x="336247" y="542717"/>
                </a:lnTo>
                <a:lnTo>
                  <a:pt x="336247" y="539070"/>
                </a:lnTo>
                <a:lnTo>
                  <a:pt x="337970" y="536465"/>
                </a:lnTo>
                <a:lnTo>
                  <a:pt x="339262" y="534381"/>
                </a:lnTo>
                <a:lnTo>
                  <a:pt x="340986" y="532818"/>
                </a:lnTo>
                <a:lnTo>
                  <a:pt x="343570" y="531255"/>
                </a:lnTo>
                <a:lnTo>
                  <a:pt x="345724" y="530734"/>
                </a:lnTo>
                <a:lnTo>
                  <a:pt x="348309" y="530213"/>
                </a:lnTo>
                <a:lnTo>
                  <a:pt x="350463" y="529692"/>
                </a:lnTo>
                <a:lnTo>
                  <a:pt x="350463" y="510415"/>
                </a:lnTo>
                <a:lnTo>
                  <a:pt x="342278" y="510415"/>
                </a:lnTo>
                <a:lnTo>
                  <a:pt x="343570" y="506768"/>
                </a:lnTo>
                <a:lnTo>
                  <a:pt x="345293" y="503642"/>
                </a:lnTo>
                <a:lnTo>
                  <a:pt x="347878" y="501037"/>
                </a:lnTo>
                <a:lnTo>
                  <a:pt x="350032" y="498432"/>
                </a:lnTo>
                <a:lnTo>
                  <a:pt x="355201" y="495306"/>
                </a:lnTo>
                <a:lnTo>
                  <a:pt x="360371" y="493222"/>
                </a:lnTo>
                <a:lnTo>
                  <a:pt x="365971" y="491138"/>
                </a:lnTo>
                <a:lnTo>
                  <a:pt x="371140" y="488012"/>
                </a:lnTo>
                <a:lnTo>
                  <a:pt x="373294" y="486449"/>
                </a:lnTo>
                <a:lnTo>
                  <a:pt x="375017" y="484365"/>
                </a:lnTo>
                <a:lnTo>
                  <a:pt x="377602" y="481760"/>
                </a:lnTo>
                <a:lnTo>
                  <a:pt x="378894" y="478634"/>
                </a:lnTo>
                <a:lnTo>
                  <a:pt x="376309" y="476029"/>
                </a:lnTo>
                <a:lnTo>
                  <a:pt x="373294" y="473424"/>
                </a:lnTo>
                <a:lnTo>
                  <a:pt x="371140" y="471340"/>
                </a:lnTo>
                <a:lnTo>
                  <a:pt x="368555" y="468215"/>
                </a:lnTo>
                <a:lnTo>
                  <a:pt x="367263" y="465089"/>
                </a:lnTo>
                <a:lnTo>
                  <a:pt x="365971" y="462484"/>
                </a:lnTo>
                <a:lnTo>
                  <a:pt x="365109" y="459358"/>
                </a:lnTo>
                <a:lnTo>
                  <a:pt x="364678" y="455711"/>
                </a:lnTo>
                <a:lnTo>
                  <a:pt x="358647" y="455711"/>
                </a:lnTo>
                <a:lnTo>
                  <a:pt x="353478" y="454669"/>
                </a:lnTo>
                <a:lnTo>
                  <a:pt x="349170" y="453106"/>
                </a:lnTo>
                <a:lnTo>
                  <a:pt x="345293" y="451543"/>
                </a:lnTo>
                <a:lnTo>
                  <a:pt x="342709" y="449459"/>
                </a:lnTo>
                <a:lnTo>
                  <a:pt x="340555" y="446333"/>
                </a:lnTo>
                <a:lnTo>
                  <a:pt x="339262" y="443728"/>
                </a:lnTo>
                <a:lnTo>
                  <a:pt x="339262" y="439560"/>
                </a:lnTo>
                <a:lnTo>
                  <a:pt x="339262" y="435913"/>
                </a:lnTo>
                <a:lnTo>
                  <a:pt x="340124" y="432787"/>
                </a:lnTo>
                <a:lnTo>
                  <a:pt x="341847" y="430182"/>
                </a:lnTo>
                <a:lnTo>
                  <a:pt x="343570" y="427056"/>
                </a:lnTo>
                <a:lnTo>
                  <a:pt x="344863" y="423930"/>
                </a:lnTo>
                <a:lnTo>
                  <a:pt x="346155" y="420804"/>
                </a:lnTo>
                <a:lnTo>
                  <a:pt x="347447" y="417678"/>
                </a:lnTo>
                <a:lnTo>
                  <a:pt x="347878" y="414552"/>
                </a:lnTo>
                <a:lnTo>
                  <a:pt x="344432" y="416115"/>
                </a:lnTo>
                <a:lnTo>
                  <a:pt x="341847" y="418199"/>
                </a:lnTo>
                <a:lnTo>
                  <a:pt x="339262" y="420804"/>
                </a:lnTo>
                <a:lnTo>
                  <a:pt x="336247" y="423930"/>
                </a:lnTo>
                <a:lnTo>
                  <a:pt x="332370" y="430703"/>
                </a:lnTo>
                <a:lnTo>
                  <a:pt x="327631" y="436434"/>
                </a:lnTo>
                <a:lnTo>
                  <a:pt x="318154" y="420283"/>
                </a:lnTo>
                <a:lnTo>
                  <a:pt x="314277" y="411426"/>
                </a:lnTo>
                <a:lnTo>
                  <a:pt x="313416" y="408821"/>
                </a:lnTo>
                <a:lnTo>
                  <a:pt x="313416" y="406737"/>
                </a:lnTo>
                <a:lnTo>
                  <a:pt x="313416" y="404132"/>
                </a:lnTo>
                <a:lnTo>
                  <a:pt x="313416" y="401006"/>
                </a:lnTo>
                <a:lnTo>
                  <a:pt x="312123" y="400485"/>
                </a:lnTo>
                <a:lnTo>
                  <a:pt x="311693" y="398922"/>
                </a:lnTo>
                <a:lnTo>
                  <a:pt x="311262" y="397359"/>
                </a:lnTo>
                <a:lnTo>
                  <a:pt x="310831" y="395275"/>
                </a:lnTo>
                <a:lnTo>
                  <a:pt x="310831" y="390065"/>
                </a:lnTo>
                <a:lnTo>
                  <a:pt x="311262" y="384334"/>
                </a:lnTo>
                <a:lnTo>
                  <a:pt x="312123" y="370789"/>
                </a:lnTo>
                <a:lnTo>
                  <a:pt x="313416" y="359848"/>
                </a:lnTo>
                <a:lnTo>
                  <a:pt x="313846" y="357764"/>
                </a:lnTo>
                <a:lnTo>
                  <a:pt x="313846" y="355680"/>
                </a:lnTo>
                <a:lnTo>
                  <a:pt x="313416" y="353596"/>
                </a:lnTo>
                <a:lnTo>
                  <a:pt x="312985" y="352554"/>
                </a:lnTo>
                <a:lnTo>
                  <a:pt x="311262" y="350470"/>
                </a:lnTo>
                <a:lnTo>
                  <a:pt x="309539" y="349428"/>
                </a:lnTo>
                <a:lnTo>
                  <a:pt x="307385" y="348386"/>
                </a:lnTo>
                <a:lnTo>
                  <a:pt x="306523" y="347865"/>
                </a:lnTo>
                <a:lnTo>
                  <a:pt x="306092" y="347344"/>
                </a:lnTo>
                <a:lnTo>
                  <a:pt x="307385" y="346302"/>
                </a:lnTo>
                <a:lnTo>
                  <a:pt x="310400" y="341613"/>
                </a:lnTo>
                <a:lnTo>
                  <a:pt x="313416" y="336924"/>
                </a:lnTo>
                <a:lnTo>
                  <a:pt x="313416" y="333798"/>
                </a:lnTo>
                <a:lnTo>
                  <a:pt x="309539" y="332756"/>
                </a:lnTo>
                <a:lnTo>
                  <a:pt x="306954" y="332235"/>
                </a:lnTo>
                <a:lnTo>
                  <a:pt x="306092" y="331714"/>
                </a:lnTo>
                <a:lnTo>
                  <a:pt x="305231" y="330672"/>
                </a:lnTo>
                <a:lnTo>
                  <a:pt x="304800" y="329630"/>
                </a:lnTo>
                <a:lnTo>
                  <a:pt x="304800" y="327546"/>
                </a:lnTo>
                <a:close/>
                <a:moveTo>
                  <a:pt x="299171" y="250825"/>
                </a:moveTo>
                <a:lnTo>
                  <a:pt x="300614" y="260043"/>
                </a:lnTo>
                <a:lnTo>
                  <a:pt x="301769" y="272948"/>
                </a:lnTo>
                <a:lnTo>
                  <a:pt x="302923" y="291383"/>
                </a:lnTo>
                <a:lnTo>
                  <a:pt x="303212" y="307975"/>
                </a:lnTo>
                <a:lnTo>
                  <a:pt x="301480" y="306132"/>
                </a:lnTo>
                <a:lnTo>
                  <a:pt x="300037" y="302444"/>
                </a:lnTo>
                <a:lnTo>
                  <a:pt x="298305" y="296914"/>
                </a:lnTo>
                <a:lnTo>
                  <a:pt x="296862" y="291383"/>
                </a:lnTo>
                <a:lnTo>
                  <a:pt x="294553" y="278478"/>
                </a:lnTo>
                <a:lnTo>
                  <a:pt x="293687" y="272948"/>
                </a:lnTo>
                <a:close/>
                <a:moveTo>
                  <a:pt x="701061" y="203656"/>
                </a:moveTo>
                <a:lnTo>
                  <a:pt x="698462" y="204181"/>
                </a:lnTo>
                <a:lnTo>
                  <a:pt x="692397" y="204705"/>
                </a:lnTo>
                <a:lnTo>
                  <a:pt x="686331" y="205230"/>
                </a:lnTo>
                <a:lnTo>
                  <a:pt x="686024" y="206366"/>
                </a:lnTo>
                <a:lnTo>
                  <a:pt x="689968" y="206034"/>
                </a:lnTo>
                <a:lnTo>
                  <a:pt x="696162" y="205511"/>
                </a:lnTo>
                <a:lnTo>
                  <a:pt x="698817" y="204989"/>
                </a:lnTo>
                <a:lnTo>
                  <a:pt x="701029" y="204989"/>
                </a:lnTo>
                <a:lnTo>
                  <a:pt x="702799" y="205511"/>
                </a:lnTo>
                <a:lnTo>
                  <a:pt x="704127" y="206556"/>
                </a:lnTo>
                <a:lnTo>
                  <a:pt x="704264" y="203970"/>
                </a:lnTo>
                <a:lnTo>
                  <a:pt x="703227" y="203656"/>
                </a:lnTo>
                <a:close/>
                <a:moveTo>
                  <a:pt x="47389" y="180976"/>
                </a:moveTo>
                <a:lnTo>
                  <a:pt x="68525" y="182952"/>
                </a:lnTo>
                <a:lnTo>
                  <a:pt x="87260" y="186905"/>
                </a:lnTo>
                <a:lnTo>
                  <a:pt x="96867" y="188881"/>
                </a:lnTo>
                <a:lnTo>
                  <a:pt x="105513" y="187893"/>
                </a:lnTo>
                <a:lnTo>
                  <a:pt x="109837" y="186905"/>
                </a:lnTo>
                <a:lnTo>
                  <a:pt x="113199" y="185917"/>
                </a:lnTo>
                <a:lnTo>
                  <a:pt x="117042" y="183940"/>
                </a:lnTo>
                <a:lnTo>
                  <a:pt x="120885" y="180976"/>
                </a:lnTo>
                <a:lnTo>
                  <a:pt x="120885" y="189869"/>
                </a:lnTo>
                <a:lnTo>
                  <a:pt x="120885" y="205679"/>
                </a:lnTo>
                <a:lnTo>
                  <a:pt x="116081" y="211608"/>
                </a:lnTo>
                <a:lnTo>
                  <a:pt x="111278" y="216548"/>
                </a:lnTo>
                <a:lnTo>
                  <a:pt x="106955" y="220501"/>
                </a:lnTo>
                <a:lnTo>
                  <a:pt x="102151" y="224453"/>
                </a:lnTo>
                <a:lnTo>
                  <a:pt x="98308" y="226430"/>
                </a:lnTo>
                <a:lnTo>
                  <a:pt x="94945" y="228406"/>
                </a:lnTo>
                <a:lnTo>
                  <a:pt x="91583" y="229394"/>
                </a:lnTo>
                <a:lnTo>
                  <a:pt x="89181" y="229394"/>
                </a:lnTo>
                <a:lnTo>
                  <a:pt x="81975" y="228406"/>
                </a:lnTo>
                <a:lnTo>
                  <a:pt x="76211" y="226430"/>
                </a:lnTo>
                <a:lnTo>
                  <a:pt x="71407" y="223465"/>
                </a:lnTo>
                <a:lnTo>
                  <a:pt x="67084" y="218525"/>
                </a:lnTo>
                <a:lnTo>
                  <a:pt x="57957" y="209632"/>
                </a:lnTo>
                <a:lnTo>
                  <a:pt x="47389" y="199750"/>
                </a:lnTo>
                <a:close/>
                <a:moveTo>
                  <a:pt x="946659" y="0"/>
                </a:moveTo>
                <a:lnTo>
                  <a:pt x="960955" y="0"/>
                </a:lnTo>
                <a:lnTo>
                  <a:pt x="961388" y="2661"/>
                </a:lnTo>
                <a:lnTo>
                  <a:pt x="962688" y="4790"/>
                </a:lnTo>
                <a:lnTo>
                  <a:pt x="964854" y="5854"/>
                </a:lnTo>
                <a:lnTo>
                  <a:pt x="966587" y="6387"/>
                </a:lnTo>
                <a:lnTo>
                  <a:pt x="968753" y="5854"/>
                </a:lnTo>
                <a:lnTo>
                  <a:pt x="971785" y="4790"/>
                </a:lnTo>
                <a:lnTo>
                  <a:pt x="973085" y="3726"/>
                </a:lnTo>
                <a:lnTo>
                  <a:pt x="974385" y="2661"/>
                </a:lnTo>
                <a:lnTo>
                  <a:pt x="975251" y="1597"/>
                </a:lnTo>
                <a:lnTo>
                  <a:pt x="975251" y="0"/>
                </a:lnTo>
                <a:lnTo>
                  <a:pt x="977417" y="1597"/>
                </a:lnTo>
                <a:lnTo>
                  <a:pt x="979583" y="3193"/>
                </a:lnTo>
                <a:lnTo>
                  <a:pt x="981316" y="3726"/>
                </a:lnTo>
                <a:lnTo>
                  <a:pt x="983049" y="4258"/>
                </a:lnTo>
                <a:lnTo>
                  <a:pt x="986948" y="4258"/>
                </a:lnTo>
                <a:lnTo>
                  <a:pt x="990847" y="3726"/>
                </a:lnTo>
                <a:lnTo>
                  <a:pt x="997345" y="1597"/>
                </a:lnTo>
                <a:lnTo>
                  <a:pt x="1004277" y="0"/>
                </a:lnTo>
                <a:lnTo>
                  <a:pt x="1011208" y="532"/>
                </a:lnTo>
                <a:lnTo>
                  <a:pt x="1018573" y="1064"/>
                </a:lnTo>
                <a:lnTo>
                  <a:pt x="1024638" y="2129"/>
                </a:lnTo>
                <a:lnTo>
                  <a:pt x="1031136" y="3193"/>
                </a:lnTo>
                <a:lnTo>
                  <a:pt x="1038068" y="4790"/>
                </a:lnTo>
                <a:lnTo>
                  <a:pt x="1044566" y="5854"/>
                </a:lnTo>
                <a:lnTo>
                  <a:pt x="1051064" y="6387"/>
                </a:lnTo>
                <a:lnTo>
                  <a:pt x="1058862" y="6387"/>
                </a:lnTo>
                <a:lnTo>
                  <a:pt x="1058862" y="23418"/>
                </a:lnTo>
                <a:lnTo>
                  <a:pt x="1058429" y="26079"/>
                </a:lnTo>
                <a:lnTo>
                  <a:pt x="1057129" y="29272"/>
                </a:lnTo>
                <a:lnTo>
                  <a:pt x="1055830" y="30869"/>
                </a:lnTo>
                <a:lnTo>
                  <a:pt x="1054963" y="31933"/>
                </a:lnTo>
                <a:lnTo>
                  <a:pt x="1054097" y="32466"/>
                </a:lnTo>
                <a:lnTo>
                  <a:pt x="1053230" y="32998"/>
                </a:lnTo>
                <a:lnTo>
                  <a:pt x="1044566" y="32998"/>
                </a:lnTo>
                <a:lnTo>
                  <a:pt x="1038068" y="31933"/>
                </a:lnTo>
                <a:lnTo>
                  <a:pt x="1034602" y="30337"/>
                </a:lnTo>
                <a:lnTo>
                  <a:pt x="1031570" y="28740"/>
                </a:lnTo>
                <a:lnTo>
                  <a:pt x="1029403" y="26611"/>
                </a:lnTo>
                <a:lnTo>
                  <a:pt x="1026804" y="23418"/>
                </a:lnTo>
                <a:lnTo>
                  <a:pt x="1001244" y="23418"/>
                </a:lnTo>
                <a:lnTo>
                  <a:pt x="1004710" y="30869"/>
                </a:lnTo>
                <a:lnTo>
                  <a:pt x="1007743" y="37256"/>
                </a:lnTo>
                <a:lnTo>
                  <a:pt x="1012075" y="43110"/>
                </a:lnTo>
                <a:lnTo>
                  <a:pt x="1016407" y="47368"/>
                </a:lnTo>
                <a:lnTo>
                  <a:pt x="1021172" y="51094"/>
                </a:lnTo>
                <a:lnTo>
                  <a:pt x="1026371" y="54287"/>
                </a:lnTo>
                <a:lnTo>
                  <a:pt x="1032003" y="56948"/>
                </a:lnTo>
                <a:lnTo>
                  <a:pt x="1038501" y="59077"/>
                </a:lnTo>
                <a:lnTo>
                  <a:pt x="1035902" y="63335"/>
                </a:lnTo>
                <a:lnTo>
                  <a:pt x="1033736" y="67060"/>
                </a:lnTo>
                <a:lnTo>
                  <a:pt x="1030703" y="70254"/>
                </a:lnTo>
                <a:lnTo>
                  <a:pt x="1028104" y="72383"/>
                </a:lnTo>
                <a:lnTo>
                  <a:pt x="1024205" y="73979"/>
                </a:lnTo>
                <a:lnTo>
                  <a:pt x="1020739" y="75044"/>
                </a:lnTo>
                <a:lnTo>
                  <a:pt x="1016840" y="75576"/>
                </a:lnTo>
                <a:lnTo>
                  <a:pt x="1012508" y="75576"/>
                </a:lnTo>
                <a:lnTo>
                  <a:pt x="1009475" y="75576"/>
                </a:lnTo>
                <a:lnTo>
                  <a:pt x="1006876" y="75044"/>
                </a:lnTo>
                <a:lnTo>
                  <a:pt x="1004710" y="73979"/>
                </a:lnTo>
                <a:lnTo>
                  <a:pt x="1002544" y="72383"/>
                </a:lnTo>
                <a:lnTo>
                  <a:pt x="1000811" y="71318"/>
                </a:lnTo>
                <a:lnTo>
                  <a:pt x="999511" y="70254"/>
                </a:lnTo>
                <a:lnTo>
                  <a:pt x="997345" y="69721"/>
                </a:lnTo>
                <a:lnTo>
                  <a:pt x="995179" y="69189"/>
                </a:lnTo>
                <a:lnTo>
                  <a:pt x="993013" y="68125"/>
                </a:lnTo>
                <a:lnTo>
                  <a:pt x="991280" y="66528"/>
                </a:lnTo>
                <a:lnTo>
                  <a:pt x="989114" y="64399"/>
                </a:lnTo>
                <a:lnTo>
                  <a:pt x="987381" y="61738"/>
                </a:lnTo>
                <a:lnTo>
                  <a:pt x="986082" y="58545"/>
                </a:lnTo>
                <a:lnTo>
                  <a:pt x="984782" y="55351"/>
                </a:lnTo>
                <a:lnTo>
                  <a:pt x="984349" y="52158"/>
                </a:lnTo>
                <a:lnTo>
                  <a:pt x="983482" y="49497"/>
                </a:lnTo>
                <a:lnTo>
                  <a:pt x="980450" y="48965"/>
                </a:lnTo>
                <a:lnTo>
                  <a:pt x="977417" y="47900"/>
                </a:lnTo>
                <a:lnTo>
                  <a:pt x="976820" y="47586"/>
                </a:lnTo>
                <a:lnTo>
                  <a:pt x="976164" y="48909"/>
                </a:lnTo>
                <a:lnTo>
                  <a:pt x="974864" y="51008"/>
                </a:lnTo>
                <a:lnTo>
                  <a:pt x="973998" y="53630"/>
                </a:lnTo>
                <a:lnTo>
                  <a:pt x="973998" y="56253"/>
                </a:lnTo>
                <a:lnTo>
                  <a:pt x="968799" y="55729"/>
                </a:lnTo>
                <a:lnTo>
                  <a:pt x="963600" y="54155"/>
                </a:lnTo>
                <a:lnTo>
                  <a:pt x="958834" y="52057"/>
                </a:lnTo>
                <a:lnTo>
                  <a:pt x="956793" y="50933"/>
                </a:lnTo>
                <a:lnTo>
                  <a:pt x="959587" y="53308"/>
                </a:lnTo>
                <a:lnTo>
                  <a:pt x="963965" y="55393"/>
                </a:lnTo>
                <a:lnTo>
                  <a:pt x="967906" y="56956"/>
                </a:lnTo>
                <a:lnTo>
                  <a:pt x="972284" y="57477"/>
                </a:lnTo>
                <a:lnTo>
                  <a:pt x="963527" y="76757"/>
                </a:lnTo>
                <a:lnTo>
                  <a:pt x="965279" y="79363"/>
                </a:lnTo>
                <a:lnTo>
                  <a:pt x="967030" y="81968"/>
                </a:lnTo>
                <a:lnTo>
                  <a:pt x="969219" y="84574"/>
                </a:lnTo>
                <a:lnTo>
                  <a:pt x="971408" y="87179"/>
                </a:lnTo>
                <a:lnTo>
                  <a:pt x="976224" y="90306"/>
                </a:lnTo>
                <a:lnTo>
                  <a:pt x="981040" y="93432"/>
                </a:lnTo>
                <a:lnTo>
                  <a:pt x="990672" y="98122"/>
                </a:lnTo>
                <a:lnTo>
                  <a:pt x="998115" y="102291"/>
                </a:lnTo>
                <a:lnTo>
                  <a:pt x="997240" y="106459"/>
                </a:lnTo>
                <a:lnTo>
                  <a:pt x="995926" y="110107"/>
                </a:lnTo>
                <a:lnTo>
                  <a:pt x="994613" y="112712"/>
                </a:lnTo>
                <a:lnTo>
                  <a:pt x="992861" y="114797"/>
                </a:lnTo>
                <a:lnTo>
                  <a:pt x="991548" y="117923"/>
                </a:lnTo>
                <a:lnTo>
                  <a:pt x="990672" y="120529"/>
                </a:lnTo>
                <a:lnTo>
                  <a:pt x="990235" y="124176"/>
                </a:lnTo>
                <a:lnTo>
                  <a:pt x="989797" y="128345"/>
                </a:lnTo>
                <a:lnTo>
                  <a:pt x="990235" y="131993"/>
                </a:lnTo>
                <a:lnTo>
                  <a:pt x="991986" y="136161"/>
                </a:lnTo>
                <a:lnTo>
                  <a:pt x="994613" y="140330"/>
                </a:lnTo>
                <a:lnTo>
                  <a:pt x="997240" y="145020"/>
                </a:lnTo>
                <a:lnTo>
                  <a:pt x="1000304" y="148667"/>
                </a:lnTo>
                <a:lnTo>
                  <a:pt x="1002931" y="151273"/>
                </a:lnTo>
                <a:lnTo>
                  <a:pt x="1005558" y="153357"/>
                </a:lnTo>
                <a:lnTo>
                  <a:pt x="1006872" y="153878"/>
                </a:lnTo>
                <a:lnTo>
                  <a:pt x="1007310" y="162216"/>
                </a:lnTo>
                <a:lnTo>
                  <a:pt x="1008185" y="170032"/>
                </a:lnTo>
                <a:lnTo>
                  <a:pt x="1010374" y="177848"/>
                </a:lnTo>
                <a:lnTo>
                  <a:pt x="1012563" y="184102"/>
                </a:lnTo>
                <a:lnTo>
                  <a:pt x="1015190" y="189834"/>
                </a:lnTo>
                <a:lnTo>
                  <a:pt x="1018255" y="195044"/>
                </a:lnTo>
                <a:lnTo>
                  <a:pt x="1022195" y="199734"/>
                </a:lnTo>
                <a:lnTo>
                  <a:pt x="1026136" y="204424"/>
                </a:lnTo>
                <a:lnTo>
                  <a:pt x="1030514" y="208593"/>
                </a:lnTo>
                <a:lnTo>
                  <a:pt x="1034892" y="212240"/>
                </a:lnTo>
                <a:lnTo>
                  <a:pt x="1039271" y="215888"/>
                </a:lnTo>
                <a:lnTo>
                  <a:pt x="1044087" y="219014"/>
                </a:lnTo>
                <a:lnTo>
                  <a:pt x="1053719" y="224746"/>
                </a:lnTo>
                <a:lnTo>
                  <a:pt x="1062037" y="230478"/>
                </a:lnTo>
                <a:lnTo>
                  <a:pt x="1045400" y="247674"/>
                </a:lnTo>
                <a:lnTo>
                  <a:pt x="1029638" y="265391"/>
                </a:lnTo>
                <a:lnTo>
                  <a:pt x="1022195" y="273729"/>
                </a:lnTo>
                <a:lnTo>
                  <a:pt x="1015190" y="282587"/>
                </a:lnTo>
                <a:lnTo>
                  <a:pt x="1007747" y="292488"/>
                </a:lnTo>
                <a:lnTo>
                  <a:pt x="1001180" y="301346"/>
                </a:lnTo>
                <a:lnTo>
                  <a:pt x="996802" y="301346"/>
                </a:lnTo>
                <a:lnTo>
                  <a:pt x="992424" y="301346"/>
                </a:lnTo>
                <a:lnTo>
                  <a:pt x="957836" y="301346"/>
                </a:lnTo>
                <a:lnTo>
                  <a:pt x="956084" y="304994"/>
                </a:lnTo>
                <a:lnTo>
                  <a:pt x="953458" y="307599"/>
                </a:lnTo>
                <a:lnTo>
                  <a:pt x="950831" y="310205"/>
                </a:lnTo>
                <a:lnTo>
                  <a:pt x="947766" y="311768"/>
                </a:lnTo>
                <a:lnTo>
                  <a:pt x="944263" y="313852"/>
                </a:lnTo>
                <a:lnTo>
                  <a:pt x="941199" y="314895"/>
                </a:lnTo>
                <a:lnTo>
                  <a:pt x="937258" y="315937"/>
                </a:lnTo>
                <a:lnTo>
                  <a:pt x="933318" y="316458"/>
                </a:lnTo>
                <a:lnTo>
                  <a:pt x="924999" y="317500"/>
                </a:lnTo>
                <a:lnTo>
                  <a:pt x="917118" y="317500"/>
                </a:lnTo>
                <a:lnTo>
                  <a:pt x="909238" y="317500"/>
                </a:lnTo>
                <a:lnTo>
                  <a:pt x="902670" y="317500"/>
                </a:lnTo>
                <a:lnTo>
                  <a:pt x="894352" y="316979"/>
                </a:lnTo>
                <a:lnTo>
                  <a:pt x="887784" y="316458"/>
                </a:lnTo>
                <a:lnTo>
                  <a:pt x="885157" y="315937"/>
                </a:lnTo>
                <a:lnTo>
                  <a:pt x="883406" y="314895"/>
                </a:lnTo>
                <a:lnTo>
                  <a:pt x="882530" y="313331"/>
                </a:lnTo>
                <a:lnTo>
                  <a:pt x="882093" y="311247"/>
                </a:lnTo>
                <a:lnTo>
                  <a:pt x="877277" y="310726"/>
                </a:lnTo>
                <a:lnTo>
                  <a:pt x="872461" y="309684"/>
                </a:lnTo>
                <a:lnTo>
                  <a:pt x="867207" y="307599"/>
                </a:lnTo>
                <a:lnTo>
                  <a:pt x="861953" y="305515"/>
                </a:lnTo>
                <a:lnTo>
                  <a:pt x="857137" y="302910"/>
                </a:lnTo>
                <a:lnTo>
                  <a:pt x="853634" y="300304"/>
                </a:lnTo>
                <a:lnTo>
                  <a:pt x="852321" y="299262"/>
                </a:lnTo>
                <a:lnTo>
                  <a:pt x="851007" y="297699"/>
                </a:lnTo>
                <a:lnTo>
                  <a:pt x="850132" y="296657"/>
                </a:lnTo>
                <a:lnTo>
                  <a:pt x="850132" y="295093"/>
                </a:lnTo>
                <a:lnTo>
                  <a:pt x="850132" y="293009"/>
                </a:lnTo>
                <a:lnTo>
                  <a:pt x="851007" y="290404"/>
                </a:lnTo>
                <a:lnTo>
                  <a:pt x="852321" y="287798"/>
                </a:lnTo>
                <a:lnTo>
                  <a:pt x="853196" y="285714"/>
                </a:lnTo>
                <a:lnTo>
                  <a:pt x="854948" y="282066"/>
                </a:lnTo>
                <a:lnTo>
                  <a:pt x="855823" y="278940"/>
                </a:lnTo>
                <a:lnTo>
                  <a:pt x="855386" y="276334"/>
                </a:lnTo>
                <a:lnTo>
                  <a:pt x="854948" y="273729"/>
                </a:lnTo>
                <a:lnTo>
                  <a:pt x="854510" y="271644"/>
                </a:lnTo>
                <a:lnTo>
                  <a:pt x="853634" y="269560"/>
                </a:lnTo>
                <a:lnTo>
                  <a:pt x="851007" y="266433"/>
                </a:lnTo>
                <a:lnTo>
                  <a:pt x="848818" y="263828"/>
                </a:lnTo>
                <a:lnTo>
                  <a:pt x="845753" y="261744"/>
                </a:lnTo>
                <a:lnTo>
                  <a:pt x="843564" y="259138"/>
                </a:lnTo>
                <a:lnTo>
                  <a:pt x="842689" y="257575"/>
                </a:lnTo>
                <a:lnTo>
                  <a:pt x="841813" y="256533"/>
                </a:lnTo>
                <a:lnTo>
                  <a:pt x="841375" y="254970"/>
                </a:lnTo>
                <a:lnTo>
                  <a:pt x="841375" y="253406"/>
                </a:lnTo>
                <a:lnTo>
                  <a:pt x="841813" y="248195"/>
                </a:lnTo>
                <a:lnTo>
                  <a:pt x="843564" y="242985"/>
                </a:lnTo>
                <a:lnTo>
                  <a:pt x="845753" y="237774"/>
                </a:lnTo>
                <a:lnTo>
                  <a:pt x="848818" y="232042"/>
                </a:lnTo>
                <a:lnTo>
                  <a:pt x="852759" y="226310"/>
                </a:lnTo>
                <a:lnTo>
                  <a:pt x="857575" y="220578"/>
                </a:lnTo>
                <a:lnTo>
                  <a:pt x="862391" y="215367"/>
                </a:lnTo>
                <a:lnTo>
                  <a:pt x="867645" y="210156"/>
                </a:lnTo>
                <a:lnTo>
                  <a:pt x="873336" y="205466"/>
                </a:lnTo>
                <a:lnTo>
                  <a:pt x="879028" y="200255"/>
                </a:lnTo>
                <a:lnTo>
                  <a:pt x="884720" y="196087"/>
                </a:lnTo>
                <a:lnTo>
                  <a:pt x="890411" y="192960"/>
                </a:lnTo>
                <a:lnTo>
                  <a:pt x="895665" y="189834"/>
                </a:lnTo>
                <a:lnTo>
                  <a:pt x="901795" y="187749"/>
                </a:lnTo>
                <a:lnTo>
                  <a:pt x="906611" y="186186"/>
                </a:lnTo>
                <a:lnTo>
                  <a:pt x="911427" y="186186"/>
                </a:lnTo>
                <a:lnTo>
                  <a:pt x="914054" y="183059"/>
                </a:lnTo>
                <a:lnTo>
                  <a:pt x="911427" y="182538"/>
                </a:lnTo>
                <a:lnTo>
                  <a:pt x="909238" y="182017"/>
                </a:lnTo>
                <a:lnTo>
                  <a:pt x="907048" y="181496"/>
                </a:lnTo>
                <a:lnTo>
                  <a:pt x="904859" y="180454"/>
                </a:lnTo>
                <a:lnTo>
                  <a:pt x="903546" y="179412"/>
                </a:lnTo>
                <a:lnTo>
                  <a:pt x="902232" y="178369"/>
                </a:lnTo>
                <a:lnTo>
                  <a:pt x="900481" y="176806"/>
                </a:lnTo>
                <a:lnTo>
                  <a:pt x="899605" y="175243"/>
                </a:lnTo>
                <a:lnTo>
                  <a:pt x="898292" y="171595"/>
                </a:lnTo>
                <a:lnTo>
                  <a:pt x="897416" y="167427"/>
                </a:lnTo>
                <a:lnTo>
                  <a:pt x="896979" y="163779"/>
                </a:lnTo>
                <a:lnTo>
                  <a:pt x="896979" y="160131"/>
                </a:lnTo>
                <a:lnTo>
                  <a:pt x="896541" y="152836"/>
                </a:lnTo>
                <a:lnTo>
                  <a:pt x="895665" y="146062"/>
                </a:lnTo>
                <a:lnTo>
                  <a:pt x="894352" y="139288"/>
                </a:lnTo>
                <a:lnTo>
                  <a:pt x="893476" y="133556"/>
                </a:lnTo>
                <a:lnTo>
                  <a:pt x="891725" y="128345"/>
                </a:lnTo>
                <a:lnTo>
                  <a:pt x="889536" y="123655"/>
                </a:lnTo>
                <a:lnTo>
                  <a:pt x="887784" y="118965"/>
                </a:lnTo>
                <a:lnTo>
                  <a:pt x="885157" y="114276"/>
                </a:lnTo>
                <a:lnTo>
                  <a:pt x="880341" y="106459"/>
                </a:lnTo>
                <a:lnTo>
                  <a:pt x="875525" y="98643"/>
                </a:lnTo>
                <a:lnTo>
                  <a:pt x="871147" y="91348"/>
                </a:lnTo>
                <a:lnTo>
                  <a:pt x="867645" y="83010"/>
                </a:lnTo>
                <a:lnTo>
                  <a:pt x="873774" y="78842"/>
                </a:lnTo>
                <a:lnTo>
                  <a:pt x="879028" y="75715"/>
                </a:lnTo>
                <a:lnTo>
                  <a:pt x="882093" y="74673"/>
                </a:lnTo>
                <a:lnTo>
                  <a:pt x="884720" y="74152"/>
                </a:lnTo>
                <a:lnTo>
                  <a:pt x="885793" y="73969"/>
                </a:lnTo>
                <a:lnTo>
                  <a:pt x="884672" y="72529"/>
                </a:lnTo>
                <a:lnTo>
                  <a:pt x="881719" y="73039"/>
                </a:lnTo>
                <a:lnTo>
                  <a:pt x="879120" y="73564"/>
                </a:lnTo>
                <a:lnTo>
                  <a:pt x="875654" y="74613"/>
                </a:lnTo>
                <a:lnTo>
                  <a:pt x="869589" y="77760"/>
                </a:lnTo>
                <a:lnTo>
                  <a:pt x="861790" y="81957"/>
                </a:lnTo>
                <a:lnTo>
                  <a:pt x="858325" y="81957"/>
                </a:lnTo>
                <a:lnTo>
                  <a:pt x="856158" y="81432"/>
                </a:lnTo>
                <a:lnTo>
                  <a:pt x="853126" y="80383"/>
                </a:lnTo>
                <a:lnTo>
                  <a:pt x="851393" y="79334"/>
                </a:lnTo>
                <a:lnTo>
                  <a:pt x="847060" y="76711"/>
                </a:lnTo>
                <a:lnTo>
                  <a:pt x="843595" y="73039"/>
                </a:lnTo>
                <a:lnTo>
                  <a:pt x="840562" y="69367"/>
                </a:lnTo>
                <a:lnTo>
                  <a:pt x="837529" y="65695"/>
                </a:lnTo>
                <a:lnTo>
                  <a:pt x="834064" y="62548"/>
                </a:lnTo>
                <a:lnTo>
                  <a:pt x="830164" y="59925"/>
                </a:lnTo>
                <a:lnTo>
                  <a:pt x="826699" y="62548"/>
                </a:lnTo>
                <a:lnTo>
                  <a:pt x="823233" y="64646"/>
                </a:lnTo>
                <a:lnTo>
                  <a:pt x="819767" y="66744"/>
                </a:lnTo>
                <a:lnTo>
                  <a:pt x="816734" y="68318"/>
                </a:lnTo>
                <a:lnTo>
                  <a:pt x="809369" y="71466"/>
                </a:lnTo>
                <a:lnTo>
                  <a:pt x="802004" y="73039"/>
                </a:lnTo>
                <a:lnTo>
                  <a:pt x="794206" y="75138"/>
                </a:lnTo>
                <a:lnTo>
                  <a:pt x="786408" y="76711"/>
                </a:lnTo>
                <a:lnTo>
                  <a:pt x="778177" y="78809"/>
                </a:lnTo>
                <a:lnTo>
                  <a:pt x="769512" y="81957"/>
                </a:lnTo>
                <a:lnTo>
                  <a:pt x="768212" y="82481"/>
                </a:lnTo>
                <a:lnTo>
                  <a:pt x="766046" y="83006"/>
                </a:lnTo>
                <a:lnTo>
                  <a:pt x="764746" y="84580"/>
                </a:lnTo>
                <a:lnTo>
                  <a:pt x="763013" y="86678"/>
                </a:lnTo>
                <a:lnTo>
                  <a:pt x="759114" y="91399"/>
                </a:lnTo>
                <a:lnTo>
                  <a:pt x="755648" y="97169"/>
                </a:lnTo>
                <a:lnTo>
                  <a:pt x="755503" y="97470"/>
                </a:lnTo>
                <a:lnTo>
                  <a:pt x="758108" y="93243"/>
                </a:lnTo>
                <a:lnTo>
                  <a:pt x="762090" y="88544"/>
                </a:lnTo>
                <a:lnTo>
                  <a:pt x="763860" y="86455"/>
                </a:lnTo>
                <a:lnTo>
                  <a:pt x="765187" y="84889"/>
                </a:lnTo>
                <a:lnTo>
                  <a:pt x="767400" y="84366"/>
                </a:lnTo>
                <a:lnTo>
                  <a:pt x="768727" y="83844"/>
                </a:lnTo>
                <a:lnTo>
                  <a:pt x="777576" y="80711"/>
                </a:lnTo>
                <a:lnTo>
                  <a:pt x="785983" y="78623"/>
                </a:lnTo>
                <a:lnTo>
                  <a:pt x="793948" y="77056"/>
                </a:lnTo>
                <a:lnTo>
                  <a:pt x="801912" y="74967"/>
                </a:lnTo>
                <a:lnTo>
                  <a:pt x="809434" y="73401"/>
                </a:lnTo>
                <a:lnTo>
                  <a:pt x="816956" y="70268"/>
                </a:lnTo>
                <a:lnTo>
                  <a:pt x="820053" y="68701"/>
                </a:lnTo>
                <a:lnTo>
                  <a:pt x="823593" y="66613"/>
                </a:lnTo>
                <a:lnTo>
                  <a:pt x="827133" y="64524"/>
                </a:lnTo>
                <a:lnTo>
                  <a:pt x="830672" y="61913"/>
                </a:lnTo>
                <a:lnTo>
                  <a:pt x="834655" y="64524"/>
                </a:lnTo>
                <a:lnTo>
                  <a:pt x="838194" y="67657"/>
                </a:lnTo>
                <a:lnTo>
                  <a:pt x="841292" y="71312"/>
                </a:lnTo>
                <a:lnTo>
                  <a:pt x="844389" y="74967"/>
                </a:lnTo>
                <a:lnTo>
                  <a:pt x="847929" y="78623"/>
                </a:lnTo>
                <a:lnTo>
                  <a:pt x="852353" y="81233"/>
                </a:lnTo>
                <a:lnTo>
                  <a:pt x="854123" y="82278"/>
                </a:lnTo>
                <a:lnTo>
                  <a:pt x="857220" y="83322"/>
                </a:lnTo>
                <a:lnTo>
                  <a:pt x="859433" y="83844"/>
                </a:lnTo>
                <a:lnTo>
                  <a:pt x="862972" y="83844"/>
                </a:lnTo>
                <a:lnTo>
                  <a:pt x="872707" y="99510"/>
                </a:lnTo>
                <a:lnTo>
                  <a:pt x="881999" y="115175"/>
                </a:lnTo>
                <a:lnTo>
                  <a:pt x="884211" y="119874"/>
                </a:lnTo>
                <a:lnTo>
                  <a:pt x="886423" y="124574"/>
                </a:lnTo>
                <a:lnTo>
                  <a:pt x="887751" y="129274"/>
                </a:lnTo>
                <a:lnTo>
                  <a:pt x="889078" y="134495"/>
                </a:lnTo>
                <a:lnTo>
                  <a:pt x="890848" y="140239"/>
                </a:lnTo>
                <a:lnTo>
                  <a:pt x="891733" y="147028"/>
                </a:lnTo>
                <a:lnTo>
                  <a:pt x="892175" y="153816"/>
                </a:lnTo>
                <a:lnTo>
                  <a:pt x="892175" y="161126"/>
                </a:lnTo>
                <a:lnTo>
                  <a:pt x="848371" y="161126"/>
                </a:lnTo>
                <a:lnTo>
                  <a:pt x="846601" y="163215"/>
                </a:lnTo>
                <a:lnTo>
                  <a:pt x="842619" y="167915"/>
                </a:lnTo>
                <a:lnTo>
                  <a:pt x="839964" y="170525"/>
                </a:lnTo>
                <a:lnTo>
                  <a:pt x="838194" y="173136"/>
                </a:lnTo>
                <a:lnTo>
                  <a:pt x="837309" y="175747"/>
                </a:lnTo>
                <a:lnTo>
                  <a:pt x="836867" y="177314"/>
                </a:lnTo>
                <a:lnTo>
                  <a:pt x="835982" y="179925"/>
                </a:lnTo>
                <a:lnTo>
                  <a:pt x="835539" y="182013"/>
                </a:lnTo>
                <a:lnTo>
                  <a:pt x="835539" y="183580"/>
                </a:lnTo>
                <a:lnTo>
                  <a:pt x="835982" y="185669"/>
                </a:lnTo>
                <a:lnTo>
                  <a:pt x="837309" y="189324"/>
                </a:lnTo>
                <a:lnTo>
                  <a:pt x="839522" y="193501"/>
                </a:lnTo>
                <a:lnTo>
                  <a:pt x="832885" y="199767"/>
                </a:lnTo>
                <a:lnTo>
                  <a:pt x="826248" y="205511"/>
                </a:lnTo>
                <a:lnTo>
                  <a:pt x="819611" y="210211"/>
                </a:lnTo>
                <a:lnTo>
                  <a:pt x="813416" y="213866"/>
                </a:lnTo>
                <a:lnTo>
                  <a:pt x="807222" y="218044"/>
                </a:lnTo>
                <a:lnTo>
                  <a:pt x="801027" y="221699"/>
                </a:lnTo>
                <a:lnTo>
                  <a:pt x="794832" y="226398"/>
                </a:lnTo>
                <a:lnTo>
                  <a:pt x="789523" y="231620"/>
                </a:lnTo>
                <a:lnTo>
                  <a:pt x="779789" y="238408"/>
                </a:lnTo>
                <a:lnTo>
                  <a:pt x="768727" y="246763"/>
                </a:lnTo>
                <a:lnTo>
                  <a:pt x="766957" y="248852"/>
                </a:lnTo>
                <a:lnTo>
                  <a:pt x="764302" y="250418"/>
                </a:lnTo>
                <a:lnTo>
                  <a:pt x="762975" y="252507"/>
                </a:lnTo>
                <a:lnTo>
                  <a:pt x="762090" y="254596"/>
                </a:lnTo>
                <a:lnTo>
                  <a:pt x="762090" y="256162"/>
                </a:lnTo>
                <a:lnTo>
                  <a:pt x="762532" y="257729"/>
                </a:lnTo>
                <a:lnTo>
                  <a:pt x="763860" y="259295"/>
                </a:lnTo>
                <a:lnTo>
                  <a:pt x="765630" y="260862"/>
                </a:lnTo>
                <a:lnTo>
                  <a:pt x="765630" y="266084"/>
                </a:lnTo>
                <a:lnTo>
                  <a:pt x="765630" y="270783"/>
                </a:lnTo>
                <a:lnTo>
                  <a:pt x="764745" y="277572"/>
                </a:lnTo>
                <a:lnTo>
                  <a:pt x="763417" y="283316"/>
                </a:lnTo>
                <a:lnTo>
                  <a:pt x="762532" y="286449"/>
                </a:lnTo>
                <a:lnTo>
                  <a:pt x="762532" y="289582"/>
                </a:lnTo>
                <a:lnTo>
                  <a:pt x="762532" y="293237"/>
                </a:lnTo>
                <a:lnTo>
                  <a:pt x="762975" y="296370"/>
                </a:lnTo>
                <a:lnTo>
                  <a:pt x="764745" y="300025"/>
                </a:lnTo>
                <a:lnTo>
                  <a:pt x="767400" y="302636"/>
                </a:lnTo>
                <a:lnTo>
                  <a:pt x="770054" y="304725"/>
                </a:lnTo>
                <a:lnTo>
                  <a:pt x="773152" y="306291"/>
                </a:lnTo>
                <a:lnTo>
                  <a:pt x="779789" y="308902"/>
                </a:lnTo>
                <a:lnTo>
                  <a:pt x="786868" y="310991"/>
                </a:lnTo>
                <a:lnTo>
                  <a:pt x="793505" y="312557"/>
                </a:lnTo>
                <a:lnTo>
                  <a:pt x="798815" y="315168"/>
                </a:lnTo>
                <a:lnTo>
                  <a:pt x="801469" y="316735"/>
                </a:lnTo>
                <a:lnTo>
                  <a:pt x="802797" y="318824"/>
                </a:lnTo>
                <a:lnTo>
                  <a:pt x="803682" y="322479"/>
                </a:lnTo>
                <a:lnTo>
                  <a:pt x="804124" y="325612"/>
                </a:lnTo>
                <a:lnTo>
                  <a:pt x="804124" y="331878"/>
                </a:lnTo>
                <a:lnTo>
                  <a:pt x="804124" y="338144"/>
                </a:lnTo>
                <a:lnTo>
                  <a:pt x="799257" y="338666"/>
                </a:lnTo>
                <a:lnTo>
                  <a:pt x="794390" y="339188"/>
                </a:lnTo>
                <a:lnTo>
                  <a:pt x="789523" y="340755"/>
                </a:lnTo>
                <a:lnTo>
                  <a:pt x="785098" y="342321"/>
                </a:lnTo>
                <a:lnTo>
                  <a:pt x="781116" y="344932"/>
                </a:lnTo>
                <a:lnTo>
                  <a:pt x="777576" y="347543"/>
                </a:lnTo>
                <a:lnTo>
                  <a:pt x="776691" y="349632"/>
                </a:lnTo>
                <a:lnTo>
                  <a:pt x="775364" y="351198"/>
                </a:lnTo>
                <a:lnTo>
                  <a:pt x="774921" y="352765"/>
                </a:lnTo>
                <a:lnTo>
                  <a:pt x="774479" y="354331"/>
                </a:lnTo>
                <a:lnTo>
                  <a:pt x="774037" y="362686"/>
                </a:lnTo>
                <a:lnTo>
                  <a:pt x="773152" y="371563"/>
                </a:lnTo>
                <a:lnTo>
                  <a:pt x="771382" y="381485"/>
                </a:lnTo>
                <a:lnTo>
                  <a:pt x="768727" y="391406"/>
                </a:lnTo>
                <a:lnTo>
                  <a:pt x="766957" y="401849"/>
                </a:lnTo>
                <a:lnTo>
                  <a:pt x="764745" y="413337"/>
                </a:lnTo>
                <a:lnTo>
                  <a:pt x="763417" y="424825"/>
                </a:lnTo>
                <a:lnTo>
                  <a:pt x="762975" y="438402"/>
                </a:lnTo>
                <a:lnTo>
                  <a:pt x="756338" y="438402"/>
                </a:lnTo>
                <a:lnTo>
                  <a:pt x="748373" y="438924"/>
                </a:lnTo>
                <a:lnTo>
                  <a:pt x="740852" y="439968"/>
                </a:lnTo>
                <a:lnTo>
                  <a:pt x="733772" y="441535"/>
                </a:lnTo>
                <a:lnTo>
                  <a:pt x="730675" y="443101"/>
                </a:lnTo>
                <a:lnTo>
                  <a:pt x="728462" y="444146"/>
                </a:lnTo>
                <a:lnTo>
                  <a:pt x="725808" y="445712"/>
                </a:lnTo>
                <a:lnTo>
                  <a:pt x="724480" y="447279"/>
                </a:lnTo>
                <a:lnTo>
                  <a:pt x="723595" y="449367"/>
                </a:lnTo>
                <a:lnTo>
                  <a:pt x="723153" y="451978"/>
                </a:lnTo>
                <a:lnTo>
                  <a:pt x="723595" y="454067"/>
                </a:lnTo>
                <a:lnTo>
                  <a:pt x="724923" y="457200"/>
                </a:lnTo>
                <a:lnTo>
                  <a:pt x="720056" y="457200"/>
                </a:lnTo>
                <a:lnTo>
                  <a:pt x="713419" y="457200"/>
                </a:lnTo>
                <a:lnTo>
                  <a:pt x="707224" y="457200"/>
                </a:lnTo>
                <a:lnTo>
                  <a:pt x="704127" y="457200"/>
                </a:lnTo>
                <a:lnTo>
                  <a:pt x="703242" y="457200"/>
                </a:lnTo>
                <a:lnTo>
                  <a:pt x="701914" y="456678"/>
                </a:lnTo>
                <a:lnTo>
                  <a:pt x="700587" y="455634"/>
                </a:lnTo>
                <a:lnTo>
                  <a:pt x="699260" y="454589"/>
                </a:lnTo>
                <a:lnTo>
                  <a:pt x="697047" y="451456"/>
                </a:lnTo>
                <a:lnTo>
                  <a:pt x="694392" y="447279"/>
                </a:lnTo>
                <a:lnTo>
                  <a:pt x="691295" y="442579"/>
                </a:lnTo>
                <a:lnTo>
                  <a:pt x="688640" y="436835"/>
                </a:lnTo>
                <a:lnTo>
                  <a:pt x="685986" y="430569"/>
                </a:lnTo>
                <a:lnTo>
                  <a:pt x="683773" y="423781"/>
                </a:lnTo>
                <a:lnTo>
                  <a:pt x="678906" y="410204"/>
                </a:lnTo>
                <a:lnTo>
                  <a:pt x="675366" y="396106"/>
                </a:lnTo>
                <a:lnTo>
                  <a:pt x="674039" y="389839"/>
                </a:lnTo>
                <a:lnTo>
                  <a:pt x="672712" y="383573"/>
                </a:lnTo>
                <a:lnTo>
                  <a:pt x="672269" y="378352"/>
                </a:lnTo>
                <a:lnTo>
                  <a:pt x="672269" y="373652"/>
                </a:lnTo>
                <a:lnTo>
                  <a:pt x="669172" y="373130"/>
                </a:lnTo>
                <a:lnTo>
                  <a:pt x="666960" y="372085"/>
                </a:lnTo>
                <a:lnTo>
                  <a:pt x="664747" y="369997"/>
                </a:lnTo>
                <a:lnTo>
                  <a:pt x="663420" y="367908"/>
                </a:lnTo>
                <a:lnTo>
                  <a:pt x="660765" y="362686"/>
                </a:lnTo>
                <a:lnTo>
                  <a:pt x="657225" y="357465"/>
                </a:lnTo>
                <a:lnTo>
                  <a:pt x="661207" y="355898"/>
                </a:lnTo>
                <a:lnTo>
                  <a:pt x="665632" y="354854"/>
                </a:lnTo>
                <a:lnTo>
                  <a:pt x="669172" y="354331"/>
                </a:lnTo>
                <a:lnTo>
                  <a:pt x="672269" y="354331"/>
                </a:lnTo>
                <a:lnTo>
                  <a:pt x="672269" y="353305"/>
                </a:lnTo>
                <a:lnTo>
                  <a:pt x="671168" y="353157"/>
                </a:lnTo>
                <a:lnTo>
                  <a:pt x="665969" y="352633"/>
                </a:lnTo>
                <a:lnTo>
                  <a:pt x="663370" y="352633"/>
                </a:lnTo>
                <a:lnTo>
                  <a:pt x="661204" y="352633"/>
                </a:lnTo>
                <a:lnTo>
                  <a:pt x="658604" y="353157"/>
                </a:lnTo>
                <a:lnTo>
                  <a:pt x="657305" y="353682"/>
                </a:lnTo>
                <a:lnTo>
                  <a:pt x="651673" y="345289"/>
                </a:lnTo>
                <a:lnTo>
                  <a:pt x="646907" y="340043"/>
                </a:lnTo>
                <a:lnTo>
                  <a:pt x="643008" y="335322"/>
                </a:lnTo>
                <a:lnTo>
                  <a:pt x="639975" y="331125"/>
                </a:lnTo>
                <a:lnTo>
                  <a:pt x="638676" y="335847"/>
                </a:lnTo>
                <a:lnTo>
                  <a:pt x="637376" y="340568"/>
                </a:lnTo>
                <a:lnTo>
                  <a:pt x="636943" y="343190"/>
                </a:lnTo>
                <a:lnTo>
                  <a:pt x="635210" y="345813"/>
                </a:lnTo>
                <a:lnTo>
                  <a:pt x="633477" y="348961"/>
                </a:lnTo>
                <a:lnTo>
                  <a:pt x="630444" y="352108"/>
                </a:lnTo>
                <a:lnTo>
                  <a:pt x="623512" y="357878"/>
                </a:lnTo>
                <a:lnTo>
                  <a:pt x="615714" y="363124"/>
                </a:lnTo>
                <a:lnTo>
                  <a:pt x="600551" y="372566"/>
                </a:lnTo>
                <a:lnTo>
                  <a:pt x="594053" y="376238"/>
                </a:lnTo>
                <a:lnTo>
                  <a:pt x="579756" y="376238"/>
                </a:lnTo>
                <a:lnTo>
                  <a:pt x="570658" y="372566"/>
                </a:lnTo>
                <a:lnTo>
                  <a:pt x="559394" y="366796"/>
                </a:lnTo>
                <a:lnTo>
                  <a:pt x="554195" y="363649"/>
                </a:lnTo>
                <a:lnTo>
                  <a:pt x="549430" y="359452"/>
                </a:lnTo>
                <a:lnTo>
                  <a:pt x="547264" y="357354"/>
                </a:lnTo>
                <a:lnTo>
                  <a:pt x="546397" y="355255"/>
                </a:lnTo>
                <a:lnTo>
                  <a:pt x="545531" y="353157"/>
                </a:lnTo>
                <a:lnTo>
                  <a:pt x="545097" y="350534"/>
                </a:lnTo>
                <a:lnTo>
                  <a:pt x="550729" y="350534"/>
                </a:lnTo>
                <a:lnTo>
                  <a:pt x="555062" y="350010"/>
                </a:lnTo>
                <a:lnTo>
                  <a:pt x="558528" y="349485"/>
                </a:lnTo>
                <a:lnTo>
                  <a:pt x="562427" y="346862"/>
                </a:lnTo>
                <a:lnTo>
                  <a:pt x="558961" y="343190"/>
                </a:lnTo>
                <a:lnTo>
                  <a:pt x="554629" y="339519"/>
                </a:lnTo>
                <a:lnTo>
                  <a:pt x="549863" y="335847"/>
                </a:lnTo>
                <a:lnTo>
                  <a:pt x="545097" y="332175"/>
                </a:lnTo>
                <a:lnTo>
                  <a:pt x="536866" y="326929"/>
                </a:lnTo>
                <a:lnTo>
                  <a:pt x="533400" y="324831"/>
                </a:lnTo>
                <a:lnTo>
                  <a:pt x="541198" y="326929"/>
                </a:lnTo>
                <a:lnTo>
                  <a:pt x="547264" y="328503"/>
                </a:lnTo>
                <a:lnTo>
                  <a:pt x="549863" y="329027"/>
                </a:lnTo>
                <a:lnTo>
                  <a:pt x="552029" y="329027"/>
                </a:lnTo>
                <a:lnTo>
                  <a:pt x="554629" y="329027"/>
                </a:lnTo>
                <a:lnTo>
                  <a:pt x="556795" y="327978"/>
                </a:lnTo>
                <a:lnTo>
                  <a:pt x="554629" y="327454"/>
                </a:lnTo>
                <a:lnTo>
                  <a:pt x="552462" y="326404"/>
                </a:lnTo>
                <a:lnTo>
                  <a:pt x="550729" y="324306"/>
                </a:lnTo>
                <a:lnTo>
                  <a:pt x="548996" y="322208"/>
                </a:lnTo>
                <a:lnTo>
                  <a:pt x="547264" y="320110"/>
                </a:lnTo>
                <a:lnTo>
                  <a:pt x="545964" y="316438"/>
                </a:lnTo>
                <a:lnTo>
                  <a:pt x="545531" y="313815"/>
                </a:lnTo>
                <a:lnTo>
                  <a:pt x="545097" y="311717"/>
                </a:lnTo>
                <a:lnTo>
                  <a:pt x="562427" y="311717"/>
                </a:lnTo>
                <a:lnTo>
                  <a:pt x="557661" y="311192"/>
                </a:lnTo>
                <a:lnTo>
                  <a:pt x="552896" y="310143"/>
                </a:lnTo>
                <a:lnTo>
                  <a:pt x="548563" y="309094"/>
                </a:lnTo>
                <a:lnTo>
                  <a:pt x="544231" y="306995"/>
                </a:lnTo>
                <a:lnTo>
                  <a:pt x="540332" y="304897"/>
                </a:lnTo>
                <a:lnTo>
                  <a:pt x="537732" y="302274"/>
                </a:lnTo>
                <a:lnTo>
                  <a:pt x="536866" y="300701"/>
                </a:lnTo>
                <a:lnTo>
                  <a:pt x="536433" y="299127"/>
                </a:lnTo>
                <a:lnTo>
                  <a:pt x="536433" y="297553"/>
                </a:lnTo>
                <a:lnTo>
                  <a:pt x="536433" y="295455"/>
                </a:lnTo>
                <a:lnTo>
                  <a:pt x="533400" y="288636"/>
                </a:lnTo>
                <a:lnTo>
                  <a:pt x="545964" y="288636"/>
                </a:lnTo>
                <a:lnTo>
                  <a:pt x="556795" y="288636"/>
                </a:lnTo>
                <a:lnTo>
                  <a:pt x="565459" y="288636"/>
                </a:lnTo>
                <a:lnTo>
                  <a:pt x="571091" y="288636"/>
                </a:lnTo>
                <a:lnTo>
                  <a:pt x="564593" y="286537"/>
                </a:lnTo>
                <a:lnTo>
                  <a:pt x="550296" y="282341"/>
                </a:lnTo>
                <a:lnTo>
                  <a:pt x="542931" y="280243"/>
                </a:lnTo>
                <a:lnTo>
                  <a:pt x="536866" y="278144"/>
                </a:lnTo>
                <a:lnTo>
                  <a:pt x="533400" y="276571"/>
                </a:lnTo>
                <a:lnTo>
                  <a:pt x="533400" y="276046"/>
                </a:lnTo>
                <a:lnTo>
                  <a:pt x="534267" y="268702"/>
                </a:lnTo>
                <a:lnTo>
                  <a:pt x="534700" y="263981"/>
                </a:lnTo>
                <a:lnTo>
                  <a:pt x="535133" y="261883"/>
                </a:lnTo>
                <a:lnTo>
                  <a:pt x="535133" y="259260"/>
                </a:lnTo>
                <a:lnTo>
                  <a:pt x="534700" y="256637"/>
                </a:lnTo>
                <a:lnTo>
                  <a:pt x="533400" y="253490"/>
                </a:lnTo>
                <a:lnTo>
                  <a:pt x="542065" y="253490"/>
                </a:lnTo>
                <a:lnTo>
                  <a:pt x="542498" y="255588"/>
                </a:lnTo>
                <a:lnTo>
                  <a:pt x="543798" y="257162"/>
                </a:lnTo>
                <a:lnTo>
                  <a:pt x="544231" y="257686"/>
                </a:lnTo>
                <a:lnTo>
                  <a:pt x="544664" y="257686"/>
                </a:lnTo>
                <a:lnTo>
                  <a:pt x="545097" y="257162"/>
                </a:lnTo>
                <a:lnTo>
                  <a:pt x="545097" y="256637"/>
                </a:lnTo>
                <a:lnTo>
                  <a:pt x="549430" y="256113"/>
                </a:lnTo>
                <a:lnTo>
                  <a:pt x="555495" y="255064"/>
                </a:lnTo>
                <a:lnTo>
                  <a:pt x="562427" y="254014"/>
                </a:lnTo>
                <a:lnTo>
                  <a:pt x="568492" y="253490"/>
                </a:lnTo>
                <a:lnTo>
                  <a:pt x="567192" y="252965"/>
                </a:lnTo>
                <a:lnTo>
                  <a:pt x="566759" y="252441"/>
                </a:lnTo>
                <a:lnTo>
                  <a:pt x="566759" y="251392"/>
                </a:lnTo>
                <a:lnTo>
                  <a:pt x="566759" y="249818"/>
                </a:lnTo>
                <a:lnTo>
                  <a:pt x="568059" y="246670"/>
                </a:lnTo>
                <a:lnTo>
                  <a:pt x="568492" y="243523"/>
                </a:lnTo>
                <a:lnTo>
                  <a:pt x="572824" y="243523"/>
                </a:lnTo>
                <a:lnTo>
                  <a:pt x="576723" y="243523"/>
                </a:lnTo>
                <a:lnTo>
                  <a:pt x="576290" y="241425"/>
                </a:lnTo>
                <a:lnTo>
                  <a:pt x="574990" y="238802"/>
                </a:lnTo>
                <a:lnTo>
                  <a:pt x="573258" y="236704"/>
                </a:lnTo>
                <a:lnTo>
                  <a:pt x="571091" y="234081"/>
                </a:lnTo>
                <a:lnTo>
                  <a:pt x="575424" y="232507"/>
                </a:lnTo>
                <a:lnTo>
                  <a:pt x="579756" y="230934"/>
                </a:lnTo>
                <a:lnTo>
                  <a:pt x="584088" y="230409"/>
                </a:lnTo>
                <a:lnTo>
                  <a:pt x="588421" y="230409"/>
                </a:lnTo>
                <a:lnTo>
                  <a:pt x="589287" y="230409"/>
                </a:lnTo>
                <a:lnTo>
                  <a:pt x="589720" y="228835"/>
                </a:lnTo>
                <a:lnTo>
                  <a:pt x="589720" y="227262"/>
                </a:lnTo>
                <a:lnTo>
                  <a:pt x="589287" y="225163"/>
                </a:lnTo>
                <a:lnTo>
                  <a:pt x="588854" y="220967"/>
                </a:lnTo>
                <a:lnTo>
                  <a:pt x="588421" y="217819"/>
                </a:lnTo>
                <a:lnTo>
                  <a:pt x="597085" y="217819"/>
                </a:lnTo>
                <a:lnTo>
                  <a:pt x="591020" y="214672"/>
                </a:lnTo>
                <a:lnTo>
                  <a:pt x="628711" y="214672"/>
                </a:lnTo>
                <a:lnTo>
                  <a:pt x="623079" y="211525"/>
                </a:lnTo>
                <a:lnTo>
                  <a:pt x="625679" y="209951"/>
                </a:lnTo>
                <a:lnTo>
                  <a:pt x="627845" y="208377"/>
                </a:lnTo>
                <a:lnTo>
                  <a:pt x="629145" y="206804"/>
                </a:lnTo>
                <a:lnTo>
                  <a:pt x="630444" y="204181"/>
                </a:lnTo>
                <a:lnTo>
                  <a:pt x="631744" y="198410"/>
                </a:lnTo>
                <a:lnTo>
                  <a:pt x="631744" y="192116"/>
                </a:lnTo>
                <a:lnTo>
                  <a:pt x="638676" y="192116"/>
                </a:lnTo>
                <a:lnTo>
                  <a:pt x="643875" y="192116"/>
                </a:lnTo>
                <a:lnTo>
                  <a:pt x="648640" y="192116"/>
                </a:lnTo>
                <a:lnTo>
                  <a:pt x="654272" y="192116"/>
                </a:lnTo>
                <a:lnTo>
                  <a:pt x="654272" y="188968"/>
                </a:lnTo>
                <a:lnTo>
                  <a:pt x="655572" y="185821"/>
                </a:lnTo>
                <a:lnTo>
                  <a:pt x="656005" y="184772"/>
                </a:lnTo>
                <a:lnTo>
                  <a:pt x="656871" y="183723"/>
                </a:lnTo>
                <a:lnTo>
                  <a:pt x="658171" y="182674"/>
                </a:lnTo>
                <a:lnTo>
                  <a:pt x="660337" y="182674"/>
                </a:lnTo>
                <a:lnTo>
                  <a:pt x="657305" y="181100"/>
                </a:lnTo>
                <a:lnTo>
                  <a:pt x="654272" y="179001"/>
                </a:lnTo>
                <a:lnTo>
                  <a:pt x="654705" y="177952"/>
                </a:lnTo>
                <a:lnTo>
                  <a:pt x="655572" y="176903"/>
                </a:lnTo>
                <a:lnTo>
                  <a:pt x="656438" y="175854"/>
                </a:lnTo>
                <a:lnTo>
                  <a:pt x="657738" y="174280"/>
                </a:lnTo>
                <a:lnTo>
                  <a:pt x="660771" y="171657"/>
                </a:lnTo>
                <a:lnTo>
                  <a:pt x="662937" y="169035"/>
                </a:lnTo>
                <a:lnTo>
                  <a:pt x="662504" y="167461"/>
                </a:lnTo>
                <a:lnTo>
                  <a:pt x="662070" y="165363"/>
                </a:lnTo>
                <a:lnTo>
                  <a:pt x="662504" y="163789"/>
                </a:lnTo>
                <a:lnTo>
                  <a:pt x="662937" y="161691"/>
                </a:lnTo>
                <a:lnTo>
                  <a:pt x="665536" y="158019"/>
                </a:lnTo>
                <a:lnTo>
                  <a:pt x="668136" y="154347"/>
                </a:lnTo>
                <a:lnTo>
                  <a:pt x="674201" y="147527"/>
                </a:lnTo>
                <a:lnTo>
                  <a:pt x="677667" y="143331"/>
                </a:lnTo>
                <a:lnTo>
                  <a:pt x="677667" y="142282"/>
                </a:lnTo>
                <a:lnTo>
                  <a:pt x="678533" y="141757"/>
                </a:lnTo>
                <a:lnTo>
                  <a:pt x="679833" y="141757"/>
                </a:lnTo>
                <a:lnTo>
                  <a:pt x="680699" y="142282"/>
                </a:lnTo>
                <a:lnTo>
                  <a:pt x="682432" y="142806"/>
                </a:lnTo>
                <a:lnTo>
                  <a:pt x="683299" y="143331"/>
                </a:lnTo>
                <a:lnTo>
                  <a:pt x="682432" y="139659"/>
                </a:lnTo>
                <a:lnTo>
                  <a:pt x="681999" y="136512"/>
                </a:lnTo>
                <a:lnTo>
                  <a:pt x="681999" y="132840"/>
                </a:lnTo>
                <a:lnTo>
                  <a:pt x="682432" y="129692"/>
                </a:lnTo>
                <a:lnTo>
                  <a:pt x="682865" y="124447"/>
                </a:lnTo>
                <a:lnTo>
                  <a:pt x="683299" y="121299"/>
                </a:lnTo>
                <a:lnTo>
                  <a:pt x="693696" y="121299"/>
                </a:lnTo>
                <a:lnTo>
                  <a:pt x="700195" y="120775"/>
                </a:lnTo>
                <a:lnTo>
                  <a:pt x="701494" y="120250"/>
                </a:lnTo>
                <a:lnTo>
                  <a:pt x="702361" y="119201"/>
                </a:lnTo>
                <a:lnTo>
                  <a:pt x="703227" y="118152"/>
                </a:lnTo>
                <a:lnTo>
                  <a:pt x="704094" y="117103"/>
                </a:lnTo>
                <a:lnTo>
                  <a:pt x="705394" y="112906"/>
                </a:lnTo>
                <a:lnTo>
                  <a:pt x="706260" y="107661"/>
                </a:lnTo>
                <a:lnTo>
                  <a:pt x="704527" y="105038"/>
                </a:lnTo>
                <a:lnTo>
                  <a:pt x="702361" y="101366"/>
                </a:lnTo>
                <a:lnTo>
                  <a:pt x="701061" y="96645"/>
                </a:lnTo>
                <a:lnTo>
                  <a:pt x="700628" y="91924"/>
                </a:lnTo>
                <a:lnTo>
                  <a:pt x="699761" y="91924"/>
                </a:lnTo>
                <a:lnTo>
                  <a:pt x="697595" y="91399"/>
                </a:lnTo>
                <a:lnTo>
                  <a:pt x="696729" y="91399"/>
                </a:lnTo>
                <a:lnTo>
                  <a:pt x="695862" y="90874"/>
                </a:lnTo>
                <a:lnTo>
                  <a:pt x="694996" y="89825"/>
                </a:lnTo>
                <a:lnTo>
                  <a:pt x="694996" y="88776"/>
                </a:lnTo>
                <a:lnTo>
                  <a:pt x="690664" y="92973"/>
                </a:lnTo>
                <a:lnTo>
                  <a:pt x="686331" y="96120"/>
                </a:lnTo>
                <a:lnTo>
                  <a:pt x="683732" y="97169"/>
                </a:lnTo>
                <a:lnTo>
                  <a:pt x="681999" y="97694"/>
                </a:lnTo>
                <a:lnTo>
                  <a:pt x="679833" y="98218"/>
                </a:lnTo>
                <a:lnTo>
                  <a:pt x="677667" y="98218"/>
                </a:lnTo>
                <a:lnTo>
                  <a:pt x="678100" y="95071"/>
                </a:lnTo>
                <a:lnTo>
                  <a:pt x="679833" y="91924"/>
                </a:lnTo>
                <a:lnTo>
                  <a:pt x="681132" y="89301"/>
                </a:lnTo>
                <a:lnTo>
                  <a:pt x="682865" y="86678"/>
                </a:lnTo>
                <a:lnTo>
                  <a:pt x="687198" y="81432"/>
                </a:lnTo>
                <a:lnTo>
                  <a:pt x="692397" y="77236"/>
                </a:lnTo>
                <a:lnTo>
                  <a:pt x="697162" y="73039"/>
                </a:lnTo>
                <a:lnTo>
                  <a:pt x="702361" y="68318"/>
                </a:lnTo>
                <a:lnTo>
                  <a:pt x="704527" y="65695"/>
                </a:lnTo>
                <a:lnTo>
                  <a:pt x="706260" y="63073"/>
                </a:lnTo>
                <a:lnTo>
                  <a:pt x="707993" y="59925"/>
                </a:lnTo>
                <a:lnTo>
                  <a:pt x="709293" y="56253"/>
                </a:lnTo>
                <a:lnTo>
                  <a:pt x="709726" y="57827"/>
                </a:lnTo>
                <a:lnTo>
                  <a:pt x="710592" y="60450"/>
                </a:lnTo>
                <a:lnTo>
                  <a:pt x="711459" y="64646"/>
                </a:lnTo>
                <a:lnTo>
                  <a:pt x="711892" y="69367"/>
                </a:lnTo>
                <a:lnTo>
                  <a:pt x="712758" y="70416"/>
                </a:lnTo>
                <a:lnTo>
                  <a:pt x="715358" y="72515"/>
                </a:lnTo>
                <a:lnTo>
                  <a:pt x="717957" y="74613"/>
                </a:lnTo>
                <a:lnTo>
                  <a:pt x="720557" y="75662"/>
                </a:lnTo>
                <a:lnTo>
                  <a:pt x="728355" y="75138"/>
                </a:lnTo>
                <a:lnTo>
                  <a:pt x="733987" y="74088"/>
                </a:lnTo>
                <a:lnTo>
                  <a:pt x="738319" y="73039"/>
                </a:lnTo>
                <a:lnTo>
                  <a:pt x="740919" y="72515"/>
                </a:lnTo>
                <a:lnTo>
                  <a:pt x="738752" y="69892"/>
                </a:lnTo>
                <a:lnTo>
                  <a:pt x="736586" y="67269"/>
                </a:lnTo>
                <a:lnTo>
                  <a:pt x="736153" y="65695"/>
                </a:lnTo>
                <a:lnTo>
                  <a:pt x="735720" y="64122"/>
                </a:lnTo>
                <a:lnTo>
                  <a:pt x="735287" y="62023"/>
                </a:lnTo>
                <a:lnTo>
                  <a:pt x="735287" y="59925"/>
                </a:lnTo>
                <a:lnTo>
                  <a:pt x="743518" y="57827"/>
                </a:lnTo>
                <a:lnTo>
                  <a:pt x="754349" y="55204"/>
                </a:lnTo>
                <a:lnTo>
                  <a:pt x="759981" y="53630"/>
                </a:lnTo>
                <a:lnTo>
                  <a:pt x="765613" y="52057"/>
                </a:lnTo>
                <a:lnTo>
                  <a:pt x="770812" y="49434"/>
                </a:lnTo>
                <a:lnTo>
                  <a:pt x="775144" y="46286"/>
                </a:lnTo>
                <a:lnTo>
                  <a:pt x="778177" y="44188"/>
                </a:lnTo>
                <a:lnTo>
                  <a:pt x="781642" y="42090"/>
                </a:lnTo>
                <a:lnTo>
                  <a:pt x="784242" y="40516"/>
                </a:lnTo>
                <a:lnTo>
                  <a:pt x="787274" y="39992"/>
                </a:lnTo>
                <a:lnTo>
                  <a:pt x="787708" y="43139"/>
                </a:lnTo>
                <a:lnTo>
                  <a:pt x="788574" y="46286"/>
                </a:lnTo>
                <a:lnTo>
                  <a:pt x="789441" y="47336"/>
                </a:lnTo>
                <a:lnTo>
                  <a:pt x="790307" y="48385"/>
                </a:lnTo>
                <a:lnTo>
                  <a:pt x="791607" y="49434"/>
                </a:lnTo>
                <a:lnTo>
                  <a:pt x="792906" y="49434"/>
                </a:lnTo>
                <a:lnTo>
                  <a:pt x="797239" y="48909"/>
                </a:lnTo>
                <a:lnTo>
                  <a:pt x="803737" y="46286"/>
                </a:lnTo>
                <a:lnTo>
                  <a:pt x="809803" y="44188"/>
                </a:lnTo>
                <a:lnTo>
                  <a:pt x="812835" y="43139"/>
                </a:lnTo>
                <a:lnTo>
                  <a:pt x="811969" y="42090"/>
                </a:lnTo>
                <a:lnTo>
                  <a:pt x="811102" y="41041"/>
                </a:lnTo>
                <a:lnTo>
                  <a:pt x="809803" y="39467"/>
                </a:lnTo>
                <a:lnTo>
                  <a:pt x="809803" y="38418"/>
                </a:lnTo>
                <a:lnTo>
                  <a:pt x="809803" y="36320"/>
                </a:lnTo>
                <a:lnTo>
                  <a:pt x="811102" y="33697"/>
                </a:lnTo>
                <a:lnTo>
                  <a:pt x="812835" y="31599"/>
                </a:lnTo>
                <a:lnTo>
                  <a:pt x="815001" y="28976"/>
                </a:lnTo>
                <a:lnTo>
                  <a:pt x="818034" y="26878"/>
                </a:lnTo>
                <a:lnTo>
                  <a:pt x="821500" y="24779"/>
                </a:lnTo>
                <a:lnTo>
                  <a:pt x="823830" y="23839"/>
                </a:lnTo>
                <a:lnTo>
                  <a:pt x="824925" y="21821"/>
                </a:lnTo>
                <a:lnTo>
                  <a:pt x="827091" y="18096"/>
                </a:lnTo>
                <a:lnTo>
                  <a:pt x="829257" y="14902"/>
                </a:lnTo>
                <a:lnTo>
                  <a:pt x="831423" y="11709"/>
                </a:lnTo>
                <a:lnTo>
                  <a:pt x="834455" y="10112"/>
                </a:lnTo>
                <a:lnTo>
                  <a:pt x="836621" y="7983"/>
                </a:lnTo>
                <a:lnTo>
                  <a:pt x="839654" y="6919"/>
                </a:lnTo>
                <a:lnTo>
                  <a:pt x="842686" y="6387"/>
                </a:lnTo>
                <a:lnTo>
                  <a:pt x="848752" y="7983"/>
                </a:lnTo>
                <a:lnTo>
                  <a:pt x="854383" y="10112"/>
                </a:lnTo>
                <a:lnTo>
                  <a:pt x="848752" y="20225"/>
                </a:lnTo>
                <a:lnTo>
                  <a:pt x="860015" y="20225"/>
                </a:lnTo>
                <a:lnTo>
                  <a:pt x="861790" y="18978"/>
                </a:lnTo>
                <a:lnTo>
                  <a:pt x="861790" y="14288"/>
                </a:lnTo>
                <a:lnTo>
                  <a:pt x="870013" y="14288"/>
                </a:lnTo>
                <a:lnTo>
                  <a:pt x="870846" y="12241"/>
                </a:lnTo>
                <a:lnTo>
                  <a:pt x="871279" y="10112"/>
                </a:lnTo>
                <a:lnTo>
                  <a:pt x="879510" y="14370"/>
                </a:lnTo>
                <a:lnTo>
                  <a:pt x="880350" y="14886"/>
                </a:lnTo>
                <a:lnTo>
                  <a:pt x="882586" y="15337"/>
                </a:lnTo>
                <a:lnTo>
                  <a:pt x="885618" y="16386"/>
                </a:lnTo>
                <a:lnTo>
                  <a:pt x="887351" y="17435"/>
                </a:lnTo>
                <a:lnTo>
                  <a:pt x="886392" y="18597"/>
                </a:lnTo>
                <a:lnTo>
                  <a:pt x="887308" y="19160"/>
                </a:lnTo>
                <a:lnTo>
                  <a:pt x="891275" y="22705"/>
                </a:lnTo>
                <a:lnTo>
                  <a:pt x="892073" y="22185"/>
                </a:lnTo>
                <a:lnTo>
                  <a:pt x="892073" y="10112"/>
                </a:lnTo>
                <a:lnTo>
                  <a:pt x="903770" y="10112"/>
                </a:lnTo>
                <a:lnTo>
                  <a:pt x="912868" y="10112"/>
                </a:lnTo>
                <a:lnTo>
                  <a:pt x="919366" y="10112"/>
                </a:lnTo>
                <a:lnTo>
                  <a:pt x="923265" y="10112"/>
                </a:lnTo>
                <a:lnTo>
                  <a:pt x="927597" y="10112"/>
                </a:lnTo>
                <a:lnTo>
                  <a:pt x="931929" y="10112"/>
                </a:lnTo>
                <a:lnTo>
                  <a:pt x="933229" y="9048"/>
                </a:lnTo>
                <a:lnTo>
                  <a:pt x="934962" y="8516"/>
                </a:lnTo>
                <a:lnTo>
                  <a:pt x="936695" y="7451"/>
                </a:lnTo>
                <a:lnTo>
                  <a:pt x="937561" y="6387"/>
                </a:lnTo>
                <a:lnTo>
                  <a:pt x="938861" y="7451"/>
                </a:lnTo>
                <a:lnTo>
                  <a:pt x="940594" y="7451"/>
                </a:lnTo>
                <a:lnTo>
                  <a:pt x="941893" y="6919"/>
                </a:lnTo>
                <a:lnTo>
                  <a:pt x="943193" y="5854"/>
                </a:lnTo>
                <a:lnTo>
                  <a:pt x="944059" y="4258"/>
                </a:lnTo>
                <a:lnTo>
                  <a:pt x="945792" y="3193"/>
                </a:lnTo>
                <a:lnTo>
                  <a:pt x="946226" y="1597"/>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oAutofit/>
          </a:bodyPr>
          <a:lstStyle/>
          <a:p>
            <a:endParaRPr lang="it-IT"/>
          </a:p>
        </p:txBody>
      </p:sp>
      <p:sp>
        <p:nvSpPr>
          <p:cNvPr id="5" name="CasellaDiTesto 4">
            <a:extLst>
              <a:ext uri="{FF2B5EF4-FFF2-40B4-BE49-F238E27FC236}">
                <a16:creationId xmlns:a16="http://schemas.microsoft.com/office/drawing/2014/main" id="{C4A08EA4-B5F4-654C-9CFA-6CBDD31A07B6}"/>
              </a:ext>
            </a:extLst>
          </p:cNvPr>
          <p:cNvSpPr txBox="1"/>
          <p:nvPr/>
        </p:nvSpPr>
        <p:spPr>
          <a:xfrm>
            <a:off x="991685" y="332510"/>
            <a:ext cx="10208628" cy="584775"/>
          </a:xfrm>
          <a:prstGeom prst="rect">
            <a:avLst/>
          </a:prstGeom>
          <a:noFill/>
        </p:spPr>
        <p:txBody>
          <a:bodyPr wrap="none" rtlCol="0">
            <a:spAutoFit/>
          </a:bodyPr>
          <a:lstStyle/>
          <a:p>
            <a:pPr algn="ctr"/>
            <a:r>
              <a:rPr lang="it-IT" sz="3200" b="1" dirty="0">
                <a:solidFill>
                  <a:srgbClr val="19436B"/>
                </a:solidFill>
                <a:latin typeface="Times New Roman" panose="02020603050405020304" pitchFamily="18" charset="0"/>
                <a:cs typeface="Times New Roman" panose="02020603050405020304" pitchFamily="18" charset="0"/>
              </a:rPr>
              <a:t>CONCLUSIONE del CONTRATTO INTER ABSENTES</a:t>
            </a:r>
          </a:p>
        </p:txBody>
      </p:sp>
      <p:sp>
        <p:nvSpPr>
          <p:cNvPr id="7" name="Rettangolo 6">
            <a:extLst>
              <a:ext uri="{FF2B5EF4-FFF2-40B4-BE49-F238E27FC236}">
                <a16:creationId xmlns:a16="http://schemas.microsoft.com/office/drawing/2014/main" id="{6A0C1A56-C4D6-3749-85B4-0C00766977C4}"/>
              </a:ext>
            </a:extLst>
          </p:cNvPr>
          <p:cNvSpPr/>
          <p:nvPr/>
        </p:nvSpPr>
        <p:spPr>
          <a:xfrm>
            <a:off x="8316568" y="1908313"/>
            <a:ext cx="3012142" cy="1520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8" name="CasellaDiTesto 7">
            <a:extLst>
              <a:ext uri="{FF2B5EF4-FFF2-40B4-BE49-F238E27FC236}">
                <a16:creationId xmlns:a16="http://schemas.microsoft.com/office/drawing/2014/main" id="{27BB3160-7AA0-4440-9E7D-EDF45A1E9392}"/>
              </a:ext>
            </a:extLst>
          </p:cNvPr>
          <p:cNvSpPr txBox="1"/>
          <p:nvPr/>
        </p:nvSpPr>
        <p:spPr>
          <a:xfrm>
            <a:off x="8316568" y="2051388"/>
            <a:ext cx="3012142" cy="369332"/>
          </a:xfrm>
          <a:prstGeom prst="rect">
            <a:avLst/>
          </a:prstGeom>
          <a:noFill/>
        </p:spPr>
        <p:txBody>
          <a:bodyPr wrap="square" rtlCol="0">
            <a:spAutoFit/>
          </a:bodyPr>
          <a:lstStyle/>
          <a:p>
            <a:pPr algn="ctr"/>
            <a:r>
              <a:rPr lang="it-IT" b="1" dirty="0">
                <a:solidFill>
                  <a:srgbClr val="19436B"/>
                </a:solidFill>
                <a:latin typeface="Times New Roman" panose="02020603050405020304" pitchFamily="18" charset="0"/>
                <a:cs typeface="Times New Roman" panose="02020603050405020304" pitchFamily="18" charset="0"/>
              </a:rPr>
              <a:t>TEORIA della RICEZIONE</a:t>
            </a:r>
          </a:p>
        </p:txBody>
      </p:sp>
      <p:sp>
        <p:nvSpPr>
          <p:cNvPr id="9" name="CasellaDiTesto 8">
            <a:extLst>
              <a:ext uri="{FF2B5EF4-FFF2-40B4-BE49-F238E27FC236}">
                <a16:creationId xmlns:a16="http://schemas.microsoft.com/office/drawing/2014/main" id="{EFF84308-FB6E-9B44-9F58-12591F45911F}"/>
              </a:ext>
            </a:extLst>
          </p:cNvPr>
          <p:cNvSpPr txBox="1"/>
          <p:nvPr/>
        </p:nvSpPr>
        <p:spPr>
          <a:xfrm>
            <a:off x="8836646" y="2456794"/>
            <a:ext cx="912109" cy="261610"/>
          </a:xfrm>
          <a:prstGeom prst="rect">
            <a:avLst/>
          </a:prstGeom>
          <a:noFill/>
        </p:spPr>
        <p:txBody>
          <a:bodyPr wrap="none" lIns="0" tIns="0" rIns="0" bIns="0" rtlCol="0">
            <a:spAutoFit/>
          </a:bodyPr>
          <a:lstStyle/>
          <a:p>
            <a:r>
              <a:rPr lang="it-IT" sz="1700" dirty="0">
                <a:latin typeface="Times New Roman" panose="02020603050405020304" pitchFamily="18" charset="0"/>
                <a:cs typeface="Times New Roman" panose="02020603050405020304" pitchFamily="18" charset="0"/>
              </a:rPr>
              <a:t>Germania,</a:t>
            </a:r>
          </a:p>
        </p:txBody>
      </p:sp>
      <p:sp>
        <p:nvSpPr>
          <p:cNvPr id="10" name="CasellaDiTesto 9">
            <a:extLst>
              <a:ext uri="{FF2B5EF4-FFF2-40B4-BE49-F238E27FC236}">
                <a16:creationId xmlns:a16="http://schemas.microsoft.com/office/drawing/2014/main" id="{7547F470-2528-0747-8B0A-4B17CD144CCC}"/>
              </a:ext>
            </a:extLst>
          </p:cNvPr>
          <p:cNvSpPr txBox="1"/>
          <p:nvPr/>
        </p:nvSpPr>
        <p:spPr>
          <a:xfrm>
            <a:off x="9799267" y="2455898"/>
            <a:ext cx="695703" cy="261610"/>
          </a:xfrm>
          <a:prstGeom prst="rect">
            <a:avLst/>
          </a:prstGeom>
          <a:noFill/>
        </p:spPr>
        <p:txBody>
          <a:bodyPr wrap="none" lIns="0" tIns="0" rIns="0" bIns="0" rtlCol="0">
            <a:spAutoFit/>
          </a:bodyPr>
          <a:lstStyle/>
          <a:p>
            <a:r>
              <a:rPr lang="it-IT" sz="1700" dirty="0">
                <a:latin typeface="Times New Roman" panose="02020603050405020304" pitchFamily="18" charset="0"/>
                <a:cs typeface="Times New Roman" panose="02020603050405020304" pitchFamily="18" charset="0"/>
              </a:rPr>
              <a:t>Austria,</a:t>
            </a:r>
          </a:p>
        </p:txBody>
      </p:sp>
      <p:sp>
        <p:nvSpPr>
          <p:cNvPr id="11" name="CasellaDiTesto 10">
            <a:extLst>
              <a:ext uri="{FF2B5EF4-FFF2-40B4-BE49-F238E27FC236}">
                <a16:creationId xmlns:a16="http://schemas.microsoft.com/office/drawing/2014/main" id="{2CC20084-3687-9F4C-B7FA-1E41D25EF36B}"/>
              </a:ext>
            </a:extLst>
          </p:cNvPr>
          <p:cNvSpPr txBox="1"/>
          <p:nvPr/>
        </p:nvSpPr>
        <p:spPr>
          <a:xfrm>
            <a:off x="8701674" y="2701722"/>
            <a:ext cx="2094163" cy="261610"/>
          </a:xfrm>
          <a:prstGeom prst="rect">
            <a:avLst/>
          </a:prstGeom>
          <a:noFill/>
        </p:spPr>
        <p:txBody>
          <a:bodyPr wrap="none" lIns="0" tIns="0" rIns="0" bIns="0" rtlCol="0">
            <a:spAutoFit/>
          </a:bodyPr>
          <a:lstStyle/>
          <a:p>
            <a:r>
              <a:rPr lang="it-IT" sz="1700" dirty="0">
                <a:latin typeface="Times New Roman" panose="02020603050405020304" pitchFamily="18" charset="0"/>
                <a:cs typeface="Times New Roman" panose="02020603050405020304" pitchFamily="18" charset="0"/>
              </a:rPr>
              <a:t>Convenzione di Vienna,</a:t>
            </a:r>
          </a:p>
        </p:txBody>
      </p:sp>
      <p:sp>
        <p:nvSpPr>
          <p:cNvPr id="12" name="CasellaDiTesto 11">
            <a:extLst>
              <a:ext uri="{FF2B5EF4-FFF2-40B4-BE49-F238E27FC236}">
                <a16:creationId xmlns:a16="http://schemas.microsoft.com/office/drawing/2014/main" id="{3CC78809-690A-C047-8FD0-063647D3740C}"/>
              </a:ext>
            </a:extLst>
          </p:cNvPr>
          <p:cNvSpPr txBox="1"/>
          <p:nvPr/>
        </p:nvSpPr>
        <p:spPr>
          <a:xfrm>
            <a:off x="8780862" y="2968753"/>
            <a:ext cx="2014975" cy="261610"/>
          </a:xfrm>
          <a:prstGeom prst="rect">
            <a:avLst/>
          </a:prstGeom>
          <a:noFill/>
        </p:spPr>
        <p:txBody>
          <a:bodyPr wrap="none" lIns="0" tIns="0" rIns="0" bIns="0" rtlCol="0">
            <a:spAutoFit/>
          </a:bodyPr>
          <a:lstStyle/>
          <a:p>
            <a:r>
              <a:rPr lang="it-IT" sz="1700" dirty="0">
                <a:latin typeface="Times New Roman" panose="02020603050405020304" pitchFamily="18" charset="0"/>
                <a:cs typeface="Times New Roman" panose="02020603050405020304" pitchFamily="18" charset="0"/>
              </a:rPr>
              <a:t>Principi UNIDROIT…</a:t>
            </a:r>
          </a:p>
        </p:txBody>
      </p:sp>
      <p:sp>
        <p:nvSpPr>
          <p:cNvPr id="2" name="Goccia 1">
            <a:extLst>
              <a:ext uri="{FF2B5EF4-FFF2-40B4-BE49-F238E27FC236}">
                <a16:creationId xmlns:a16="http://schemas.microsoft.com/office/drawing/2014/main" id="{947B7086-37F0-EB4B-862C-4F1257BE1879}"/>
              </a:ext>
            </a:extLst>
          </p:cNvPr>
          <p:cNvSpPr/>
          <p:nvPr/>
        </p:nvSpPr>
        <p:spPr>
          <a:xfrm rot="8079757">
            <a:off x="5800393" y="4743181"/>
            <a:ext cx="198523" cy="197170"/>
          </a:xfrm>
          <a:prstGeom prst="teardrop">
            <a:avLst/>
          </a:prstGeom>
          <a:solidFill>
            <a:srgbClr val="1B4A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 name="Goccia 12">
            <a:extLst>
              <a:ext uri="{FF2B5EF4-FFF2-40B4-BE49-F238E27FC236}">
                <a16:creationId xmlns:a16="http://schemas.microsoft.com/office/drawing/2014/main" id="{652F8558-4D85-D84D-BC47-828F0B998371}"/>
              </a:ext>
            </a:extLst>
          </p:cNvPr>
          <p:cNvSpPr/>
          <p:nvPr/>
        </p:nvSpPr>
        <p:spPr>
          <a:xfrm rot="8079757">
            <a:off x="5483448" y="3682075"/>
            <a:ext cx="198523" cy="197170"/>
          </a:xfrm>
          <a:prstGeom prst="teardrop">
            <a:avLst/>
          </a:prstGeom>
          <a:solidFill>
            <a:srgbClr val="1B4A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 name="Goccia 13">
            <a:extLst>
              <a:ext uri="{FF2B5EF4-FFF2-40B4-BE49-F238E27FC236}">
                <a16:creationId xmlns:a16="http://schemas.microsoft.com/office/drawing/2014/main" id="{C9353B19-4C94-264C-9A03-76894B9B5A2C}"/>
              </a:ext>
            </a:extLst>
          </p:cNvPr>
          <p:cNvSpPr/>
          <p:nvPr/>
        </p:nvSpPr>
        <p:spPr>
          <a:xfrm rot="8079757">
            <a:off x="5879308" y="4085749"/>
            <a:ext cx="198523" cy="197170"/>
          </a:xfrm>
          <a:prstGeom prst="teardrop">
            <a:avLst/>
          </a:prstGeom>
          <a:solidFill>
            <a:srgbClr val="1B4A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5" name="Goccia 14">
            <a:extLst>
              <a:ext uri="{FF2B5EF4-FFF2-40B4-BE49-F238E27FC236}">
                <a16:creationId xmlns:a16="http://schemas.microsoft.com/office/drawing/2014/main" id="{47386474-48D0-A342-88A5-BE15704C6D38}"/>
              </a:ext>
            </a:extLst>
          </p:cNvPr>
          <p:cNvSpPr/>
          <p:nvPr/>
        </p:nvSpPr>
        <p:spPr>
          <a:xfrm rot="8079757">
            <a:off x="5725003" y="4087979"/>
            <a:ext cx="198523" cy="197170"/>
          </a:xfrm>
          <a:prstGeom prst="teardrop">
            <a:avLst/>
          </a:prstGeom>
          <a:solidFill>
            <a:srgbClr val="1B4A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22" name="Gruppo 21">
            <a:extLst>
              <a:ext uri="{FF2B5EF4-FFF2-40B4-BE49-F238E27FC236}">
                <a16:creationId xmlns:a16="http://schemas.microsoft.com/office/drawing/2014/main" id="{DAE259F2-92AD-BA48-8A24-6D930350D587}"/>
              </a:ext>
            </a:extLst>
          </p:cNvPr>
          <p:cNvGrpSpPr/>
          <p:nvPr/>
        </p:nvGrpSpPr>
        <p:grpSpPr>
          <a:xfrm>
            <a:off x="5626182" y="2420720"/>
            <a:ext cx="2690386" cy="1359941"/>
            <a:chOff x="5626182" y="2420720"/>
            <a:chExt cx="2690386" cy="1359941"/>
          </a:xfrm>
        </p:grpSpPr>
        <p:cxnSp>
          <p:nvCxnSpPr>
            <p:cNvPr id="18" name="Connettore 1 17">
              <a:extLst>
                <a:ext uri="{FF2B5EF4-FFF2-40B4-BE49-F238E27FC236}">
                  <a16:creationId xmlns:a16="http://schemas.microsoft.com/office/drawing/2014/main" id="{D625006B-DFCE-114E-ACC8-9E3E0BEF3E29}"/>
                </a:ext>
              </a:extLst>
            </p:cNvPr>
            <p:cNvCxnSpPr>
              <a:cxnSpLocks/>
            </p:cNvCxnSpPr>
            <p:nvPr/>
          </p:nvCxnSpPr>
          <p:spPr>
            <a:xfrm flipV="1">
              <a:off x="5626182" y="2420720"/>
              <a:ext cx="1398329" cy="1359941"/>
            </a:xfrm>
            <a:prstGeom prst="line">
              <a:avLst/>
            </a:prstGeom>
            <a:ln>
              <a:solidFill>
                <a:srgbClr val="1B4A76"/>
              </a:solidFill>
            </a:ln>
          </p:spPr>
          <p:style>
            <a:lnRef idx="3">
              <a:schemeClr val="accent3"/>
            </a:lnRef>
            <a:fillRef idx="0">
              <a:schemeClr val="accent3"/>
            </a:fillRef>
            <a:effectRef idx="2">
              <a:schemeClr val="accent3"/>
            </a:effectRef>
            <a:fontRef idx="minor">
              <a:schemeClr val="tx1"/>
            </a:fontRef>
          </p:style>
        </p:cxnSp>
        <p:cxnSp>
          <p:nvCxnSpPr>
            <p:cNvPr id="21" name="Connettore 1 20">
              <a:extLst>
                <a:ext uri="{FF2B5EF4-FFF2-40B4-BE49-F238E27FC236}">
                  <a16:creationId xmlns:a16="http://schemas.microsoft.com/office/drawing/2014/main" id="{92657106-B260-744E-9931-F0362E7EA70E}"/>
                </a:ext>
              </a:extLst>
            </p:cNvPr>
            <p:cNvCxnSpPr/>
            <p:nvPr/>
          </p:nvCxnSpPr>
          <p:spPr>
            <a:xfrm>
              <a:off x="7024511" y="2420720"/>
              <a:ext cx="1292057" cy="0"/>
            </a:xfrm>
            <a:prstGeom prst="line">
              <a:avLst/>
            </a:prstGeom>
            <a:ln>
              <a:solidFill>
                <a:srgbClr val="1B4A76"/>
              </a:solidFill>
            </a:ln>
          </p:spPr>
          <p:style>
            <a:lnRef idx="3">
              <a:schemeClr val="accent1"/>
            </a:lnRef>
            <a:fillRef idx="0">
              <a:schemeClr val="accent1"/>
            </a:fillRef>
            <a:effectRef idx="2">
              <a:schemeClr val="accent1"/>
            </a:effectRef>
            <a:fontRef idx="minor">
              <a:schemeClr val="tx1"/>
            </a:fontRef>
          </p:style>
        </p:cxnSp>
      </p:grpSp>
      <p:grpSp>
        <p:nvGrpSpPr>
          <p:cNvPr id="35" name="Gruppo 34">
            <a:extLst>
              <a:ext uri="{FF2B5EF4-FFF2-40B4-BE49-F238E27FC236}">
                <a16:creationId xmlns:a16="http://schemas.microsoft.com/office/drawing/2014/main" id="{1A5AD65D-896A-DD41-AB7C-FBDC5F142274}"/>
              </a:ext>
            </a:extLst>
          </p:cNvPr>
          <p:cNvGrpSpPr/>
          <p:nvPr/>
        </p:nvGrpSpPr>
        <p:grpSpPr>
          <a:xfrm>
            <a:off x="5894038" y="3017348"/>
            <a:ext cx="2422530" cy="1098615"/>
            <a:chOff x="5894038" y="2420720"/>
            <a:chExt cx="2422530" cy="1098615"/>
          </a:xfrm>
        </p:grpSpPr>
        <p:cxnSp>
          <p:nvCxnSpPr>
            <p:cNvPr id="36" name="Connettore 1 35">
              <a:extLst>
                <a:ext uri="{FF2B5EF4-FFF2-40B4-BE49-F238E27FC236}">
                  <a16:creationId xmlns:a16="http://schemas.microsoft.com/office/drawing/2014/main" id="{574E8418-A3B2-454A-96C7-42F064F3A888}"/>
                </a:ext>
              </a:extLst>
            </p:cNvPr>
            <p:cNvCxnSpPr>
              <a:cxnSpLocks/>
              <a:stCxn id="15" idx="4"/>
            </p:cNvCxnSpPr>
            <p:nvPr/>
          </p:nvCxnSpPr>
          <p:spPr>
            <a:xfrm flipV="1">
              <a:off x="5894038" y="2420721"/>
              <a:ext cx="1130473" cy="1098614"/>
            </a:xfrm>
            <a:prstGeom prst="line">
              <a:avLst/>
            </a:prstGeom>
            <a:ln>
              <a:solidFill>
                <a:srgbClr val="1B4A76"/>
              </a:solidFill>
            </a:ln>
          </p:spPr>
          <p:style>
            <a:lnRef idx="3">
              <a:schemeClr val="accent3"/>
            </a:lnRef>
            <a:fillRef idx="0">
              <a:schemeClr val="accent3"/>
            </a:fillRef>
            <a:effectRef idx="2">
              <a:schemeClr val="accent3"/>
            </a:effectRef>
            <a:fontRef idx="minor">
              <a:schemeClr val="tx1"/>
            </a:fontRef>
          </p:style>
        </p:cxnSp>
        <p:cxnSp>
          <p:nvCxnSpPr>
            <p:cNvPr id="37" name="Connettore 1 36">
              <a:extLst>
                <a:ext uri="{FF2B5EF4-FFF2-40B4-BE49-F238E27FC236}">
                  <a16:creationId xmlns:a16="http://schemas.microsoft.com/office/drawing/2014/main" id="{C2109F96-7416-4B44-B361-5CA50594558B}"/>
                </a:ext>
              </a:extLst>
            </p:cNvPr>
            <p:cNvCxnSpPr/>
            <p:nvPr/>
          </p:nvCxnSpPr>
          <p:spPr>
            <a:xfrm>
              <a:off x="7024511" y="2420720"/>
              <a:ext cx="1292057" cy="0"/>
            </a:xfrm>
            <a:prstGeom prst="line">
              <a:avLst/>
            </a:prstGeom>
            <a:ln>
              <a:solidFill>
                <a:srgbClr val="1B4A76"/>
              </a:solidFill>
            </a:ln>
          </p:spPr>
          <p:style>
            <a:lnRef idx="3">
              <a:schemeClr val="accent1"/>
            </a:lnRef>
            <a:fillRef idx="0">
              <a:schemeClr val="accent1"/>
            </a:fillRef>
            <a:effectRef idx="2">
              <a:schemeClr val="accent1"/>
            </a:effectRef>
            <a:fontRef idx="minor">
              <a:schemeClr val="tx1"/>
            </a:fontRef>
          </p:style>
        </p:cxnSp>
      </p:grpSp>
      <p:grpSp>
        <p:nvGrpSpPr>
          <p:cNvPr id="42" name="Gruppo 41">
            <a:extLst>
              <a:ext uri="{FF2B5EF4-FFF2-40B4-BE49-F238E27FC236}">
                <a16:creationId xmlns:a16="http://schemas.microsoft.com/office/drawing/2014/main" id="{1FA9AF6A-693B-FE4D-951E-8DDCA3ADE468}"/>
              </a:ext>
            </a:extLst>
          </p:cNvPr>
          <p:cNvGrpSpPr/>
          <p:nvPr/>
        </p:nvGrpSpPr>
        <p:grpSpPr>
          <a:xfrm>
            <a:off x="6048343" y="3254607"/>
            <a:ext cx="2271833" cy="859126"/>
            <a:chOff x="6044735" y="2417664"/>
            <a:chExt cx="2271833" cy="859126"/>
          </a:xfrm>
        </p:grpSpPr>
        <p:cxnSp>
          <p:nvCxnSpPr>
            <p:cNvPr id="43" name="Connettore 1 42">
              <a:extLst>
                <a:ext uri="{FF2B5EF4-FFF2-40B4-BE49-F238E27FC236}">
                  <a16:creationId xmlns:a16="http://schemas.microsoft.com/office/drawing/2014/main" id="{6FD468CB-D9AC-BF46-A65A-33B27A5C5CC4}"/>
                </a:ext>
              </a:extLst>
            </p:cNvPr>
            <p:cNvCxnSpPr>
              <a:cxnSpLocks/>
              <a:stCxn id="14" idx="4"/>
            </p:cNvCxnSpPr>
            <p:nvPr/>
          </p:nvCxnSpPr>
          <p:spPr>
            <a:xfrm flipV="1">
              <a:off x="6044735" y="2417664"/>
              <a:ext cx="918065" cy="859126"/>
            </a:xfrm>
            <a:prstGeom prst="line">
              <a:avLst/>
            </a:prstGeom>
            <a:ln>
              <a:solidFill>
                <a:srgbClr val="1B4A76"/>
              </a:solidFill>
            </a:ln>
          </p:spPr>
          <p:style>
            <a:lnRef idx="3">
              <a:schemeClr val="accent3"/>
            </a:lnRef>
            <a:fillRef idx="0">
              <a:schemeClr val="accent3"/>
            </a:fillRef>
            <a:effectRef idx="2">
              <a:schemeClr val="accent3"/>
            </a:effectRef>
            <a:fontRef idx="minor">
              <a:schemeClr val="tx1"/>
            </a:fontRef>
          </p:style>
        </p:cxnSp>
        <p:cxnSp>
          <p:nvCxnSpPr>
            <p:cNvPr id="44" name="Connettore 1 43">
              <a:extLst>
                <a:ext uri="{FF2B5EF4-FFF2-40B4-BE49-F238E27FC236}">
                  <a16:creationId xmlns:a16="http://schemas.microsoft.com/office/drawing/2014/main" id="{DB997EC9-B70E-5243-A8F8-63F6EA8401F4}"/>
                </a:ext>
              </a:extLst>
            </p:cNvPr>
            <p:cNvCxnSpPr>
              <a:cxnSpLocks/>
              <a:stCxn id="41" idx="2324"/>
            </p:cNvCxnSpPr>
            <p:nvPr/>
          </p:nvCxnSpPr>
          <p:spPr>
            <a:xfrm flipV="1">
              <a:off x="6955599" y="2420721"/>
              <a:ext cx="1360969" cy="6454"/>
            </a:xfrm>
            <a:prstGeom prst="line">
              <a:avLst/>
            </a:prstGeom>
            <a:ln>
              <a:solidFill>
                <a:srgbClr val="1B4A76"/>
              </a:solidFill>
            </a:ln>
          </p:spPr>
          <p:style>
            <a:lnRef idx="3">
              <a:schemeClr val="accent1"/>
            </a:lnRef>
            <a:fillRef idx="0">
              <a:schemeClr val="accent1"/>
            </a:fillRef>
            <a:effectRef idx="2">
              <a:schemeClr val="accent1"/>
            </a:effectRef>
            <a:fontRef idx="minor">
              <a:schemeClr val="tx1"/>
            </a:fontRef>
          </p:style>
        </p:cxnSp>
      </p:grpSp>
      <p:grpSp>
        <p:nvGrpSpPr>
          <p:cNvPr id="51" name="Gruppo 50">
            <a:extLst>
              <a:ext uri="{FF2B5EF4-FFF2-40B4-BE49-F238E27FC236}">
                <a16:creationId xmlns:a16="http://schemas.microsoft.com/office/drawing/2014/main" id="{8583FE89-EBDA-6E4E-8A30-2229588F8DD5}"/>
              </a:ext>
            </a:extLst>
          </p:cNvPr>
          <p:cNvGrpSpPr/>
          <p:nvPr/>
        </p:nvGrpSpPr>
        <p:grpSpPr>
          <a:xfrm>
            <a:off x="5952056" y="3414635"/>
            <a:ext cx="2364512" cy="1359941"/>
            <a:chOff x="5626182" y="2420720"/>
            <a:chExt cx="2364512" cy="1359941"/>
          </a:xfrm>
        </p:grpSpPr>
        <p:cxnSp>
          <p:nvCxnSpPr>
            <p:cNvPr id="52" name="Connettore 1 51">
              <a:extLst>
                <a:ext uri="{FF2B5EF4-FFF2-40B4-BE49-F238E27FC236}">
                  <a16:creationId xmlns:a16="http://schemas.microsoft.com/office/drawing/2014/main" id="{46CAE186-BD4E-5349-9837-FF9B5BFEB27B}"/>
                </a:ext>
              </a:extLst>
            </p:cNvPr>
            <p:cNvCxnSpPr>
              <a:cxnSpLocks/>
            </p:cNvCxnSpPr>
            <p:nvPr/>
          </p:nvCxnSpPr>
          <p:spPr>
            <a:xfrm flipV="1">
              <a:off x="5626182" y="2420720"/>
              <a:ext cx="1398329" cy="1359941"/>
            </a:xfrm>
            <a:prstGeom prst="line">
              <a:avLst/>
            </a:prstGeom>
            <a:ln>
              <a:solidFill>
                <a:srgbClr val="1B4A76"/>
              </a:solidFill>
            </a:ln>
          </p:spPr>
          <p:style>
            <a:lnRef idx="3">
              <a:schemeClr val="accent3"/>
            </a:lnRef>
            <a:fillRef idx="0">
              <a:schemeClr val="accent3"/>
            </a:fillRef>
            <a:effectRef idx="2">
              <a:schemeClr val="accent3"/>
            </a:effectRef>
            <a:fontRef idx="minor">
              <a:schemeClr val="tx1"/>
            </a:fontRef>
          </p:style>
        </p:cxnSp>
        <p:cxnSp>
          <p:nvCxnSpPr>
            <p:cNvPr id="53" name="Connettore 1 52">
              <a:extLst>
                <a:ext uri="{FF2B5EF4-FFF2-40B4-BE49-F238E27FC236}">
                  <a16:creationId xmlns:a16="http://schemas.microsoft.com/office/drawing/2014/main" id="{3425DA4B-DFE0-6A4B-B5A5-9C676D039146}"/>
                </a:ext>
              </a:extLst>
            </p:cNvPr>
            <p:cNvCxnSpPr>
              <a:cxnSpLocks/>
            </p:cNvCxnSpPr>
            <p:nvPr/>
          </p:nvCxnSpPr>
          <p:spPr>
            <a:xfrm>
              <a:off x="7024511" y="2420720"/>
              <a:ext cx="966183" cy="0"/>
            </a:xfrm>
            <a:prstGeom prst="line">
              <a:avLst/>
            </a:prstGeom>
            <a:ln>
              <a:solidFill>
                <a:srgbClr val="1B4A76"/>
              </a:solidFill>
            </a:ln>
          </p:spPr>
          <p:style>
            <a:lnRef idx="3">
              <a:schemeClr val="accent1"/>
            </a:lnRef>
            <a:fillRef idx="0">
              <a:schemeClr val="accent1"/>
            </a:fillRef>
            <a:effectRef idx="2">
              <a:schemeClr val="accent1"/>
            </a:effectRef>
            <a:fontRef idx="minor">
              <a:schemeClr val="tx1"/>
            </a:fontRef>
          </p:style>
        </p:cxnSp>
      </p:grpSp>
      <p:sp>
        <p:nvSpPr>
          <p:cNvPr id="55" name="Rettangolo 54">
            <a:extLst>
              <a:ext uri="{FF2B5EF4-FFF2-40B4-BE49-F238E27FC236}">
                <a16:creationId xmlns:a16="http://schemas.microsoft.com/office/drawing/2014/main" id="{B088AD9F-9641-D849-9588-DF8A4981BFA2}"/>
              </a:ext>
            </a:extLst>
          </p:cNvPr>
          <p:cNvSpPr/>
          <p:nvPr/>
        </p:nvSpPr>
        <p:spPr>
          <a:xfrm>
            <a:off x="906168" y="2664818"/>
            <a:ext cx="2170857" cy="9627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 name="CasellaDiTesto 2">
            <a:extLst>
              <a:ext uri="{FF2B5EF4-FFF2-40B4-BE49-F238E27FC236}">
                <a16:creationId xmlns:a16="http://schemas.microsoft.com/office/drawing/2014/main" id="{EA14CDE8-9F11-DE4F-BFA6-9337DF2FA4CE}"/>
              </a:ext>
            </a:extLst>
          </p:cNvPr>
          <p:cNvSpPr txBox="1"/>
          <p:nvPr/>
        </p:nvSpPr>
        <p:spPr>
          <a:xfrm>
            <a:off x="656573" y="2757971"/>
            <a:ext cx="2670044" cy="553998"/>
          </a:xfrm>
          <a:prstGeom prst="rect">
            <a:avLst/>
          </a:prstGeom>
          <a:noFill/>
        </p:spPr>
        <p:txBody>
          <a:bodyPr wrap="square" lIns="0" tIns="0" rIns="0" bIns="0" rtlCol="0">
            <a:spAutoFit/>
          </a:bodyPr>
          <a:lstStyle/>
          <a:p>
            <a:pPr algn="ctr"/>
            <a:r>
              <a:rPr lang="it-IT" b="1" dirty="0">
                <a:solidFill>
                  <a:srgbClr val="19436B"/>
                </a:solidFill>
                <a:latin typeface="Times New Roman" panose="02020603050405020304" pitchFamily="18" charset="0"/>
                <a:cs typeface="Times New Roman" panose="02020603050405020304" pitchFamily="18" charset="0"/>
              </a:rPr>
              <a:t>TEORIA della COGNIZIONE?</a:t>
            </a:r>
          </a:p>
        </p:txBody>
      </p:sp>
      <p:sp>
        <p:nvSpPr>
          <p:cNvPr id="6" name="CasellaDiTesto 5">
            <a:extLst>
              <a:ext uri="{FF2B5EF4-FFF2-40B4-BE49-F238E27FC236}">
                <a16:creationId xmlns:a16="http://schemas.microsoft.com/office/drawing/2014/main" id="{C5729CF1-1915-5B41-8A73-EFFE5CB75FE3}"/>
              </a:ext>
            </a:extLst>
          </p:cNvPr>
          <p:cNvSpPr txBox="1"/>
          <p:nvPr/>
        </p:nvSpPr>
        <p:spPr>
          <a:xfrm>
            <a:off x="1412281" y="3278903"/>
            <a:ext cx="597921" cy="261610"/>
          </a:xfrm>
          <a:prstGeom prst="rect">
            <a:avLst/>
          </a:prstGeom>
          <a:noFill/>
        </p:spPr>
        <p:txBody>
          <a:bodyPr wrap="none" lIns="0" tIns="0" rIns="0" bIns="0" rtlCol="0">
            <a:spAutoFit/>
          </a:bodyPr>
          <a:lstStyle/>
          <a:p>
            <a:r>
              <a:rPr lang="it-IT" sz="1700" dirty="0">
                <a:latin typeface="Times New Roman" panose="02020603050405020304" pitchFamily="18" charset="0"/>
                <a:cs typeface="Times New Roman" panose="02020603050405020304" pitchFamily="18" charset="0"/>
              </a:rPr>
              <a:t>Italia e</a:t>
            </a:r>
          </a:p>
        </p:txBody>
      </p:sp>
      <p:sp>
        <p:nvSpPr>
          <p:cNvPr id="16" name="CasellaDiTesto 15">
            <a:extLst>
              <a:ext uri="{FF2B5EF4-FFF2-40B4-BE49-F238E27FC236}">
                <a16:creationId xmlns:a16="http://schemas.microsoft.com/office/drawing/2014/main" id="{43B612A8-34F7-D346-A152-54775B033257}"/>
              </a:ext>
            </a:extLst>
          </p:cNvPr>
          <p:cNvSpPr txBox="1"/>
          <p:nvPr/>
        </p:nvSpPr>
        <p:spPr>
          <a:xfrm>
            <a:off x="2092422" y="3278903"/>
            <a:ext cx="641201" cy="261610"/>
          </a:xfrm>
          <a:prstGeom prst="rect">
            <a:avLst/>
          </a:prstGeom>
          <a:noFill/>
        </p:spPr>
        <p:txBody>
          <a:bodyPr wrap="none" lIns="0" tIns="0" rIns="0" bIns="0" rtlCol="0">
            <a:spAutoFit/>
          </a:bodyPr>
          <a:lstStyle/>
          <a:p>
            <a:r>
              <a:rPr lang="it-IT" sz="1700" dirty="0">
                <a:latin typeface="Times New Roman" panose="02020603050405020304" pitchFamily="18" charset="0"/>
                <a:cs typeface="Times New Roman" panose="02020603050405020304" pitchFamily="18" charset="0"/>
              </a:rPr>
              <a:t>Spagna</a:t>
            </a:r>
          </a:p>
        </p:txBody>
      </p:sp>
      <p:sp>
        <p:nvSpPr>
          <p:cNvPr id="30" name="Goccia 29">
            <a:extLst>
              <a:ext uri="{FF2B5EF4-FFF2-40B4-BE49-F238E27FC236}">
                <a16:creationId xmlns:a16="http://schemas.microsoft.com/office/drawing/2014/main" id="{B7CA8353-9FCB-8D45-9129-69175EA024C0}"/>
              </a:ext>
            </a:extLst>
          </p:cNvPr>
          <p:cNvSpPr/>
          <p:nvPr/>
        </p:nvSpPr>
        <p:spPr>
          <a:xfrm rot="8079757">
            <a:off x="5595920" y="4433354"/>
            <a:ext cx="198523" cy="197170"/>
          </a:xfrm>
          <a:prstGeom prst="teardrop">
            <a:avLst/>
          </a:prstGeom>
          <a:solidFill>
            <a:srgbClr val="497D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31" name="Gruppo 30">
            <a:extLst>
              <a:ext uri="{FF2B5EF4-FFF2-40B4-BE49-F238E27FC236}">
                <a16:creationId xmlns:a16="http://schemas.microsoft.com/office/drawing/2014/main" id="{697DE541-BCE7-5148-9932-BF668653B097}"/>
              </a:ext>
            </a:extLst>
          </p:cNvPr>
          <p:cNvGrpSpPr/>
          <p:nvPr/>
        </p:nvGrpSpPr>
        <p:grpSpPr>
          <a:xfrm flipH="1">
            <a:off x="3077025" y="2992304"/>
            <a:ext cx="2551985" cy="1468330"/>
            <a:chOff x="5626180" y="2312335"/>
            <a:chExt cx="2551985" cy="1468330"/>
          </a:xfrm>
        </p:grpSpPr>
        <p:cxnSp>
          <p:nvCxnSpPr>
            <p:cNvPr id="32" name="Connettore 1 31">
              <a:extLst>
                <a:ext uri="{FF2B5EF4-FFF2-40B4-BE49-F238E27FC236}">
                  <a16:creationId xmlns:a16="http://schemas.microsoft.com/office/drawing/2014/main" id="{FFBF2929-4D4E-0146-A661-2FED77598667}"/>
                </a:ext>
              </a:extLst>
            </p:cNvPr>
            <p:cNvCxnSpPr>
              <a:cxnSpLocks/>
            </p:cNvCxnSpPr>
            <p:nvPr/>
          </p:nvCxnSpPr>
          <p:spPr>
            <a:xfrm flipV="1">
              <a:off x="5626180" y="2312335"/>
              <a:ext cx="1289736" cy="1468330"/>
            </a:xfrm>
            <a:prstGeom prst="line">
              <a:avLst/>
            </a:prstGeom>
            <a:ln>
              <a:solidFill>
                <a:srgbClr val="1B4A76"/>
              </a:solidFill>
            </a:ln>
          </p:spPr>
          <p:style>
            <a:lnRef idx="3">
              <a:schemeClr val="accent3"/>
            </a:lnRef>
            <a:fillRef idx="0">
              <a:schemeClr val="accent3"/>
            </a:fillRef>
            <a:effectRef idx="2">
              <a:schemeClr val="accent3"/>
            </a:effectRef>
            <a:fontRef idx="minor">
              <a:schemeClr val="tx1"/>
            </a:fontRef>
          </p:style>
        </p:cxnSp>
        <p:cxnSp>
          <p:nvCxnSpPr>
            <p:cNvPr id="33" name="Connettore 1 32">
              <a:extLst>
                <a:ext uri="{FF2B5EF4-FFF2-40B4-BE49-F238E27FC236}">
                  <a16:creationId xmlns:a16="http://schemas.microsoft.com/office/drawing/2014/main" id="{BF86C7B1-82B3-8C40-8F63-E36D8B0BE2E7}"/>
                </a:ext>
              </a:extLst>
            </p:cNvPr>
            <p:cNvCxnSpPr>
              <a:cxnSpLocks/>
            </p:cNvCxnSpPr>
            <p:nvPr/>
          </p:nvCxnSpPr>
          <p:spPr>
            <a:xfrm>
              <a:off x="6915916" y="2327925"/>
              <a:ext cx="1262249" cy="27076"/>
            </a:xfrm>
            <a:prstGeom prst="line">
              <a:avLst/>
            </a:prstGeom>
            <a:ln>
              <a:solidFill>
                <a:srgbClr val="1B4A76"/>
              </a:solidFill>
            </a:ln>
          </p:spPr>
          <p:style>
            <a:lnRef idx="3">
              <a:schemeClr val="accent1"/>
            </a:lnRef>
            <a:fillRef idx="0">
              <a:schemeClr val="accent1"/>
            </a:fillRef>
            <a:effectRef idx="2">
              <a:schemeClr val="accent1"/>
            </a:effectRef>
            <a:fontRef idx="minor">
              <a:schemeClr val="tx1"/>
            </a:fontRef>
          </p:style>
        </p:cxnSp>
      </p:grpSp>
      <p:sp>
        <p:nvSpPr>
          <p:cNvPr id="25" name="Rettangolo 24">
            <a:extLst>
              <a:ext uri="{FF2B5EF4-FFF2-40B4-BE49-F238E27FC236}">
                <a16:creationId xmlns:a16="http://schemas.microsoft.com/office/drawing/2014/main" id="{6266FC1F-6192-104B-AC71-D6FB4995F463}"/>
              </a:ext>
            </a:extLst>
          </p:cNvPr>
          <p:cNvSpPr/>
          <p:nvPr/>
        </p:nvSpPr>
        <p:spPr>
          <a:xfrm>
            <a:off x="924774" y="3717364"/>
            <a:ext cx="2170857" cy="14869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6" name="CasellaDiTesto 25">
            <a:extLst>
              <a:ext uri="{FF2B5EF4-FFF2-40B4-BE49-F238E27FC236}">
                <a16:creationId xmlns:a16="http://schemas.microsoft.com/office/drawing/2014/main" id="{1CFD5FBE-C3C3-0842-BEA3-61F7EDA94150}"/>
              </a:ext>
            </a:extLst>
          </p:cNvPr>
          <p:cNvSpPr txBox="1"/>
          <p:nvPr/>
        </p:nvSpPr>
        <p:spPr>
          <a:xfrm>
            <a:off x="978509" y="3751315"/>
            <a:ext cx="2063385" cy="646331"/>
          </a:xfrm>
          <a:prstGeom prst="rect">
            <a:avLst/>
          </a:prstGeom>
          <a:noFill/>
        </p:spPr>
        <p:txBody>
          <a:bodyPr wrap="none" rtlCol="0">
            <a:spAutoFit/>
          </a:bodyPr>
          <a:lstStyle/>
          <a:p>
            <a:pPr algn="ctr"/>
            <a:r>
              <a:rPr lang="it-IT" b="1" dirty="0">
                <a:solidFill>
                  <a:srgbClr val="19436B"/>
                </a:solidFill>
                <a:latin typeface="Times New Roman" panose="02020603050405020304" pitchFamily="18" charset="0"/>
                <a:cs typeface="Times New Roman" panose="02020603050405020304" pitchFamily="18" charset="0"/>
              </a:rPr>
              <a:t>PRESUNZIONE </a:t>
            </a:r>
          </a:p>
          <a:p>
            <a:pPr algn="ctr"/>
            <a:r>
              <a:rPr lang="it-IT" b="1" dirty="0">
                <a:solidFill>
                  <a:srgbClr val="19436B"/>
                </a:solidFill>
                <a:latin typeface="Times New Roman" panose="02020603050405020304" pitchFamily="18" charset="0"/>
                <a:cs typeface="Times New Roman" panose="02020603050405020304" pitchFamily="18" charset="0"/>
              </a:rPr>
              <a:t>di CONOSCENZA</a:t>
            </a:r>
          </a:p>
        </p:txBody>
      </p:sp>
      <p:sp>
        <p:nvSpPr>
          <p:cNvPr id="27" name="CasellaDiTesto 26">
            <a:extLst>
              <a:ext uri="{FF2B5EF4-FFF2-40B4-BE49-F238E27FC236}">
                <a16:creationId xmlns:a16="http://schemas.microsoft.com/office/drawing/2014/main" id="{1794E1AA-5981-A84F-88F9-87968B5008E4}"/>
              </a:ext>
            </a:extLst>
          </p:cNvPr>
          <p:cNvSpPr txBox="1"/>
          <p:nvPr/>
        </p:nvSpPr>
        <p:spPr>
          <a:xfrm>
            <a:off x="920113" y="4330695"/>
            <a:ext cx="2180176" cy="784830"/>
          </a:xfrm>
          <a:prstGeom prst="rect">
            <a:avLst/>
          </a:prstGeom>
          <a:noFill/>
        </p:spPr>
        <p:txBody>
          <a:bodyPr wrap="square" lIns="0" tIns="0" rIns="0" bIns="0" rtlCol="0">
            <a:spAutoFit/>
          </a:bodyPr>
          <a:lstStyle/>
          <a:p>
            <a:pPr algn="ctr"/>
            <a:r>
              <a:rPr lang="it-IT" sz="1700" dirty="0">
                <a:latin typeface="Times New Roman" panose="02020603050405020304" pitchFamily="18" charset="0"/>
                <a:cs typeface="Times New Roman" panose="02020603050405020304" pitchFamily="18" charset="0"/>
              </a:rPr>
              <a:t>fatta salva la possibilità di fornire PROVA CONTRARIA</a:t>
            </a:r>
          </a:p>
        </p:txBody>
      </p:sp>
      <p:sp>
        <p:nvSpPr>
          <p:cNvPr id="45" name="Goccia 44">
            <a:extLst>
              <a:ext uri="{FF2B5EF4-FFF2-40B4-BE49-F238E27FC236}">
                <a16:creationId xmlns:a16="http://schemas.microsoft.com/office/drawing/2014/main" id="{F8010EEF-9523-DF42-B160-7279469E0E61}"/>
              </a:ext>
            </a:extLst>
          </p:cNvPr>
          <p:cNvSpPr/>
          <p:nvPr/>
        </p:nvSpPr>
        <p:spPr>
          <a:xfrm rot="8079757">
            <a:off x="4597904" y="4822190"/>
            <a:ext cx="198523" cy="197170"/>
          </a:xfrm>
          <a:prstGeom prst="teardrop">
            <a:avLst/>
          </a:prstGeom>
          <a:solidFill>
            <a:srgbClr val="497D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46" name="Gruppo 45">
            <a:extLst>
              <a:ext uri="{FF2B5EF4-FFF2-40B4-BE49-F238E27FC236}">
                <a16:creationId xmlns:a16="http://schemas.microsoft.com/office/drawing/2014/main" id="{069BAF76-2910-9142-ACDC-9500F6433D7B}"/>
              </a:ext>
            </a:extLst>
          </p:cNvPr>
          <p:cNvGrpSpPr/>
          <p:nvPr/>
        </p:nvGrpSpPr>
        <p:grpSpPr>
          <a:xfrm flipH="1">
            <a:off x="3095632" y="3483390"/>
            <a:ext cx="1547713" cy="1381690"/>
            <a:chOff x="5600073" y="2421092"/>
            <a:chExt cx="1547713" cy="1381690"/>
          </a:xfrm>
        </p:grpSpPr>
        <p:cxnSp>
          <p:nvCxnSpPr>
            <p:cNvPr id="47" name="Connettore 1 46">
              <a:extLst>
                <a:ext uri="{FF2B5EF4-FFF2-40B4-BE49-F238E27FC236}">
                  <a16:creationId xmlns:a16="http://schemas.microsoft.com/office/drawing/2014/main" id="{1291928C-BA79-6A4C-A9D4-001481138473}"/>
                </a:ext>
              </a:extLst>
            </p:cNvPr>
            <p:cNvCxnSpPr>
              <a:cxnSpLocks/>
            </p:cNvCxnSpPr>
            <p:nvPr/>
          </p:nvCxnSpPr>
          <p:spPr>
            <a:xfrm flipV="1">
              <a:off x="5600073" y="2421092"/>
              <a:ext cx="1253922" cy="1381690"/>
            </a:xfrm>
            <a:prstGeom prst="line">
              <a:avLst/>
            </a:prstGeom>
            <a:ln>
              <a:solidFill>
                <a:srgbClr val="1B4A76"/>
              </a:solidFill>
            </a:ln>
          </p:spPr>
          <p:style>
            <a:lnRef idx="3">
              <a:schemeClr val="accent3"/>
            </a:lnRef>
            <a:fillRef idx="0">
              <a:schemeClr val="accent3"/>
            </a:fillRef>
            <a:effectRef idx="2">
              <a:schemeClr val="accent3"/>
            </a:effectRef>
            <a:fontRef idx="minor">
              <a:schemeClr val="tx1"/>
            </a:fontRef>
          </p:style>
        </p:cxnSp>
        <p:cxnSp>
          <p:nvCxnSpPr>
            <p:cNvPr id="48" name="Connettore 1 47">
              <a:extLst>
                <a:ext uri="{FF2B5EF4-FFF2-40B4-BE49-F238E27FC236}">
                  <a16:creationId xmlns:a16="http://schemas.microsoft.com/office/drawing/2014/main" id="{795E0B73-0274-C74A-92AE-D6CFA0CBFD2D}"/>
                </a:ext>
              </a:extLst>
            </p:cNvPr>
            <p:cNvCxnSpPr>
              <a:cxnSpLocks/>
            </p:cNvCxnSpPr>
            <p:nvPr/>
          </p:nvCxnSpPr>
          <p:spPr>
            <a:xfrm>
              <a:off x="6853995" y="2423391"/>
              <a:ext cx="293791" cy="0"/>
            </a:xfrm>
            <a:prstGeom prst="line">
              <a:avLst/>
            </a:prstGeom>
            <a:ln>
              <a:solidFill>
                <a:srgbClr val="1B4A76"/>
              </a:solidFill>
            </a:ln>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3790517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p:cTn id="7" dur="750" fill="hold"/>
                                        <p:tgtEl>
                                          <p:spTgt spid="41"/>
                                        </p:tgtEl>
                                        <p:attrNameLst>
                                          <p:attrName>ppt_w</p:attrName>
                                        </p:attrNameLst>
                                      </p:cBhvr>
                                      <p:tavLst>
                                        <p:tav tm="0">
                                          <p:val>
                                            <p:fltVal val="0"/>
                                          </p:val>
                                        </p:tav>
                                        <p:tav tm="100000">
                                          <p:val>
                                            <p:strVal val="#ppt_w"/>
                                          </p:val>
                                        </p:tav>
                                      </p:tavLst>
                                    </p:anim>
                                    <p:anim calcmode="lin" valueType="num">
                                      <p:cBhvr>
                                        <p:cTn id="8" dur="750" fill="hold"/>
                                        <p:tgtEl>
                                          <p:spTgt spid="41"/>
                                        </p:tgtEl>
                                        <p:attrNameLst>
                                          <p:attrName>ppt_h</p:attrName>
                                        </p:attrNameLst>
                                      </p:cBhvr>
                                      <p:tavLst>
                                        <p:tav tm="0">
                                          <p:val>
                                            <p:fltVal val="0"/>
                                          </p:val>
                                        </p:tav>
                                        <p:tav tm="100000">
                                          <p:val>
                                            <p:strVal val="#ppt_h"/>
                                          </p:val>
                                        </p:tav>
                                      </p:tavLst>
                                    </p:anim>
                                    <p:animEffect transition="in" filter="fade">
                                      <p:cBhvr>
                                        <p:cTn id="9" dur="750"/>
                                        <p:tgtEl>
                                          <p:spTgt spid="41"/>
                                        </p:tgtEl>
                                      </p:cBhvr>
                                    </p:animEffect>
                                  </p:childTnLst>
                                </p:cTn>
                              </p:par>
                            </p:childTnLst>
                          </p:cTn>
                        </p:par>
                        <p:par>
                          <p:cTn id="10" fill="hold">
                            <p:stCondLst>
                              <p:cond delay="750"/>
                            </p:stCondLst>
                            <p:childTnLst>
                              <p:par>
                                <p:cTn id="11" presetID="53" presetClass="entr" presetSubtype="16"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500" fill="hold"/>
                                        <p:tgtEl>
                                          <p:spTgt spid="7"/>
                                        </p:tgtEl>
                                        <p:attrNameLst>
                                          <p:attrName>ppt_w</p:attrName>
                                        </p:attrNameLst>
                                      </p:cBhvr>
                                      <p:tavLst>
                                        <p:tav tm="0">
                                          <p:val>
                                            <p:fltVal val="0"/>
                                          </p:val>
                                        </p:tav>
                                        <p:tav tm="100000">
                                          <p:val>
                                            <p:strVal val="#ppt_w"/>
                                          </p:val>
                                        </p:tav>
                                      </p:tavLst>
                                    </p:anim>
                                    <p:anim calcmode="lin" valueType="num">
                                      <p:cBhvr>
                                        <p:cTn id="14" dur="500" fill="hold"/>
                                        <p:tgtEl>
                                          <p:spTgt spid="7"/>
                                        </p:tgtEl>
                                        <p:attrNameLst>
                                          <p:attrName>ppt_h</p:attrName>
                                        </p:attrNameLst>
                                      </p:cBhvr>
                                      <p:tavLst>
                                        <p:tav tm="0">
                                          <p:val>
                                            <p:fltVal val="0"/>
                                          </p:val>
                                        </p:tav>
                                        <p:tav tm="100000">
                                          <p:val>
                                            <p:strVal val="#ppt_h"/>
                                          </p:val>
                                        </p:tav>
                                      </p:tavLst>
                                    </p:anim>
                                    <p:animEffect transition="in" filter="fade">
                                      <p:cBhvr>
                                        <p:cTn id="15" dur="500"/>
                                        <p:tgtEl>
                                          <p:spTgt spid="7"/>
                                        </p:tgtEl>
                                      </p:cBhvr>
                                    </p:animEffect>
                                  </p:childTnLst>
                                </p:cTn>
                              </p:par>
                              <p:par>
                                <p:cTn id="16" presetID="53" presetClass="entr" presetSubtype="16"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 calcmode="lin" valueType="num">
                                      <p:cBhvr>
                                        <p:cTn id="18" dur="500" fill="hold"/>
                                        <p:tgtEl>
                                          <p:spTgt spid="8"/>
                                        </p:tgtEl>
                                        <p:attrNameLst>
                                          <p:attrName>ppt_w</p:attrName>
                                        </p:attrNameLst>
                                      </p:cBhvr>
                                      <p:tavLst>
                                        <p:tav tm="0">
                                          <p:val>
                                            <p:fltVal val="0"/>
                                          </p:val>
                                        </p:tav>
                                        <p:tav tm="100000">
                                          <p:val>
                                            <p:strVal val="#ppt_w"/>
                                          </p:val>
                                        </p:tav>
                                      </p:tavLst>
                                    </p:anim>
                                    <p:anim calcmode="lin" valueType="num">
                                      <p:cBhvr>
                                        <p:cTn id="19" dur="500" fill="hold"/>
                                        <p:tgtEl>
                                          <p:spTgt spid="8"/>
                                        </p:tgtEl>
                                        <p:attrNameLst>
                                          <p:attrName>ppt_h</p:attrName>
                                        </p:attrNameLst>
                                      </p:cBhvr>
                                      <p:tavLst>
                                        <p:tav tm="0">
                                          <p:val>
                                            <p:fltVal val="0"/>
                                          </p:val>
                                        </p:tav>
                                        <p:tav tm="100000">
                                          <p:val>
                                            <p:strVal val="#ppt_h"/>
                                          </p:val>
                                        </p:tav>
                                      </p:tavLst>
                                    </p:anim>
                                    <p:animEffect transition="in" filter="fade">
                                      <p:cBhvr>
                                        <p:cTn id="20" dur="500"/>
                                        <p:tgtEl>
                                          <p:spTgt spid="8"/>
                                        </p:tgtEl>
                                      </p:cBhvr>
                                    </p:animEffect>
                                  </p:childTnLst>
                                </p:cTn>
                              </p:par>
                            </p:childTnLst>
                          </p:cTn>
                        </p:par>
                      </p:childTnLst>
                    </p:cTn>
                  </p:par>
                  <p:par>
                    <p:cTn id="21" fill="hold">
                      <p:stCondLst>
                        <p:cond delay="indefinite"/>
                      </p:stCondLst>
                      <p:childTnLst>
                        <p:par>
                          <p:cTn id="22" fill="hold">
                            <p:stCondLst>
                              <p:cond delay="0"/>
                            </p:stCondLst>
                            <p:childTnLst>
                              <p:par>
                                <p:cTn id="23" presetID="53" presetClass="entr" presetSubtype="16" fill="hold" grpId="0" nodeType="clickEffect">
                                  <p:stCondLst>
                                    <p:cond delay="0"/>
                                  </p:stCondLst>
                                  <p:childTnLst>
                                    <p:set>
                                      <p:cBhvr>
                                        <p:cTn id="24" dur="1" fill="hold">
                                          <p:stCondLst>
                                            <p:cond delay="0"/>
                                          </p:stCondLst>
                                        </p:cTn>
                                        <p:tgtEl>
                                          <p:spTgt spid="9"/>
                                        </p:tgtEl>
                                        <p:attrNameLst>
                                          <p:attrName>style.visibility</p:attrName>
                                        </p:attrNameLst>
                                      </p:cBhvr>
                                      <p:to>
                                        <p:strVal val="visible"/>
                                      </p:to>
                                    </p:set>
                                    <p:anim calcmode="lin" valueType="num">
                                      <p:cBhvr>
                                        <p:cTn id="25" dur="250" fill="hold"/>
                                        <p:tgtEl>
                                          <p:spTgt spid="9"/>
                                        </p:tgtEl>
                                        <p:attrNameLst>
                                          <p:attrName>ppt_w</p:attrName>
                                        </p:attrNameLst>
                                      </p:cBhvr>
                                      <p:tavLst>
                                        <p:tav tm="0">
                                          <p:val>
                                            <p:fltVal val="0"/>
                                          </p:val>
                                        </p:tav>
                                        <p:tav tm="100000">
                                          <p:val>
                                            <p:strVal val="#ppt_w"/>
                                          </p:val>
                                        </p:tav>
                                      </p:tavLst>
                                    </p:anim>
                                    <p:anim calcmode="lin" valueType="num">
                                      <p:cBhvr>
                                        <p:cTn id="26" dur="250" fill="hold"/>
                                        <p:tgtEl>
                                          <p:spTgt spid="9"/>
                                        </p:tgtEl>
                                        <p:attrNameLst>
                                          <p:attrName>ppt_h</p:attrName>
                                        </p:attrNameLst>
                                      </p:cBhvr>
                                      <p:tavLst>
                                        <p:tav tm="0">
                                          <p:val>
                                            <p:fltVal val="0"/>
                                          </p:val>
                                        </p:tav>
                                        <p:tav tm="100000">
                                          <p:val>
                                            <p:strVal val="#ppt_h"/>
                                          </p:val>
                                        </p:tav>
                                      </p:tavLst>
                                    </p:anim>
                                    <p:animEffect transition="in" filter="fade">
                                      <p:cBhvr>
                                        <p:cTn id="27" dur="250"/>
                                        <p:tgtEl>
                                          <p:spTgt spid="9"/>
                                        </p:tgtEl>
                                      </p:cBhvr>
                                    </p:animEffect>
                                  </p:childTnLst>
                                </p:cTn>
                              </p:par>
                              <p:par>
                                <p:cTn id="28" presetID="2" presetClass="entr" presetSubtype="1" fill="hold" grpId="0" nodeType="withEffect">
                                  <p:stCondLst>
                                    <p:cond delay="0"/>
                                  </p:stCondLst>
                                  <p:childTnLst>
                                    <p:set>
                                      <p:cBhvr>
                                        <p:cTn id="29" dur="1" fill="hold">
                                          <p:stCondLst>
                                            <p:cond delay="0"/>
                                          </p:stCondLst>
                                        </p:cTn>
                                        <p:tgtEl>
                                          <p:spTgt spid="13"/>
                                        </p:tgtEl>
                                        <p:attrNameLst>
                                          <p:attrName>style.visibility</p:attrName>
                                        </p:attrNameLst>
                                      </p:cBhvr>
                                      <p:to>
                                        <p:strVal val="visible"/>
                                      </p:to>
                                    </p:set>
                                    <p:anim calcmode="lin" valueType="num">
                                      <p:cBhvr additive="base">
                                        <p:cTn id="30" dur="250" fill="hold"/>
                                        <p:tgtEl>
                                          <p:spTgt spid="13"/>
                                        </p:tgtEl>
                                        <p:attrNameLst>
                                          <p:attrName>ppt_x</p:attrName>
                                        </p:attrNameLst>
                                      </p:cBhvr>
                                      <p:tavLst>
                                        <p:tav tm="0">
                                          <p:val>
                                            <p:strVal val="#ppt_x"/>
                                          </p:val>
                                        </p:tav>
                                        <p:tav tm="100000">
                                          <p:val>
                                            <p:strVal val="#ppt_x"/>
                                          </p:val>
                                        </p:tav>
                                      </p:tavLst>
                                    </p:anim>
                                    <p:anim calcmode="lin" valueType="num">
                                      <p:cBhvr additive="base">
                                        <p:cTn id="31" dur="250" fill="hold"/>
                                        <p:tgtEl>
                                          <p:spTgt spid="13"/>
                                        </p:tgtEl>
                                        <p:attrNameLst>
                                          <p:attrName>ppt_y</p:attrName>
                                        </p:attrNameLst>
                                      </p:cBhvr>
                                      <p:tavLst>
                                        <p:tav tm="0">
                                          <p:val>
                                            <p:strVal val="0-#ppt_h/2"/>
                                          </p:val>
                                        </p:tav>
                                        <p:tav tm="100000">
                                          <p:val>
                                            <p:strVal val="#ppt_y"/>
                                          </p:val>
                                        </p:tav>
                                      </p:tavLst>
                                    </p:anim>
                                  </p:childTnLst>
                                </p:cTn>
                              </p:par>
                            </p:childTnLst>
                          </p:cTn>
                        </p:par>
                        <p:par>
                          <p:cTn id="32" fill="hold">
                            <p:stCondLst>
                              <p:cond delay="250"/>
                            </p:stCondLst>
                            <p:childTnLst>
                              <p:par>
                                <p:cTn id="33" presetID="18" presetClass="entr" presetSubtype="3" fill="hold" nodeType="afterEffect">
                                  <p:stCondLst>
                                    <p:cond delay="0"/>
                                  </p:stCondLst>
                                  <p:childTnLst>
                                    <p:set>
                                      <p:cBhvr>
                                        <p:cTn id="34" dur="1" fill="hold">
                                          <p:stCondLst>
                                            <p:cond delay="0"/>
                                          </p:stCondLst>
                                        </p:cTn>
                                        <p:tgtEl>
                                          <p:spTgt spid="22"/>
                                        </p:tgtEl>
                                        <p:attrNameLst>
                                          <p:attrName>style.visibility</p:attrName>
                                        </p:attrNameLst>
                                      </p:cBhvr>
                                      <p:to>
                                        <p:strVal val="visible"/>
                                      </p:to>
                                    </p:set>
                                    <p:animEffect transition="in" filter="strips(upRight)">
                                      <p:cBhvr>
                                        <p:cTn id="35" dur="250"/>
                                        <p:tgtEl>
                                          <p:spTgt spid="22"/>
                                        </p:tgtEl>
                                      </p:cBhvr>
                                    </p:animEffect>
                                  </p:childTnLst>
                                </p:cTn>
                              </p:par>
                            </p:childTnLst>
                          </p:cTn>
                        </p:par>
                        <p:par>
                          <p:cTn id="36" fill="hold">
                            <p:stCondLst>
                              <p:cond delay="500"/>
                            </p:stCondLst>
                            <p:childTnLst>
                              <p:par>
                                <p:cTn id="37" presetID="9" presetClass="entr" presetSubtype="0" fill="hold" grpId="0" nodeType="after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dissolve">
                                      <p:cBhvr>
                                        <p:cTn id="39" dur="250"/>
                                        <p:tgtEl>
                                          <p:spTgt spid="10"/>
                                        </p:tgtEl>
                                      </p:cBhvr>
                                    </p:animEffect>
                                  </p:childTnLst>
                                </p:cTn>
                              </p:par>
                              <p:par>
                                <p:cTn id="40" presetID="2" presetClass="entr" presetSubtype="1" fill="hold" grpId="0" nodeType="withEffect">
                                  <p:stCondLst>
                                    <p:cond delay="0"/>
                                  </p:stCondLst>
                                  <p:childTnLst>
                                    <p:set>
                                      <p:cBhvr>
                                        <p:cTn id="41" dur="1" fill="hold">
                                          <p:stCondLst>
                                            <p:cond delay="0"/>
                                          </p:stCondLst>
                                        </p:cTn>
                                        <p:tgtEl>
                                          <p:spTgt spid="15"/>
                                        </p:tgtEl>
                                        <p:attrNameLst>
                                          <p:attrName>style.visibility</p:attrName>
                                        </p:attrNameLst>
                                      </p:cBhvr>
                                      <p:to>
                                        <p:strVal val="visible"/>
                                      </p:to>
                                    </p:set>
                                    <p:anim calcmode="lin" valueType="num">
                                      <p:cBhvr additive="base">
                                        <p:cTn id="42" dur="250" fill="hold"/>
                                        <p:tgtEl>
                                          <p:spTgt spid="15"/>
                                        </p:tgtEl>
                                        <p:attrNameLst>
                                          <p:attrName>ppt_x</p:attrName>
                                        </p:attrNameLst>
                                      </p:cBhvr>
                                      <p:tavLst>
                                        <p:tav tm="0">
                                          <p:val>
                                            <p:strVal val="#ppt_x"/>
                                          </p:val>
                                        </p:tav>
                                        <p:tav tm="100000">
                                          <p:val>
                                            <p:strVal val="#ppt_x"/>
                                          </p:val>
                                        </p:tav>
                                      </p:tavLst>
                                    </p:anim>
                                    <p:anim calcmode="lin" valueType="num">
                                      <p:cBhvr additive="base">
                                        <p:cTn id="43" dur="250" fill="hold"/>
                                        <p:tgtEl>
                                          <p:spTgt spid="15"/>
                                        </p:tgtEl>
                                        <p:attrNameLst>
                                          <p:attrName>ppt_y</p:attrName>
                                        </p:attrNameLst>
                                      </p:cBhvr>
                                      <p:tavLst>
                                        <p:tav tm="0">
                                          <p:val>
                                            <p:strVal val="0-#ppt_h/2"/>
                                          </p:val>
                                        </p:tav>
                                        <p:tav tm="100000">
                                          <p:val>
                                            <p:strVal val="#ppt_y"/>
                                          </p:val>
                                        </p:tav>
                                      </p:tavLst>
                                    </p:anim>
                                  </p:childTnLst>
                                </p:cTn>
                              </p:par>
                            </p:childTnLst>
                          </p:cTn>
                        </p:par>
                        <p:par>
                          <p:cTn id="44" fill="hold">
                            <p:stCondLst>
                              <p:cond delay="750"/>
                            </p:stCondLst>
                            <p:childTnLst>
                              <p:par>
                                <p:cTn id="45" presetID="18" presetClass="entr" presetSubtype="3" fill="hold" nodeType="afterEffect">
                                  <p:stCondLst>
                                    <p:cond delay="0"/>
                                  </p:stCondLst>
                                  <p:childTnLst>
                                    <p:set>
                                      <p:cBhvr>
                                        <p:cTn id="46" dur="1" fill="hold">
                                          <p:stCondLst>
                                            <p:cond delay="0"/>
                                          </p:stCondLst>
                                        </p:cTn>
                                        <p:tgtEl>
                                          <p:spTgt spid="35"/>
                                        </p:tgtEl>
                                        <p:attrNameLst>
                                          <p:attrName>style.visibility</p:attrName>
                                        </p:attrNameLst>
                                      </p:cBhvr>
                                      <p:to>
                                        <p:strVal val="visible"/>
                                      </p:to>
                                    </p:set>
                                    <p:animEffect transition="in" filter="strips(upRight)">
                                      <p:cBhvr>
                                        <p:cTn id="47" dur="250"/>
                                        <p:tgtEl>
                                          <p:spTgt spid="35"/>
                                        </p:tgtEl>
                                      </p:cBhvr>
                                    </p:animEffect>
                                  </p:childTnLst>
                                </p:cTn>
                              </p:par>
                            </p:childTnLst>
                          </p:cTn>
                        </p:par>
                        <p:par>
                          <p:cTn id="48" fill="hold">
                            <p:stCondLst>
                              <p:cond delay="1000"/>
                            </p:stCondLst>
                            <p:childTnLst>
                              <p:par>
                                <p:cTn id="49" presetID="53" presetClass="entr" presetSubtype="16" fill="hold" grpId="0" nodeType="afterEffect">
                                  <p:stCondLst>
                                    <p:cond delay="0"/>
                                  </p:stCondLst>
                                  <p:childTnLst>
                                    <p:set>
                                      <p:cBhvr>
                                        <p:cTn id="50" dur="1" fill="hold">
                                          <p:stCondLst>
                                            <p:cond delay="0"/>
                                          </p:stCondLst>
                                        </p:cTn>
                                        <p:tgtEl>
                                          <p:spTgt spid="11"/>
                                        </p:tgtEl>
                                        <p:attrNameLst>
                                          <p:attrName>style.visibility</p:attrName>
                                        </p:attrNameLst>
                                      </p:cBhvr>
                                      <p:to>
                                        <p:strVal val="visible"/>
                                      </p:to>
                                    </p:set>
                                    <p:anim calcmode="lin" valueType="num">
                                      <p:cBhvr>
                                        <p:cTn id="51" dur="250" fill="hold"/>
                                        <p:tgtEl>
                                          <p:spTgt spid="11"/>
                                        </p:tgtEl>
                                        <p:attrNameLst>
                                          <p:attrName>ppt_w</p:attrName>
                                        </p:attrNameLst>
                                      </p:cBhvr>
                                      <p:tavLst>
                                        <p:tav tm="0">
                                          <p:val>
                                            <p:fltVal val="0"/>
                                          </p:val>
                                        </p:tav>
                                        <p:tav tm="100000">
                                          <p:val>
                                            <p:strVal val="#ppt_w"/>
                                          </p:val>
                                        </p:tav>
                                      </p:tavLst>
                                    </p:anim>
                                    <p:anim calcmode="lin" valueType="num">
                                      <p:cBhvr>
                                        <p:cTn id="52" dur="250" fill="hold"/>
                                        <p:tgtEl>
                                          <p:spTgt spid="11"/>
                                        </p:tgtEl>
                                        <p:attrNameLst>
                                          <p:attrName>ppt_h</p:attrName>
                                        </p:attrNameLst>
                                      </p:cBhvr>
                                      <p:tavLst>
                                        <p:tav tm="0">
                                          <p:val>
                                            <p:fltVal val="0"/>
                                          </p:val>
                                        </p:tav>
                                        <p:tav tm="100000">
                                          <p:val>
                                            <p:strVal val="#ppt_h"/>
                                          </p:val>
                                        </p:tav>
                                      </p:tavLst>
                                    </p:anim>
                                    <p:animEffect transition="in" filter="fade">
                                      <p:cBhvr>
                                        <p:cTn id="53" dur="250"/>
                                        <p:tgtEl>
                                          <p:spTgt spid="11"/>
                                        </p:tgtEl>
                                      </p:cBhvr>
                                    </p:animEffect>
                                  </p:childTnLst>
                                </p:cTn>
                              </p:par>
                              <p:par>
                                <p:cTn id="54" presetID="2" presetClass="entr" presetSubtype="1" fill="hold" grpId="0" nodeType="withEffect">
                                  <p:stCondLst>
                                    <p:cond delay="0"/>
                                  </p:stCondLst>
                                  <p:childTnLst>
                                    <p:set>
                                      <p:cBhvr>
                                        <p:cTn id="55" dur="1" fill="hold">
                                          <p:stCondLst>
                                            <p:cond delay="0"/>
                                          </p:stCondLst>
                                        </p:cTn>
                                        <p:tgtEl>
                                          <p:spTgt spid="14"/>
                                        </p:tgtEl>
                                        <p:attrNameLst>
                                          <p:attrName>style.visibility</p:attrName>
                                        </p:attrNameLst>
                                      </p:cBhvr>
                                      <p:to>
                                        <p:strVal val="visible"/>
                                      </p:to>
                                    </p:set>
                                    <p:anim calcmode="lin" valueType="num">
                                      <p:cBhvr additive="base">
                                        <p:cTn id="56" dur="250" fill="hold"/>
                                        <p:tgtEl>
                                          <p:spTgt spid="14"/>
                                        </p:tgtEl>
                                        <p:attrNameLst>
                                          <p:attrName>ppt_x</p:attrName>
                                        </p:attrNameLst>
                                      </p:cBhvr>
                                      <p:tavLst>
                                        <p:tav tm="0">
                                          <p:val>
                                            <p:strVal val="#ppt_x"/>
                                          </p:val>
                                        </p:tav>
                                        <p:tav tm="100000">
                                          <p:val>
                                            <p:strVal val="#ppt_x"/>
                                          </p:val>
                                        </p:tav>
                                      </p:tavLst>
                                    </p:anim>
                                    <p:anim calcmode="lin" valueType="num">
                                      <p:cBhvr additive="base">
                                        <p:cTn id="57" dur="250" fill="hold"/>
                                        <p:tgtEl>
                                          <p:spTgt spid="14"/>
                                        </p:tgtEl>
                                        <p:attrNameLst>
                                          <p:attrName>ppt_y</p:attrName>
                                        </p:attrNameLst>
                                      </p:cBhvr>
                                      <p:tavLst>
                                        <p:tav tm="0">
                                          <p:val>
                                            <p:strVal val="0-#ppt_h/2"/>
                                          </p:val>
                                        </p:tav>
                                        <p:tav tm="100000">
                                          <p:val>
                                            <p:strVal val="#ppt_y"/>
                                          </p:val>
                                        </p:tav>
                                      </p:tavLst>
                                    </p:anim>
                                  </p:childTnLst>
                                </p:cTn>
                              </p:par>
                            </p:childTnLst>
                          </p:cTn>
                        </p:par>
                        <p:par>
                          <p:cTn id="58" fill="hold">
                            <p:stCondLst>
                              <p:cond delay="1250"/>
                            </p:stCondLst>
                            <p:childTnLst>
                              <p:par>
                                <p:cTn id="59" presetID="18" presetClass="entr" presetSubtype="3" fill="hold" nodeType="afterEffect">
                                  <p:stCondLst>
                                    <p:cond delay="0"/>
                                  </p:stCondLst>
                                  <p:childTnLst>
                                    <p:set>
                                      <p:cBhvr>
                                        <p:cTn id="60" dur="1" fill="hold">
                                          <p:stCondLst>
                                            <p:cond delay="0"/>
                                          </p:stCondLst>
                                        </p:cTn>
                                        <p:tgtEl>
                                          <p:spTgt spid="42"/>
                                        </p:tgtEl>
                                        <p:attrNameLst>
                                          <p:attrName>style.visibility</p:attrName>
                                        </p:attrNameLst>
                                      </p:cBhvr>
                                      <p:to>
                                        <p:strVal val="visible"/>
                                      </p:to>
                                    </p:set>
                                    <p:animEffect transition="in" filter="strips(upRight)">
                                      <p:cBhvr>
                                        <p:cTn id="61" dur="250"/>
                                        <p:tgtEl>
                                          <p:spTgt spid="42"/>
                                        </p:tgtEl>
                                      </p:cBhvr>
                                    </p:animEffect>
                                  </p:childTnLst>
                                </p:cTn>
                              </p:par>
                            </p:childTnLst>
                          </p:cTn>
                        </p:par>
                        <p:par>
                          <p:cTn id="62" fill="hold">
                            <p:stCondLst>
                              <p:cond delay="1500"/>
                            </p:stCondLst>
                            <p:childTnLst>
                              <p:par>
                                <p:cTn id="63" presetID="9" presetClass="entr" presetSubtype="0" fill="hold" grpId="0" nodeType="afterEffect">
                                  <p:stCondLst>
                                    <p:cond delay="0"/>
                                  </p:stCondLst>
                                  <p:childTnLst>
                                    <p:set>
                                      <p:cBhvr>
                                        <p:cTn id="64" dur="1" fill="hold">
                                          <p:stCondLst>
                                            <p:cond delay="0"/>
                                          </p:stCondLst>
                                        </p:cTn>
                                        <p:tgtEl>
                                          <p:spTgt spid="12"/>
                                        </p:tgtEl>
                                        <p:attrNameLst>
                                          <p:attrName>style.visibility</p:attrName>
                                        </p:attrNameLst>
                                      </p:cBhvr>
                                      <p:to>
                                        <p:strVal val="visible"/>
                                      </p:to>
                                    </p:set>
                                    <p:animEffect transition="in" filter="dissolve">
                                      <p:cBhvr>
                                        <p:cTn id="65" dur="250"/>
                                        <p:tgtEl>
                                          <p:spTgt spid="12"/>
                                        </p:tgtEl>
                                      </p:cBhvr>
                                    </p:animEffect>
                                  </p:childTnLst>
                                </p:cTn>
                              </p:par>
                              <p:par>
                                <p:cTn id="66" presetID="2" presetClass="entr" presetSubtype="1" fill="hold" grpId="0" nodeType="withEffect">
                                  <p:stCondLst>
                                    <p:cond delay="0"/>
                                  </p:stCondLst>
                                  <p:childTnLst>
                                    <p:set>
                                      <p:cBhvr>
                                        <p:cTn id="67" dur="1" fill="hold">
                                          <p:stCondLst>
                                            <p:cond delay="0"/>
                                          </p:stCondLst>
                                        </p:cTn>
                                        <p:tgtEl>
                                          <p:spTgt spid="2"/>
                                        </p:tgtEl>
                                        <p:attrNameLst>
                                          <p:attrName>style.visibility</p:attrName>
                                        </p:attrNameLst>
                                      </p:cBhvr>
                                      <p:to>
                                        <p:strVal val="visible"/>
                                      </p:to>
                                    </p:set>
                                    <p:anim calcmode="lin" valueType="num">
                                      <p:cBhvr additive="base">
                                        <p:cTn id="68" dur="500" fill="hold"/>
                                        <p:tgtEl>
                                          <p:spTgt spid="2"/>
                                        </p:tgtEl>
                                        <p:attrNameLst>
                                          <p:attrName>ppt_x</p:attrName>
                                        </p:attrNameLst>
                                      </p:cBhvr>
                                      <p:tavLst>
                                        <p:tav tm="0">
                                          <p:val>
                                            <p:strVal val="#ppt_x"/>
                                          </p:val>
                                        </p:tav>
                                        <p:tav tm="100000">
                                          <p:val>
                                            <p:strVal val="#ppt_x"/>
                                          </p:val>
                                        </p:tav>
                                      </p:tavLst>
                                    </p:anim>
                                    <p:anim calcmode="lin" valueType="num">
                                      <p:cBhvr additive="base">
                                        <p:cTn id="69" dur="500" fill="hold"/>
                                        <p:tgtEl>
                                          <p:spTgt spid="2"/>
                                        </p:tgtEl>
                                        <p:attrNameLst>
                                          <p:attrName>ppt_y</p:attrName>
                                        </p:attrNameLst>
                                      </p:cBhvr>
                                      <p:tavLst>
                                        <p:tav tm="0">
                                          <p:val>
                                            <p:strVal val="0-#ppt_h/2"/>
                                          </p:val>
                                        </p:tav>
                                        <p:tav tm="100000">
                                          <p:val>
                                            <p:strVal val="#ppt_y"/>
                                          </p:val>
                                        </p:tav>
                                      </p:tavLst>
                                    </p:anim>
                                  </p:childTnLst>
                                </p:cTn>
                              </p:par>
                            </p:childTnLst>
                          </p:cTn>
                        </p:par>
                        <p:par>
                          <p:cTn id="70" fill="hold">
                            <p:stCondLst>
                              <p:cond delay="2000"/>
                            </p:stCondLst>
                            <p:childTnLst>
                              <p:par>
                                <p:cTn id="71" presetID="18" presetClass="entr" presetSubtype="3" fill="hold" nodeType="afterEffect">
                                  <p:stCondLst>
                                    <p:cond delay="0"/>
                                  </p:stCondLst>
                                  <p:childTnLst>
                                    <p:set>
                                      <p:cBhvr>
                                        <p:cTn id="72" dur="1" fill="hold">
                                          <p:stCondLst>
                                            <p:cond delay="0"/>
                                          </p:stCondLst>
                                        </p:cTn>
                                        <p:tgtEl>
                                          <p:spTgt spid="51"/>
                                        </p:tgtEl>
                                        <p:attrNameLst>
                                          <p:attrName>style.visibility</p:attrName>
                                        </p:attrNameLst>
                                      </p:cBhvr>
                                      <p:to>
                                        <p:strVal val="visible"/>
                                      </p:to>
                                    </p:set>
                                    <p:animEffect transition="in" filter="strips(upRight)">
                                      <p:cBhvr>
                                        <p:cTn id="73" dur="250"/>
                                        <p:tgtEl>
                                          <p:spTgt spid="51"/>
                                        </p:tgtEl>
                                      </p:cBhvr>
                                    </p:animEffect>
                                  </p:childTnLst>
                                </p:cTn>
                              </p:par>
                            </p:childTnLst>
                          </p:cTn>
                        </p:par>
                      </p:childTnLst>
                    </p:cTn>
                  </p:par>
                  <p:par>
                    <p:cTn id="74" fill="hold">
                      <p:stCondLst>
                        <p:cond delay="indefinite"/>
                      </p:stCondLst>
                      <p:childTnLst>
                        <p:par>
                          <p:cTn id="75" fill="hold">
                            <p:stCondLst>
                              <p:cond delay="0"/>
                            </p:stCondLst>
                            <p:childTnLst>
                              <p:par>
                                <p:cTn id="76" presetID="9" presetClass="entr" presetSubtype="0" fill="hold" grpId="0" nodeType="clickEffect">
                                  <p:stCondLst>
                                    <p:cond delay="0"/>
                                  </p:stCondLst>
                                  <p:childTnLst>
                                    <p:set>
                                      <p:cBhvr>
                                        <p:cTn id="77" dur="1" fill="hold">
                                          <p:stCondLst>
                                            <p:cond delay="0"/>
                                          </p:stCondLst>
                                        </p:cTn>
                                        <p:tgtEl>
                                          <p:spTgt spid="55"/>
                                        </p:tgtEl>
                                        <p:attrNameLst>
                                          <p:attrName>style.visibility</p:attrName>
                                        </p:attrNameLst>
                                      </p:cBhvr>
                                      <p:to>
                                        <p:strVal val="visible"/>
                                      </p:to>
                                    </p:set>
                                    <p:animEffect transition="in" filter="dissolve">
                                      <p:cBhvr>
                                        <p:cTn id="78" dur="500"/>
                                        <p:tgtEl>
                                          <p:spTgt spid="55"/>
                                        </p:tgtEl>
                                      </p:cBhvr>
                                    </p:animEffect>
                                  </p:childTnLst>
                                </p:cTn>
                              </p:par>
                              <p:par>
                                <p:cTn id="79" presetID="9" presetClass="entr" presetSubtype="0" fill="hold" grpId="0" nodeType="withEffect">
                                  <p:stCondLst>
                                    <p:cond delay="0"/>
                                  </p:stCondLst>
                                  <p:childTnLst>
                                    <p:set>
                                      <p:cBhvr>
                                        <p:cTn id="80" dur="1" fill="hold">
                                          <p:stCondLst>
                                            <p:cond delay="0"/>
                                          </p:stCondLst>
                                        </p:cTn>
                                        <p:tgtEl>
                                          <p:spTgt spid="3"/>
                                        </p:tgtEl>
                                        <p:attrNameLst>
                                          <p:attrName>style.visibility</p:attrName>
                                        </p:attrNameLst>
                                      </p:cBhvr>
                                      <p:to>
                                        <p:strVal val="visible"/>
                                      </p:to>
                                    </p:set>
                                    <p:animEffect transition="in" filter="dissolve">
                                      <p:cBhvr>
                                        <p:cTn id="81" dur="500"/>
                                        <p:tgtEl>
                                          <p:spTgt spid="3"/>
                                        </p:tgtEl>
                                      </p:cBhvr>
                                    </p:animEffect>
                                  </p:childTnLst>
                                </p:cTn>
                              </p:par>
                            </p:childTnLst>
                          </p:cTn>
                        </p:par>
                      </p:childTnLst>
                    </p:cTn>
                  </p:par>
                  <p:par>
                    <p:cTn id="82" fill="hold">
                      <p:stCondLst>
                        <p:cond delay="indefinite"/>
                      </p:stCondLst>
                      <p:childTnLst>
                        <p:par>
                          <p:cTn id="83" fill="hold">
                            <p:stCondLst>
                              <p:cond delay="0"/>
                            </p:stCondLst>
                            <p:childTnLst>
                              <p:par>
                                <p:cTn id="84" presetID="2" presetClass="entr" presetSubtype="1" fill="hold" grpId="1" nodeType="clickEffect">
                                  <p:stCondLst>
                                    <p:cond delay="0"/>
                                  </p:stCondLst>
                                  <p:childTnLst>
                                    <p:set>
                                      <p:cBhvr>
                                        <p:cTn id="85" dur="1" fill="hold">
                                          <p:stCondLst>
                                            <p:cond delay="0"/>
                                          </p:stCondLst>
                                        </p:cTn>
                                        <p:tgtEl>
                                          <p:spTgt spid="30"/>
                                        </p:tgtEl>
                                        <p:attrNameLst>
                                          <p:attrName>style.visibility</p:attrName>
                                        </p:attrNameLst>
                                      </p:cBhvr>
                                      <p:to>
                                        <p:strVal val="visible"/>
                                      </p:to>
                                    </p:set>
                                    <p:anim calcmode="lin" valueType="num">
                                      <p:cBhvr additive="base">
                                        <p:cTn id="86" dur="500" fill="hold"/>
                                        <p:tgtEl>
                                          <p:spTgt spid="30"/>
                                        </p:tgtEl>
                                        <p:attrNameLst>
                                          <p:attrName>ppt_x</p:attrName>
                                        </p:attrNameLst>
                                      </p:cBhvr>
                                      <p:tavLst>
                                        <p:tav tm="0">
                                          <p:val>
                                            <p:strVal val="#ppt_x"/>
                                          </p:val>
                                        </p:tav>
                                        <p:tav tm="100000">
                                          <p:val>
                                            <p:strVal val="#ppt_x"/>
                                          </p:val>
                                        </p:tav>
                                      </p:tavLst>
                                    </p:anim>
                                    <p:anim calcmode="lin" valueType="num">
                                      <p:cBhvr additive="base">
                                        <p:cTn id="87" dur="500" fill="hold"/>
                                        <p:tgtEl>
                                          <p:spTgt spid="30"/>
                                        </p:tgtEl>
                                        <p:attrNameLst>
                                          <p:attrName>ppt_y</p:attrName>
                                        </p:attrNameLst>
                                      </p:cBhvr>
                                      <p:tavLst>
                                        <p:tav tm="0">
                                          <p:val>
                                            <p:strVal val="0-#ppt_h/2"/>
                                          </p:val>
                                        </p:tav>
                                        <p:tav tm="100000">
                                          <p:val>
                                            <p:strVal val="#ppt_y"/>
                                          </p:val>
                                        </p:tav>
                                      </p:tavLst>
                                    </p:anim>
                                  </p:childTnLst>
                                </p:cTn>
                              </p:par>
                            </p:childTnLst>
                          </p:cTn>
                        </p:par>
                        <p:par>
                          <p:cTn id="88" fill="hold">
                            <p:stCondLst>
                              <p:cond delay="500"/>
                            </p:stCondLst>
                            <p:childTnLst>
                              <p:par>
                                <p:cTn id="89" presetID="18" presetClass="entr" presetSubtype="9" fill="hold" nodeType="afterEffect">
                                  <p:stCondLst>
                                    <p:cond delay="0"/>
                                  </p:stCondLst>
                                  <p:childTnLst>
                                    <p:set>
                                      <p:cBhvr>
                                        <p:cTn id="90" dur="1" fill="hold">
                                          <p:stCondLst>
                                            <p:cond delay="0"/>
                                          </p:stCondLst>
                                        </p:cTn>
                                        <p:tgtEl>
                                          <p:spTgt spid="31"/>
                                        </p:tgtEl>
                                        <p:attrNameLst>
                                          <p:attrName>style.visibility</p:attrName>
                                        </p:attrNameLst>
                                      </p:cBhvr>
                                      <p:to>
                                        <p:strVal val="visible"/>
                                      </p:to>
                                    </p:set>
                                    <p:animEffect transition="in" filter="strips(upLeft)">
                                      <p:cBhvr>
                                        <p:cTn id="91" dur="500"/>
                                        <p:tgtEl>
                                          <p:spTgt spid="31"/>
                                        </p:tgtEl>
                                      </p:cBhvr>
                                    </p:animEffect>
                                  </p:childTnLst>
                                </p:cTn>
                              </p:par>
                            </p:childTnLst>
                          </p:cTn>
                        </p:par>
                        <p:par>
                          <p:cTn id="92" fill="hold">
                            <p:stCondLst>
                              <p:cond delay="1000"/>
                            </p:stCondLst>
                            <p:childTnLst>
                              <p:par>
                                <p:cTn id="93" presetID="9" presetClass="entr" presetSubtype="0" fill="hold" grpId="0" nodeType="afterEffect">
                                  <p:stCondLst>
                                    <p:cond delay="0"/>
                                  </p:stCondLst>
                                  <p:childTnLst>
                                    <p:set>
                                      <p:cBhvr>
                                        <p:cTn id="94" dur="1" fill="hold">
                                          <p:stCondLst>
                                            <p:cond delay="0"/>
                                          </p:stCondLst>
                                        </p:cTn>
                                        <p:tgtEl>
                                          <p:spTgt spid="6"/>
                                        </p:tgtEl>
                                        <p:attrNameLst>
                                          <p:attrName>style.visibility</p:attrName>
                                        </p:attrNameLst>
                                      </p:cBhvr>
                                      <p:to>
                                        <p:strVal val="visible"/>
                                      </p:to>
                                    </p:set>
                                    <p:animEffect transition="in" filter="dissolve">
                                      <p:cBhvr>
                                        <p:cTn id="95" dur="500"/>
                                        <p:tgtEl>
                                          <p:spTgt spid="6"/>
                                        </p:tgtEl>
                                      </p:cBhvr>
                                    </p:animEffect>
                                  </p:childTnLst>
                                </p:cTn>
                              </p:par>
                            </p:childTnLst>
                          </p:cTn>
                        </p:par>
                        <p:par>
                          <p:cTn id="96" fill="hold">
                            <p:stCondLst>
                              <p:cond delay="1500"/>
                            </p:stCondLst>
                            <p:childTnLst>
                              <p:par>
                                <p:cTn id="97" presetID="2" presetClass="entr" presetSubtype="1" fill="hold" grpId="1" nodeType="afterEffect">
                                  <p:stCondLst>
                                    <p:cond delay="0"/>
                                  </p:stCondLst>
                                  <p:childTnLst>
                                    <p:set>
                                      <p:cBhvr>
                                        <p:cTn id="98" dur="1" fill="hold">
                                          <p:stCondLst>
                                            <p:cond delay="0"/>
                                          </p:stCondLst>
                                        </p:cTn>
                                        <p:tgtEl>
                                          <p:spTgt spid="45"/>
                                        </p:tgtEl>
                                        <p:attrNameLst>
                                          <p:attrName>style.visibility</p:attrName>
                                        </p:attrNameLst>
                                      </p:cBhvr>
                                      <p:to>
                                        <p:strVal val="visible"/>
                                      </p:to>
                                    </p:set>
                                    <p:anim calcmode="lin" valueType="num">
                                      <p:cBhvr additive="base">
                                        <p:cTn id="99" dur="500" fill="hold"/>
                                        <p:tgtEl>
                                          <p:spTgt spid="45"/>
                                        </p:tgtEl>
                                        <p:attrNameLst>
                                          <p:attrName>ppt_x</p:attrName>
                                        </p:attrNameLst>
                                      </p:cBhvr>
                                      <p:tavLst>
                                        <p:tav tm="0">
                                          <p:val>
                                            <p:strVal val="#ppt_x"/>
                                          </p:val>
                                        </p:tav>
                                        <p:tav tm="100000">
                                          <p:val>
                                            <p:strVal val="#ppt_x"/>
                                          </p:val>
                                        </p:tav>
                                      </p:tavLst>
                                    </p:anim>
                                    <p:anim calcmode="lin" valueType="num">
                                      <p:cBhvr additive="base">
                                        <p:cTn id="100" dur="500" fill="hold"/>
                                        <p:tgtEl>
                                          <p:spTgt spid="45"/>
                                        </p:tgtEl>
                                        <p:attrNameLst>
                                          <p:attrName>ppt_y</p:attrName>
                                        </p:attrNameLst>
                                      </p:cBhvr>
                                      <p:tavLst>
                                        <p:tav tm="0">
                                          <p:val>
                                            <p:strVal val="0-#ppt_h/2"/>
                                          </p:val>
                                        </p:tav>
                                        <p:tav tm="100000">
                                          <p:val>
                                            <p:strVal val="#ppt_y"/>
                                          </p:val>
                                        </p:tav>
                                      </p:tavLst>
                                    </p:anim>
                                  </p:childTnLst>
                                </p:cTn>
                              </p:par>
                            </p:childTnLst>
                          </p:cTn>
                        </p:par>
                        <p:par>
                          <p:cTn id="101" fill="hold">
                            <p:stCondLst>
                              <p:cond delay="2000"/>
                            </p:stCondLst>
                            <p:childTnLst>
                              <p:par>
                                <p:cTn id="102" presetID="18" presetClass="entr" presetSubtype="12" fill="hold" nodeType="afterEffect">
                                  <p:stCondLst>
                                    <p:cond delay="0"/>
                                  </p:stCondLst>
                                  <p:childTnLst>
                                    <p:set>
                                      <p:cBhvr>
                                        <p:cTn id="103" dur="1" fill="hold">
                                          <p:stCondLst>
                                            <p:cond delay="0"/>
                                          </p:stCondLst>
                                        </p:cTn>
                                        <p:tgtEl>
                                          <p:spTgt spid="46"/>
                                        </p:tgtEl>
                                        <p:attrNameLst>
                                          <p:attrName>style.visibility</p:attrName>
                                        </p:attrNameLst>
                                      </p:cBhvr>
                                      <p:to>
                                        <p:strVal val="visible"/>
                                      </p:to>
                                    </p:set>
                                    <p:animEffect transition="in" filter="strips(downLeft)">
                                      <p:cBhvr>
                                        <p:cTn id="104" dur="500"/>
                                        <p:tgtEl>
                                          <p:spTgt spid="46"/>
                                        </p:tgtEl>
                                      </p:cBhvr>
                                    </p:animEffect>
                                  </p:childTnLst>
                                </p:cTn>
                              </p:par>
                            </p:childTnLst>
                          </p:cTn>
                        </p:par>
                        <p:par>
                          <p:cTn id="105" fill="hold">
                            <p:stCondLst>
                              <p:cond delay="2500"/>
                            </p:stCondLst>
                            <p:childTnLst>
                              <p:par>
                                <p:cTn id="106" presetID="9" presetClass="entr" presetSubtype="0" fill="hold" grpId="0" nodeType="afterEffect">
                                  <p:stCondLst>
                                    <p:cond delay="0"/>
                                  </p:stCondLst>
                                  <p:childTnLst>
                                    <p:set>
                                      <p:cBhvr>
                                        <p:cTn id="107" dur="1" fill="hold">
                                          <p:stCondLst>
                                            <p:cond delay="0"/>
                                          </p:stCondLst>
                                        </p:cTn>
                                        <p:tgtEl>
                                          <p:spTgt spid="16"/>
                                        </p:tgtEl>
                                        <p:attrNameLst>
                                          <p:attrName>style.visibility</p:attrName>
                                        </p:attrNameLst>
                                      </p:cBhvr>
                                      <p:to>
                                        <p:strVal val="visible"/>
                                      </p:to>
                                    </p:set>
                                    <p:animEffect transition="in" filter="dissolve">
                                      <p:cBhvr>
                                        <p:cTn id="108" dur="500"/>
                                        <p:tgtEl>
                                          <p:spTgt spid="16"/>
                                        </p:tgtEl>
                                      </p:cBhvr>
                                    </p:animEffect>
                                  </p:childTnLst>
                                </p:cTn>
                              </p:par>
                            </p:childTnLst>
                          </p:cTn>
                        </p:par>
                      </p:childTnLst>
                    </p:cTn>
                  </p:par>
                  <p:par>
                    <p:cTn id="109" fill="hold">
                      <p:stCondLst>
                        <p:cond delay="indefinite"/>
                      </p:stCondLst>
                      <p:childTnLst>
                        <p:par>
                          <p:cTn id="110" fill="hold">
                            <p:stCondLst>
                              <p:cond delay="0"/>
                            </p:stCondLst>
                            <p:childTnLst>
                              <p:par>
                                <p:cTn id="111" presetID="9" presetClass="entr" presetSubtype="0" fill="hold" grpId="0" nodeType="clickEffect">
                                  <p:stCondLst>
                                    <p:cond delay="0"/>
                                  </p:stCondLst>
                                  <p:childTnLst>
                                    <p:set>
                                      <p:cBhvr>
                                        <p:cTn id="112" dur="1" fill="hold">
                                          <p:stCondLst>
                                            <p:cond delay="0"/>
                                          </p:stCondLst>
                                        </p:cTn>
                                        <p:tgtEl>
                                          <p:spTgt spid="25"/>
                                        </p:tgtEl>
                                        <p:attrNameLst>
                                          <p:attrName>style.visibility</p:attrName>
                                        </p:attrNameLst>
                                      </p:cBhvr>
                                      <p:to>
                                        <p:strVal val="visible"/>
                                      </p:to>
                                    </p:set>
                                    <p:animEffect transition="in" filter="dissolve">
                                      <p:cBhvr>
                                        <p:cTn id="113" dur="500"/>
                                        <p:tgtEl>
                                          <p:spTgt spid="25"/>
                                        </p:tgtEl>
                                      </p:cBhvr>
                                    </p:animEffect>
                                  </p:childTnLst>
                                </p:cTn>
                              </p:par>
                              <p:par>
                                <p:cTn id="114" presetID="9" presetClass="entr" presetSubtype="0" fill="hold" grpId="0" nodeType="withEffect">
                                  <p:stCondLst>
                                    <p:cond delay="0"/>
                                  </p:stCondLst>
                                  <p:childTnLst>
                                    <p:set>
                                      <p:cBhvr>
                                        <p:cTn id="115" dur="1" fill="hold">
                                          <p:stCondLst>
                                            <p:cond delay="0"/>
                                          </p:stCondLst>
                                        </p:cTn>
                                        <p:tgtEl>
                                          <p:spTgt spid="26"/>
                                        </p:tgtEl>
                                        <p:attrNameLst>
                                          <p:attrName>style.visibility</p:attrName>
                                        </p:attrNameLst>
                                      </p:cBhvr>
                                      <p:to>
                                        <p:strVal val="visible"/>
                                      </p:to>
                                    </p:set>
                                    <p:animEffect transition="in" filter="dissolve">
                                      <p:cBhvr>
                                        <p:cTn id="116" dur="500"/>
                                        <p:tgtEl>
                                          <p:spTgt spid="26"/>
                                        </p:tgtEl>
                                      </p:cBhvr>
                                    </p:animEffect>
                                  </p:childTnLst>
                                </p:cTn>
                              </p:par>
                            </p:childTnLst>
                          </p:cTn>
                        </p:par>
                      </p:childTnLst>
                    </p:cTn>
                  </p:par>
                  <p:par>
                    <p:cTn id="117" fill="hold">
                      <p:stCondLst>
                        <p:cond delay="indefinite"/>
                      </p:stCondLst>
                      <p:childTnLst>
                        <p:par>
                          <p:cTn id="118" fill="hold">
                            <p:stCondLst>
                              <p:cond delay="0"/>
                            </p:stCondLst>
                            <p:childTnLst>
                              <p:par>
                                <p:cTn id="119" presetID="9" presetClass="entr" presetSubtype="0" fill="hold" grpId="0" nodeType="clickEffect">
                                  <p:stCondLst>
                                    <p:cond delay="0"/>
                                  </p:stCondLst>
                                  <p:childTnLst>
                                    <p:set>
                                      <p:cBhvr>
                                        <p:cTn id="120" dur="1" fill="hold">
                                          <p:stCondLst>
                                            <p:cond delay="0"/>
                                          </p:stCondLst>
                                        </p:cTn>
                                        <p:tgtEl>
                                          <p:spTgt spid="27"/>
                                        </p:tgtEl>
                                        <p:attrNameLst>
                                          <p:attrName>style.visibility</p:attrName>
                                        </p:attrNameLst>
                                      </p:cBhvr>
                                      <p:to>
                                        <p:strVal val="visible"/>
                                      </p:to>
                                    </p:set>
                                    <p:animEffect transition="in" filter="dissolve">
                                      <p:cBhvr>
                                        <p:cTn id="121"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7" grpId="0" animBg="1"/>
      <p:bldP spid="8" grpId="0"/>
      <p:bldP spid="9" grpId="0"/>
      <p:bldP spid="10" grpId="0"/>
      <p:bldP spid="11" grpId="0"/>
      <p:bldP spid="12" grpId="0"/>
      <p:bldP spid="2" grpId="0" animBg="1"/>
      <p:bldP spid="13" grpId="0" animBg="1"/>
      <p:bldP spid="14" grpId="0" animBg="1"/>
      <p:bldP spid="15" grpId="0" animBg="1"/>
      <p:bldP spid="55" grpId="0" animBg="1"/>
      <p:bldP spid="3" grpId="0"/>
      <p:bldP spid="6" grpId="0"/>
      <p:bldP spid="16" grpId="0"/>
      <p:bldP spid="30" grpId="1" animBg="1"/>
      <p:bldP spid="25" grpId="0" animBg="1"/>
      <p:bldP spid="26" grpId="0"/>
      <p:bldP spid="27" grpId="0"/>
      <p:bldP spid="45" grpId="1"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asellaDiTesto 20">
            <a:extLst>
              <a:ext uri="{FF2B5EF4-FFF2-40B4-BE49-F238E27FC236}">
                <a16:creationId xmlns:a16="http://schemas.microsoft.com/office/drawing/2014/main" id="{6DE26AAB-3757-1C47-9F4A-28914839CA75}"/>
              </a:ext>
            </a:extLst>
          </p:cNvPr>
          <p:cNvSpPr txBox="1"/>
          <p:nvPr/>
        </p:nvSpPr>
        <p:spPr>
          <a:xfrm>
            <a:off x="1405047" y="764024"/>
            <a:ext cx="9381905" cy="5386090"/>
          </a:xfrm>
          <a:prstGeom prst="rect">
            <a:avLst/>
          </a:prstGeom>
          <a:noFill/>
        </p:spPr>
        <p:txBody>
          <a:bodyPr wrap="square" rtlCol="0">
            <a:spAutoFit/>
          </a:bodyPr>
          <a:lstStyle/>
          <a:p>
            <a:r>
              <a:rPr lang="it-IT" sz="3200" b="1" dirty="0">
                <a:solidFill>
                  <a:srgbClr val="19436B"/>
                </a:solidFill>
                <a:latin typeface="Times New Roman" panose="02020603050405020304" pitchFamily="18" charset="0"/>
                <a:cs typeface="Times New Roman" panose="02020603050405020304" pitchFamily="18" charset="0"/>
              </a:rPr>
              <a:t>CONFLICTING GENERAL CONDITIONS</a:t>
            </a:r>
            <a:r>
              <a:rPr lang="it-IT" sz="3200" dirty="0">
                <a:latin typeface="Times New Roman" panose="02020603050405020304" pitchFamily="18" charset="0"/>
                <a:cs typeface="Times New Roman" panose="02020603050405020304" pitchFamily="18" charset="0"/>
              </a:rPr>
              <a:t> </a:t>
            </a:r>
            <a:r>
              <a:rPr lang="it-IT" sz="2400" b="1" dirty="0">
                <a:solidFill>
                  <a:schemeClr val="bg2">
                    <a:lumMod val="25000"/>
                  </a:schemeClr>
                </a:solidFill>
                <a:latin typeface="Times New Roman" panose="02020603050405020304" pitchFamily="18" charset="0"/>
                <a:cs typeface="Times New Roman" panose="02020603050405020304" pitchFamily="18" charset="0"/>
              </a:rPr>
              <a:t>– </a:t>
            </a:r>
            <a:r>
              <a:rPr lang="it-IT" sz="2200" b="1" dirty="0">
                <a:solidFill>
                  <a:schemeClr val="bg2">
                    <a:lumMod val="25000"/>
                  </a:schemeClr>
                </a:solidFill>
                <a:latin typeface="Times New Roman" panose="02020603050405020304" pitchFamily="18" charset="0"/>
                <a:cs typeface="Times New Roman" panose="02020603050405020304" pitchFamily="18" charset="0"/>
              </a:rPr>
              <a:t>Art. 2:209</a:t>
            </a:r>
            <a:endParaRPr lang="it-IT" sz="2200" dirty="0">
              <a:latin typeface="Times New Roman" panose="02020603050405020304" pitchFamily="18" charset="0"/>
              <a:cs typeface="Times New Roman" panose="02020603050405020304" pitchFamily="18" charset="0"/>
            </a:endParaRPr>
          </a:p>
          <a:p>
            <a:endParaRPr lang="it-IT" sz="1400" dirty="0">
              <a:latin typeface="Times New Roman" panose="02020603050405020304" pitchFamily="18" charset="0"/>
              <a:cs typeface="Times New Roman" panose="02020603050405020304" pitchFamily="18" charset="0"/>
            </a:endParaRPr>
          </a:p>
          <a:p>
            <a:pPr marL="342900" indent="-342900">
              <a:buAutoNum type="arabicPeriod"/>
            </a:pPr>
            <a:r>
              <a:rPr lang="it-IT" sz="2000" dirty="0" err="1">
                <a:latin typeface="Times New Roman" panose="02020603050405020304" pitchFamily="18" charset="0"/>
                <a:cs typeface="Times New Roman" panose="02020603050405020304" pitchFamily="18" charset="0"/>
              </a:rPr>
              <a:t>If</a:t>
            </a:r>
            <a:r>
              <a:rPr lang="it-IT" sz="2000" dirty="0">
                <a:latin typeface="Times New Roman" panose="02020603050405020304" pitchFamily="18" charset="0"/>
                <a:cs typeface="Times New Roman" panose="02020603050405020304" pitchFamily="18" charset="0"/>
              </a:rPr>
              <a:t> the parties </a:t>
            </a:r>
            <a:r>
              <a:rPr lang="it-IT" sz="2000" dirty="0" err="1">
                <a:latin typeface="Times New Roman" panose="02020603050405020304" pitchFamily="18" charset="0"/>
                <a:cs typeface="Times New Roman" panose="02020603050405020304" pitchFamily="18" charset="0"/>
              </a:rPr>
              <a:t>have</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reached</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agreement</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except</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that</a:t>
            </a:r>
            <a:r>
              <a:rPr lang="it-IT" sz="2000" dirty="0">
                <a:latin typeface="Times New Roman" panose="02020603050405020304" pitchFamily="18" charset="0"/>
                <a:cs typeface="Times New Roman" panose="02020603050405020304" pitchFamily="18" charset="0"/>
              </a:rPr>
              <a:t> the </a:t>
            </a:r>
            <a:r>
              <a:rPr lang="it-IT" sz="2000" dirty="0" err="1">
                <a:latin typeface="Times New Roman" panose="02020603050405020304" pitchFamily="18" charset="0"/>
                <a:cs typeface="Times New Roman" panose="02020603050405020304" pitchFamily="18" charset="0"/>
              </a:rPr>
              <a:t>offer</a:t>
            </a:r>
            <a:r>
              <a:rPr lang="it-IT" sz="2000" dirty="0">
                <a:latin typeface="Times New Roman" panose="02020603050405020304" pitchFamily="18" charset="0"/>
                <a:cs typeface="Times New Roman" panose="02020603050405020304" pitchFamily="18" charset="0"/>
              </a:rPr>
              <a:t> and </a:t>
            </a:r>
            <a:r>
              <a:rPr lang="it-IT" sz="2000" dirty="0" err="1">
                <a:latin typeface="Times New Roman" panose="02020603050405020304" pitchFamily="18" charset="0"/>
                <a:cs typeface="Times New Roman" panose="02020603050405020304" pitchFamily="18" charset="0"/>
              </a:rPr>
              <a:t>acceptance</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refer</a:t>
            </a:r>
            <a:r>
              <a:rPr lang="it-IT" sz="2000" dirty="0">
                <a:latin typeface="Times New Roman" panose="02020603050405020304" pitchFamily="18" charset="0"/>
                <a:cs typeface="Times New Roman" panose="02020603050405020304" pitchFamily="18" charset="0"/>
              </a:rPr>
              <a:t> to </a:t>
            </a:r>
            <a:r>
              <a:rPr lang="it-IT" sz="2000" dirty="0" err="1">
                <a:latin typeface="Times New Roman" panose="02020603050405020304" pitchFamily="18" charset="0"/>
                <a:cs typeface="Times New Roman" panose="02020603050405020304" pitchFamily="18" charset="0"/>
              </a:rPr>
              <a:t>conflicting</a:t>
            </a:r>
            <a:r>
              <a:rPr lang="it-IT" sz="2000" dirty="0">
                <a:latin typeface="Times New Roman" panose="02020603050405020304" pitchFamily="18" charset="0"/>
                <a:cs typeface="Times New Roman" panose="02020603050405020304" pitchFamily="18" charset="0"/>
              </a:rPr>
              <a:t> general </a:t>
            </a:r>
            <a:r>
              <a:rPr lang="it-IT" sz="2000" dirty="0" err="1">
                <a:latin typeface="Times New Roman" panose="02020603050405020304" pitchFamily="18" charset="0"/>
                <a:cs typeface="Times New Roman" panose="02020603050405020304" pitchFamily="18" charset="0"/>
              </a:rPr>
              <a:t>conditions</a:t>
            </a:r>
            <a:r>
              <a:rPr lang="it-IT" sz="2000" dirty="0">
                <a:latin typeface="Times New Roman" panose="02020603050405020304" pitchFamily="18" charset="0"/>
                <a:cs typeface="Times New Roman" panose="02020603050405020304" pitchFamily="18" charset="0"/>
              </a:rPr>
              <a:t> of </a:t>
            </a:r>
            <a:r>
              <a:rPr lang="it-IT" sz="2000" dirty="0" err="1">
                <a:latin typeface="Times New Roman" panose="02020603050405020304" pitchFamily="18" charset="0"/>
                <a:cs typeface="Times New Roman" panose="02020603050405020304" pitchFamily="18" charset="0"/>
              </a:rPr>
              <a:t>contract</a:t>
            </a:r>
            <a:r>
              <a:rPr lang="it-IT" sz="2000" dirty="0">
                <a:latin typeface="Times New Roman" panose="02020603050405020304" pitchFamily="18" charset="0"/>
                <a:cs typeface="Times New Roman" panose="02020603050405020304" pitchFamily="18" charset="0"/>
              </a:rPr>
              <a:t>, a </a:t>
            </a:r>
            <a:r>
              <a:rPr lang="it-IT" sz="2000" dirty="0" err="1">
                <a:latin typeface="Times New Roman" panose="02020603050405020304" pitchFamily="18" charset="0"/>
                <a:cs typeface="Times New Roman" panose="02020603050405020304" pitchFamily="18" charset="0"/>
              </a:rPr>
              <a:t>contract</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is</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nonetheless</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formed</a:t>
            </a:r>
            <a:r>
              <a:rPr lang="it-IT" sz="2000" dirty="0">
                <a:latin typeface="Times New Roman" panose="02020603050405020304" pitchFamily="18" charset="0"/>
                <a:cs typeface="Times New Roman" panose="02020603050405020304" pitchFamily="18" charset="0"/>
              </a:rPr>
              <a:t>. The general </a:t>
            </a:r>
            <a:r>
              <a:rPr lang="it-IT" sz="2000" dirty="0" err="1">
                <a:latin typeface="Times New Roman" panose="02020603050405020304" pitchFamily="18" charset="0"/>
                <a:cs typeface="Times New Roman" panose="02020603050405020304" pitchFamily="18" charset="0"/>
              </a:rPr>
              <a:t>conditions</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form</a:t>
            </a:r>
            <a:r>
              <a:rPr lang="it-IT" sz="2000" dirty="0">
                <a:latin typeface="Times New Roman" panose="02020603050405020304" pitchFamily="18" charset="0"/>
                <a:cs typeface="Times New Roman" panose="02020603050405020304" pitchFamily="18" charset="0"/>
              </a:rPr>
              <a:t> part of the </a:t>
            </a:r>
            <a:r>
              <a:rPr lang="it-IT" sz="2000" dirty="0" err="1">
                <a:latin typeface="Times New Roman" panose="02020603050405020304" pitchFamily="18" charset="0"/>
                <a:cs typeface="Times New Roman" panose="02020603050405020304" pitchFamily="18" charset="0"/>
              </a:rPr>
              <a:t>contract</a:t>
            </a:r>
            <a:r>
              <a:rPr lang="it-IT" sz="2000" dirty="0">
                <a:latin typeface="Times New Roman" panose="02020603050405020304" pitchFamily="18" charset="0"/>
                <a:cs typeface="Times New Roman" panose="02020603050405020304" pitchFamily="18" charset="0"/>
              </a:rPr>
              <a:t> to the </a:t>
            </a:r>
            <a:r>
              <a:rPr lang="it-IT" sz="2000" dirty="0" err="1">
                <a:latin typeface="Times New Roman" panose="02020603050405020304" pitchFamily="18" charset="0"/>
                <a:cs typeface="Times New Roman" panose="02020603050405020304" pitchFamily="18" charset="0"/>
              </a:rPr>
              <a:t>extent</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that</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they</a:t>
            </a:r>
            <a:r>
              <a:rPr lang="it-IT" sz="2000" dirty="0">
                <a:latin typeface="Times New Roman" panose="02020603050405020304" pitchFamily="18" charset="0"/>
                <a:cs typeface="Times New Roman" panose="02020603050405020304" pitchFamily="18" charset="0"/>
              </a:rPr>
              <a:t> are common in </a:t>
            </a:r>
            <a:r>
              <a:rPr lang="it-IT" sz="2000" dirty="0" err="1">
                <a:latin typeface="Times New Roman" panose="02020603050405020304" pitchFamily="18" charset="0"/>
                <a:cs typeface="Times New Roman" panose="02020603050405020304" pitchFamily="18" charset="0"/>
              </a:rPr>
              <a:t>substance</a:t>
            </a:r>
            <a:r>
              <a:rPr lang="it-IT" sz="2000" dirty="0">
                <a:latin typeface="Times New Roman" panose="02020603050405020304" pitchFamily="18" charset="0"/>
                <a:cs typeface="Times New Roman" panose="02020603050405020304" pitchFamily="18" charset="0"/>
              </a:rPr>
              <a:t>. </a:t>
            </a:r>
          </a:p>
          <a:p>
            <a:pPr marL="342900" indent="-342900">
              <a:buAutoNum type="arabicPeriod"/>
            </a:pPr>
            <a:r>
              <a:rPr lang="it-IT" sz="2000" dirty="0" err="1">
                <a:latin typeface="Times New Roman" panose="02020603050405020304" pitchFamily="18" charset="0"/>
                <a:cs typeface="Times New Roman" panose="02020603050405020304" pitchFamily="18" charset="0"/>
              </a:rPr>
              <a:t>However</a:t>
            </a:r>
            <a:r>
              <a:rPr lang="it-IT" sz="2000" dirty="0">
                <a:latin typeface="Times New Roman" panose="02020603050405020304" pitchFamily="18" charset="0"/>
                <a:cs typeface="Times New Roman" panose="02020603050405020304" pitchFamily="18" charset="0"/>
              </a:rPr>
              <a:t>, no </a:t>
            </a:r>
            <a:r>
              <a:rPr lang="it-IT" sz="2000" dirty="0" err="1">
                <a:latin typeface="Times New Roman" panose="02020603050405020304" pitchFamily="18" charset="0"/>
                <a:cs typeface="Times New Roman" panose="02020603050405020304" pitchFamily="18" charset="0"/>
              </a:rPr>
              <a:t>contract</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is</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formed</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if</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one</a:t>
            </a:r>
            <a:r>
              <a:rPr lang="it-IT" sz="2000" dirty="0">
                <a:latin typeface="Times New Roman" panose="02020603050405020304" pitchFamily="18" charset="0"/>
                <a:cs typeface="Times New Roman" panose="02020603050405020304" pitchFamily="18" charset="0"/>
              </a:rPr>
              <a:t> party: </a:t>
            </a:r>
          </a:p>
          <a:p>
            <a:pPr marL="800100" lvl="1" indent="-342900">
              <a:buFont typeface="+mj-lt"/>
              <a:buAutoNum type="alphaLcParenR"/>
            </a:pPr>
            <a:r>
              <a:rPr lang="it-IT" sz="2000" dirty="0" err="1">
                <a:latin typeface="Times New Roman" panose="02020603050405020304" pitchFamily="18" charset="0"/>
                <a:cs typeface="Times New Roman" panose="02020603050405020304" pitchFamily="18" charset="0"/>
              </a:rPr>
              <a:t>has</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indicated</a:t>
            </a:r>
            <a:r>
              <a:rPr lang="it-IT" sz="2000" dirty="0">
                <a:latin typeface="Times New Roman" panose="02020603050405020304" pitchFamily="18" charset="0"/>
                <a:cs typeface="Times New Roman" panose="02020603050405020304" pitchFamily="18" charset="0"/>
              </a:rPr>
              <a:t> in </a:t>
            </a:r>
            <a:r>
              <a:rPr lang="it-IT" sz="2000" dirty="0" err="1">
                <a:latin typeface="Times New Roman" panose="02020603050405020304" pitchFamily="18" charset="0"/>
                <a:cs typeface="Times New Roman" panose="02020603050405020304" pitchFamily="18" charset="0"/>
              </a:rPr>
              <a:t>advance</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explicitly</a:t>
            </a:r>
            <a:r>
              <a:rPr lang="it-IT" sz="2000" dirty="0">
                <a:latin typeface="Times New Roman" panose="02020603050405020304" pitchFamily="18" charset="0"/>
                <a:cs typeface="Times New Roman" panose="02020603050405020304" pitchFamily="18" charset="0"/>
              </a:rPr>
              <a:t>, and </a:t>
            </a:r>
            <a:r>
              <a:rPr lang="it-IT" sz="2000" dirty="0" err="1">
                <a:latin typeface="Times New Roman" panose="02020603050405020304" pitchFamily="18" charset="0"/>
                <a:cs typeface="Times New Roman" panose="02020603050405020304" pitchFamily="18" charset="0"/>
              </a:rPr>
              <a:t>not</a:t>
            </a:r>
            <a:r>
              <a:rPr lang="it-IT" sz="2000" dirty="0">
                <a:latin typeface="Times New Roman" panose="02020603050405020304" pitchFamily="18" charset="0"/>
                <a:cs typeface="Times New Roman" panose="02020603050405020304" pitchFamily="18" charset="0"/>
              </a:rPr>
              <a:t> by way of general </a:t>
            </a:r>
            <a:r>
              <a:rPr lang="it-IT" sz="2000" dirty="0" err="1">
                <a:latin typeface="Times New Roman" panose="02020603050405020304" pitchFamily="18" charset="0"/>
                <a:cs typeface="Times New Roman" panose="02020603050405020304" pitchFamily="18" charset="0"/>
              </a:rPr>
              <a:t>conditions</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that</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it</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does</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not</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intend</a:t>
            </a:r>
            <a:r>
              <a:rPr lang="it-IT" sz="2000" dirty="0">
                <a:latin typeface="Times New Roman" panose="02020603050405020304" pitchFamily="18" charset="0"/>
                <a:cs typeface="Times New Roman" panose="02020603050405020304" pitchFamily="18" charset="0"/>
              </a:rPr>
              <a:t> to be </a:t>
            </a:r>
            <a:r>
              <a:rPr lang="it-IT" sz="2000" dirty="0" err="1">
                <a:latin typeface="Times New Roman" panose="02020603050405020304" pitchFamily="18" charset="0"/>
                <a:cs typeface="Times New Roman" panose="02020603050405020304" pitchFamily="18" charset="0"/>
              </a:rPr>
              <a:t>bound</a:t>
            </a:r>
            <a:r>
              <a:rPr lang="it-IT" sz="2000" dirty="0">
                <a:latin typeface="Times New Roman" panose="02020603050405020304" pitchFamily="18" charset="0"/>
                <a:cs typeface="Times New Roman" panose="02020603050405020304" pitchFamily="18" charset="0"/>
              </a:rPr>
              <a:t> by a </a:t>
            </a:r>
            <a:r>
              <a:rPr lang="it-IT" sz="2000" dirty="0" err="1">
                <a:latin typeface="Times New Roman" panose="02020603050405020304" pitchFamily="18" charset="0"/>
                <a:cs typeface="Times New Roman" panose="02020603050405020304" pitchFamily="18" charset="0"/>
              </a:rPr>
              <a:t>contract</a:t>
            </a:r>
            <a:r>
              <a:rPr lang="it-IT" sz="2000" dirty="0">
                <a:latin typeface="Times New Roman" panose="02020603050405020304" pitchFamily="18" charset="0"/>
                <a:cs typeface="Times New Roman" panose="02020603050405020304" pitchFamily="18" charset="0"/>
              </a:rPr>
              <a:t> on the </a:t>
            </a:r>
            <a:r>
              <a:rPr lang="it-IT" sz="2000" dirty="0" err="1">
                <a:latin typeface="Times New Roman" panose="02020603050405020304" pitchFamily="18" charset="0"/>
                <a:cs typeface="Times New Roman" panose="02020603050405020304" pitchFamily="18" charset="0"/>
              </a:rPr>
              <a:t>basis</a:t>
            </a:r>
            <a:r>
              <a:rPr lang="it-IT" sz="2000" dirty="0">
                <a:latin typeface="Times New Roman" panose="02020603050405020304" pitchFamily="18" charset="0"/>
                <a:cs typeface="Times New Roman" panose="02020603050405020304" pitchFamily="18" charset="0"/>
              </a:rPr>
              <a:t> of </a:t>
            </a:r>
            <a:r>
              <a:rPr lang="it-IT" sz="2000" dirty="0" err="1">
                <a:latin typeface="Times New Roman" panose="02020603050405020304" pitchFamily="18" charset="0"/>
                <a:cs typeface="Times New Roman" panose="02020603050405020304" pitchFamily="18" charset="0"/>
              </a:rPr>
              <a:t>paragraph</a:t>
            </a:r>
            <a:r>
              <a:rPr lang="it-IT" sz="2000" dirty="0">
                <a:latin typeface="Times New Roman" panose="02020603050405020304" pitchFamily="18" charset="0"/>
                <a:cs typeface="Times New Roman" panose="02020603050405020304" pitchFamily="18" charset="0"/>
              </a:rPr>
              <a:t> (1); or </a:t>
            </a:r>
          </a:p>
          <a:p>
            <a:pPr marL="800100" lvl="1" indent="-342900">
              <a:buFont typeface="+mj-lt"/>
              <a:buAutoNum type="alphaLcParenR"/>
            </a:pPr>
            <a:r>
              <a:rPr lang="it-IT" sz="2000" dirty="0" err="1">
                <a:latin typeface="Times New Roman" panose="02020603050405020304" pitchFamily="18" charset="0"/>
                <a:cs typeface="Times New Roman" panose="02020603050405020304" pitchFamily="18" charset="0"/>
              </a:rPr>
              <a:t>without</a:t>
            </a:r>
            <a:r>
              <a:rPr lang="it-IT" sz="2000" dirty="0">
                <a:latin typeface="Times New Roman" panose="02020603050405020304" pitchFamily="18" charset="0"/>
                <a:cs typeface="Times New Roman" panose="02020603050405020304" pitchFamily="18" charset="0"/>
              </a:rPr>
              <a:t> delay, </a:t>
            </a:r>
            <a:r>
              <a:rPr lang="it-IT" sz="2000" dirty="0" err="1">
                <a:latin typeface="Times New Roman" panose="02020603050405020304" pitchFamily="18" charset="0"/>
                <a:cs typeface="Times New Roman" panose="02020603050405020304" pitchFamily="18" charset="0"/>
              </a:rPr>
              <a:t>informs</a:t>
            </a:r>
            <a:r>
              <a:rPr lang="it-IT" sz="2000" dirty="0">
                <a:latin typeface="Times New Roman" panose="02020603050405020304" pitchFamily="18" charset="0"/>
                <a:cs typeface="Times New Roman" panose="02020603050405020304" pitchFamily="18" charset="0"/>
              </a:rPr>
              <a:t> the </a:t>
            </a:r>
            <a:r>
              <a:rPr lang="it-IT" sz="2000" dirty="0" err="1">
                <a:latin typeface="Times New Roman" panose="02020603050405020304" pitchFamily="18" charset="0"/>
                <a:cs typeface="Times New Roman" panose="02020603050405020304" pitchFamily="18" charset="0"/>
              </a:rPr>
              <a:t>other</a:t>
            </a:r>
            <a:r>
              <a:rPr lang="it-IT" sz="2000" dirty="0">
                <a:latin typeface="Times New Roman" panose="02020603050405020304" pitchFamily="18" charset="0"/>
                <a:cs typeface="Times New Roman" panose="02020603050405020304" pitchFamily="18" charset="0"/>
              </a:rPr>
              <a:t> party </a:t>
            </a:r>
            <a:r>
              <a:rPr lang="it-IT" sz="2000" dirty="0" err="1">
                <a:latin typeface="Times New Roman" panose="02020603050405020304" pitchFamily="18" charset="0"/>
                <a:cs typeface="Times New Roman" panose="02020603050405020304" pitchFamily="18" charset="0"/>
              </a:rPr>
              <a:t>that</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it</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does</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not</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intend</a:t>
            </a:r>
            <a:r>
              <a:rPr lang="it-IT" sz="2000" dirty="0">
                <a:latin typeface="Times New Roman" panose="02020603050405020304" pitchFamily="18" charset="0"/>
                <a:cs typeface="Times New Roman" panose="02020603050405020304" pitchFamily="18" charset="0"/>
              </a:rPr>
              <a:t> to be </a:t>
            </a:r>
            <a:r>
              <a:rPr lang="it-IT" sz="2000" dirty="0" err="1">
                <a:latin typeface="Times New Roman" panose="02020603050405020304" pitchFamily="18" charset="0"/>
                <a:cs typeface="Times New Roman" panose="02020603050405020304" pitchFamily="18" charset="0"/>
              </a:rPr>
              <a:t>bound</a:t>
            </a:r>
            <a:r>
              <a:rPr lang="it-IT" sz="2000" dirty="0">
                <a:latin typeface="Times New Roman" panose="02020603050405020304" pitchFamily="18" charset="0"/>
                <a:cs typeface="Times New Roman" panose="02020603050405020304" pitchFamily="18" charset="0"/>
              </a:rPr>
              <a:t> by </a:t>
            </a:r>
            <a:r>
              <a:rPr lang="it-IT" sz="2000" dirty="0" err="1">
                <a:latin typeface="Times New Roman" panose="02020603050405020304" pitchFamily="18" charset="0"/>
                <a:cs typeface="Times New Roman" panose="02020603050405020304" pitchFamily="18" charset="0"/>
              </a:rPr>
              <a:t>such</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contract</a:t>
            </a:r>
            <a:r>
              <a:rPr lang="it-IT" sz="2000" dirty="0">
                <a:latin typeface="Times New Roman" panose="02020603050405020304" pitchFamily="18" charset="0"/>
                <a:cs typeface="Times New Roman" panose="02020603050405020304" pitchFamily="18" charset="0"/>
              </a:rPr>
              <a:t>. </a:t>
            </a:r>
          </a:p>
          <a:p>
            <a:pPr marL="342900" indent="-342900">
              <a:buFont typeface="+mj-lt"/>
              <a:buAutoNum type="arabicPeriod"/>
            </a:pPr>
            <a:r>
              <a:rPr lang="it-IT" sz="2000" dirty="0">
                <a:latin typeface="Times New Roman" panose="02020603050405020304" pitchFamily="18" charset="0"/>
                <a:cs typeface="Times New Roman" panose="02020603050405020304" pitchFamily="18" charset="0"/>
              </a:rPr>
              <a:t>General </a:t>
            </a:r>
            <a:r>
              <a:rPr lang="it-IT" sz="2000" dirty="0" err="1">
                <a:latin typeface="Times New Roman" panose="02020603050405020304" pitchFamily="18" charset="0"/>
                <a:cs typeface="Times New Roman" panose="02020603050405020304" pitchFamily="18" charset="0"/>
              </a:rPr>
              <a:t>conditions</a:t>
            </a:r>
            <a:r>
              <a:rPr lang="it-IT" sz="2000" dirty="0">
                <a:latin typeface="Times New Roman" panose="02020603050405020304" pitchFamily="18" charset="0"/>
                <a:cs typeface="Times New Roman" panose="02020603050405020304" pitchFamily="18" charset="0"/>
              </a:rPr>
              <a:t> of </a:t>
            </a:r>
            <a:r>
              <a:rPr lang="it-IT" sz="2000" dirty="0" err="1">
                <a:latin typeface="Times New Roman" panose="02020603050405020304" pitchFamily="18" charset="0"/>
                <a:cs typeface="Times New Roman" panose="02020603050405020304" pitchFamily="18" charset="0"/>
              </a:rPr>
              <a:t>contract</a:t>
            </a:r>
            <a:r>
              <a:rPr lang="it-IT" sz="2000" dirty="0">
                <a:latin typeface="Times New Roman" panose="02020603050405020304" pitchFamily="18" charset="0"/>
                <a:cs typeface="Times New Roman" panose="02020603050405020304" pitchFamily="18" charset="0"/>
              </a:rPr>
              <a:t> are </a:t>
            </a:r>
            <a:r>
              <a:rPr lang="it-IT" sz="2000" dirty="0" err="1">
                <a:latin typeface="Times New Roman" panose="02020603050405020304" pitchFamily="18" charset="0"/>
                <a:cs typeface="Times New Roman" panose="02020603050405020304" pitchFamily="18" charset="0"/>
              </a:rPr>
              <a:t>terms</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which</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have</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been</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formulated</a:t>
            </a:r>
            <a:r>
              <a:rPr lang="it-IT" sz="2000" dirty="0">
                <a:latin typeface="Times New Roman" panose="02020603050405020304" pitchFamily="18" charset="0"/>
                <a:cs typeface="Times New Roman" panose="02020603050405020304" pitchFamily="18" charset="0"/>
              </a:rPr>
              <a:t> in </a:t>
            </a:r>
            <a:r>
              <a:rPr lang="it-IT" sz="2000" dirty="0" err="1">
                <a:latin typeface="Times New Roman" panose="02020603050405020304" pitchFamily="18" charset="0"/>
                <a:cs typeface="Times New Roman" panose="02020603050405020304" pitchFamily="18" charset="0"/>
              </a:rPr>
              <a:t>advance</a:t>
            </a:r>
            <a:r>
              <a:rPr lang="it-IT" sz="2000" dirty="0">
                <a:latin typeface="Times New Roman" panose="02020603050405020304" pitchFamily="18" charset="0"/>
                <a:cs typeface="Times New Roman" panose="02020603050405020304" pitchFamily="18" charset="0"/>
              </a:rPr>
              <a:t> for an indefinite </a:t>
            </a:r>
            <a:r>
              <a:rPr lang="it-IT" sz="2000" dirty="0" err="1">
                <a:latin typeface="Times New Roman" panose="02020603050405020304" pitchFamily="18" charset="0"/>
                <a:cs typeface="Times New Roman" panose="02020603050405020304" pitchFamily="18" charset="0"/>
              </a:rPr>
              <a:t>number</a:t>
            </a:r>
            <a:r>
              <a:rPr lang="it-IT" sz="2000" dirty="0">
                <a:latin typeface="Times New Roman" panose="02020603050405020304" pitchFamily="18" charset="0"/>
                <a:cs typeface="Times New Roman" panose="02020603050405020304" pitchFamily="18" charset="0"/>
              </a:rPr>
              <a:t> of </a:t>
            </a:r>
            <a:r>
              <a:rPr lang="it-IT" sz="2000" dirty="0" err="1">
                <a:latin typeface="Times New Roman" panose="02020603050405020304" pitchFamily="18" charset="0"/>
                <a:cs typeface="Times New Roman" panose="02020603050405020304" pitchFamily="18" charset="0"/>
              </a:rPr>
              <a:t>contracts</a:t>
            </a:r>
            <a:r>
              <a:rPr lang="it-IT" sz="2000" dirty="0">
                <a:latin typeface="Times New Roman" panose="02020603050405020304" pitchFamily="18" charset="0"/>
                <a:cs typeface="Times New Roman" panose="02020603050405020304" pitchFamily="18" charset="0"/>
              </a:rPr>
              <a:t> of a </a:t>
            </a:r>
            <a:r>
              <a:rPr lang="it-IT" sz="2000" dirty="0" err="1">
                <a:latin typeface="Times New Roman" panose="02020603050405020304" pitchFamily="18" charset="0"/>
                <a:cs typeface="Times New Roman" panose="02020603050405020304" pitchFamily="18" charset="0"/>
              </a:rPr>
              <a:t>certain</a:t>
            </a:r>
            <a:r>
              <a:rPr lang="it-IT" sz="2000" dirty="0">
                <a:latin typeface="Times New Roman" panose="02020603050405020304" pitchFamily="18" charset="0"/>
                <a:cs typeface="Times New Roman" panose="02020603050405020304" pitchFamily="18" charset="0"/>
              </a:rPr>
              <a:t> nature, and </a:t>
            </a:r>
            <a:r>
              <a:rPr lang="it-IT" sz="2000" dirty="0" err="1">
                <a:latin typeface="Times New Roman" panose="02020603050405020304" pitchFamily="18" charset="0"/>
                <a:cs typeface="Times New Roman" panose="02020603050405020304" pitchFamily="18" charset="0"/>
              </a:rPr>
              <a:t>which</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have</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not</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been</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individually</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negotiated</a:t>
            </a:r>
            <a:r>
              <a:rPr lang="it-IT" sz="2000" dirty="0">
                <a:latin typeface="Times New Roman" panose="02020603050405020304" pitchFamily="18" charset="0"/>
                <a:cs typeface="Times New Roman" panose="02020603050405020304" pitchFamily="18" charset="0"/>
              </a:rPr>
              <a:t> </a:t>
            </a:r>
            <a:r>
              <a:rPr lang="it-IT" sz="2000" dirty="0" err="1">
                <a:latin typeface="Times New Roman" panose="02020603050405020304" pitchFamily="18" charset="0"/>
                <a:cs typeface="Times New Roman" panose="02020603050405020304" pitchFamily="18" charset="0"/>
              </a:rPr>
              <a:t>between</a:t>
            </a:r>
            <a:r>
              <a:rPr lang="it-IT" sz="2000" dirty="0">
                <a:latin typeface="Times New Roman" panose="02020603050405020304" pitchFamily="18" charset="0"/>
                <a:cs typeface="Times New Roman" panose="02020603050405020304" pitchFamily="18" charset="0"/>
              </a:rPr>
              <a:t> the parties. </a:t>
            </a:r>
          </a:p>
          <a:p>
            <a:pPr marL="342900" indent="-342900">
              <a:buFont typeface="+mj-lt"/>
              <a:buAutoNum type="arabicPeriod"/>
            </a:pPr>
            <a:endParaRPr lang="it-IT" sz="3200" dirty="0">
              <a:latin typeface="Times New Roman" panose="02020603050405020304" pitchFamily="18" charset="0"/>
              <a:cs typeface="Times New Roman" panose="02020603050405020304" pitchFamily="18" charset="0"/>
            </a:endParaRPr>
          </a:p>
        </p:txBody>
      </p:sp>
      <p:grpSp>
        <p:nvGrpSpPr>
          <p:cNvPr id="20" name="Gruppo 19">
            <a:extLst>
              <a:ext uri="{FF2B5EF4-FFF2-40B4-BE49-F238E27FC236}">
                <a16:creationId xmlns:a16="http://schemas.microsoft.com/office/drawing/2014/main" id="{A8D757D2-F583-ED4C-8ADE-27DFC4F45721}"/>
              </a:ext>
            </a:extLst>
          </p:cNvPr>
          <p:cNvGrpSpPr/>
          <p:nvPr/>
        </p:nvGrpSpPr>
        <p:grpSpPr>
          <a:xfrm>
            <a:off x="-72790" y="-6345528"/>
            <a:ext cx="12337576" cy="6748818"/>
            <a:chOff x="1245649" y="-3581121"/>
            <a:chExt cx="12337576" cy="6748818"/>
          </a:xfrm>
          <a:effectLst>
            <a:outerShdw blurRad="50800" dist="50800" dir="5400000" algn="t" rotWithShape="0">
              <a:prstClr val="black">
                <a:alpha val="40000"/>
              </a:prstClr>
            </a:outerShdw>
          </a:effectLst>
        </p:grpSpPr>
        <p:sp>
          <p:nvSpPr>
            <p:cNvPr id="15" name="Rettangolo 14">
              <a:extLst>
                <a:ext uri="{FF2B5EF4-FFF2-40B4-BE49-F238E27FC236}">
                  <a16:creationId xmlns:a16="http://schemas.microsoft.com/office/drawing/2014/main" id="{BDBBE6CF-3123-7549-9609-A0E286B57D95}"/>
                </a:ext>
              </a:extLst>
            </p:cNvPr>
            <p:cNvSpPr/>
            <p:nvPr/>
          </p:nvSpPr>
          <p:spPr>
            <a:xfrm>
              <a:off x="1289713" y="616311"/>
              <a:ext cx="4237823" cy="369332"/>
            </a:xfrm>
            <a:prstGeom prst="rect">
              <a:avLst/>
            </a:prstGeom>
          </p:spPr>
          <p:txBody>
            <a:bodyPr wrap="square">
              <a:spAutoFit/>
            </a:bodyPr>
            <a:lstStyle/>
            <a:p>
              <a:endParaRPr lang="it-IT" dirty="0"/>
            </a:p>
          </p:txBody>
        </p:sp>
        <p:sp>
          <p:nvSpPr>
            <p:cNvPr id="14" name="Figura a mano libera 13">
              <a:extLst>
                <a:ext uri="{FF2B5EF4-FFF2-40B4-BE49-F238E27FC236}">
                  <a16:creationId xmlns:a16="http://schemas.microsoft.com/office/drawing/2014/main" id="{0B87E656-1683-0248-BEE5-68AA76076D0E}"/>
                </a:ext>
              </a:extLst>
            </p:cNvPr>
            <p:cNvSpPr/>
            <p:nvPr/>
          </p:nvSpPr>
          <p:spPr>
            <a:xfrm rot="10800000">
              <a:off x="1245649" y="-3581121"/>
              <a:ext cx="12337576" cy="6748818"/>
            </a:xfrm>
            <a:custGeom>
              <a:avLst/>
              <a:gdLst>
                <a:gd name="connsiteX0" fmla="*/ 12337576 w 12337576"/>
                <a:gd name="connsiteY0" fmla="*/ 6748818 h 6748818"/>
                <a:gd name="connsiteX1" fmla="*/ 0 w 12337576"/>
                <a:gd name="connsiteY1" fmla="*/ 6748818 h 6748818"/>
                <a:gd name="connsiteX2" fmla="*/ 0 w 12337576"/>
                <a:gd name="connsiteY2" fmla="*/ 320722 h 6748818"/>
                <a:gd name="connsiteX3" fmla="*/ 5684293 w 12337576"/>
                <a:gd name="connsiteY3" fmla="*/ 320722 h 6748818"/>
                <a:gd name="connsiteX4" fmla="*/ 5684293 w 12337576"/>
                <a:gd name="connsiteY4" fmla="*/ 75064 h 6748818"/>
                <a:gd name="connsiteX5" fmla="*/ 5759357 w 12337576"/>
                <a:gd name="connsiteY5" fmla="*/ 0 h 6748818"/>
                <a:gd name="connsiteX6" fmla="*/ 6578220 w 12337576"/>
                <a:gd name="connsiteY6" fmla="*/ 0 h 6748818"/>
                <a:gd name="connsiteX7" fmla="*/ 6653284 w 12337576"/>
                <a:gd name="connsiteY7" fmla="*/ 75064 h 6748818"/>
                <a:gd name="connsiteX8" fmla="*/ 6653284 w 12337576"/>
                <a:gd name="connsiteY8" fmla="*/ 320722 h 6748818"/>
                <a:gd name="connsiteX9" fmla="*/ 12337576 w 12337576"/>
                <a:gd name="connsiteY9" fmla="*/ 320722 h 6748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37576" h="6748818">
                  <a:moveTo>
                    <a:pt x="12337576" y="6748818"/>
                  </a:moveTo>
                  <a:lnTo>
                    <a:pt x="0" y="6748818"/>
                  </a:lnTo>
                  <a:lnTo>
                    <a:pt x="0" y="320722"/>
                  </a:lnTo>
                  <a:lnTo>
                    <a:pt x="5684293" y="320722"/>
                  </a:lnTo>
                  <a:lnTo>
                    <a:pt x="5684293" y="75064"/>
                  </a:lnTo>
                  <a:cubicBezTo>
                    <a:pt x="5684293" y="33607"/>
                    <a:pt x="5717900" y="0"/>
                    <a:pt x="5759357" y="0"/>
                  </a:cubicBezTo>
                  <a:lnTo>
                    <a:pt x="6578220" y="0"/>
                  </a:lnTo>
                  <a:cubicBezTo>
                    <a:pt x="6619677" y="0"/>
                    <a:pt x="6653284" y="33607"/>
                    <a:pt x="6653284" y="75064"/>
                  </a:cubicBezTo>
                  <a:lnTo>
                    <a:pt x="6653284" y="320722"/>
                  </a:lnTo>
                  <a:lnTo>
                    <a:pt x="12337576" y="320722"/>
                  </a:lnTo>
                  <a:close/>
                </a:path>
              </a:pathLst>
            </a:custGeom>
            <a:solidFill>
              <a:srgbClr val="1B4A7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t-IT" dirty="0"/>
            </a:p>
          </p:txBody>
        </p:sp>
        <p:sp>
          <p:nvSpPr>
            <p:cNvPr id="18" name="Rettangolo 17">
              <a:extLst>
                <a:ext uri="{FF2B5EF4-FFF2-40B4-BE49-F238E27FC236}">
                  <a16:creationId xmlns:a16="http://schemas.microsoft.com/office/drawing/2014/main" id="{62FD9A41-FF42-7742-8694-141DCB4DA22B}"/>
                </a:ext>
              </a:extLst>
            </p:cNvPr>
            <p:cNvSpPr/>
            <p:nvPr/>
          </p:nvSpPr>
          <p:spPr>
            <a:xfrm>
              <a:off x="2247352" y="-3070336"/>
              <a:ext cx="10232573" cy="548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CasellaDiTesto 18">
              <a:extLst>
                <a:ext uri="{FF2B5EF4-FFF2-40B4-BE49-F238E27FC236}">
                  <a16:creationId xmlns:a16="http://schemas.microsoft.com/office/drawing/2014/main" id="{76F9990A-9919-2746-B061-238F874B07B7}"/>
                </a:ext>
              </a:extLst>
            </p:cNvPr>
            <p:cNvSpPr txBox="1"/>
            <p:nvPr/>
          </p:nvSpPr>
          <p:spPr>
            <a:xfrm>
              <a:off x="2723484" y="-2784341"/>
              <a:ext cx="9381905" cy="5062924"/>
            </a:xfrm>
            <a:prstGeom prst="rect">
              <a:avLst/>
            </a:prstGeom>
            <a:noFill/>
          </p:spPr>
          <p:txBody>
            <a:bodyPr wrap="square" rtlCol="0">
              <a:spAutoFit/>
            </a:bodyPr>
            <a:lstStyle/>
            <a:p>
              <a:r>
                <a:rPr lang="it-IT" sz="2800" b="1" dirty="0">
                  <a:solidFill>
                    <a:srgbClr val="19436B"/>
                  </a:solidFill>
                  <a:latin typeface="Times New Roman" panose="02020603050405020304" pitchFamily="18" charset="0"/>
                  <a:cs typeface="Times New Roman" panose="02020603050405020304" pitchFamily="18" charset="0"/>
                </a:rPr>
                <a:t>CONDIZIONI GENERALI CONTRASTANTI</a:t>
              </a:r>
              <a:r>
                <a:rPr lang="it-IT" sz="2800" dirty="0">
                  <a:latin typeface="Times New Roman" panose="02020603050405020304" pitchFamily="18" charset="0"/>
                  <a:cs typeface="Times New Roman" panose="02020603050405020304" pitchFamily="18" charset="0"/>
                </a:rPr>
                <a:t> </a:t>
              </a:r>
              <a:r>
                <a:rPr lang="it-IT" b="1" dirty="0">
                  <a:solidFill>
                    <a:schemeClr val="bg2">
                      <a:lumMod val="25000"/>
                    </a:schemeClr>
                  </a:solidFill>
                  <a:latin typeface="Times New Roman" panose="02020603050405020304" pitchFamily="18" charset="0"/>
                  <a:cs typeface="Times New Roman" panose="02020603050405020304" pitchFamily="18" charset="0"/>
                </a:rPr>
                <a:t>– Art. 2:209</a:t>
              </a:r>
              <a:endParaRPr lang="it-IT" dirty="0">
                <a:latin typeface="Times New Roman" panose="02020603050405020304" pitchFamily="18" charset="0"/>
                <a:cs typeface="Times New Roman" panose="02020603050405020304" pitchFamily="18" charset="0"/>
              </a:endParaRPr>
            </a:p>
            <a:p>
              <a:endParaRPr lang="it-IT" sz="1100" dirty="0">
                <a:latin typeface="Times New Roman" panose="02020603050405020304" pitchFamily="18" charset="0"/>
                <a:cs typeface="Times New Roman" panose="02020603050405020304" pitchFamily="18" charset="0"/>
              </a:endParaRPr>
            </a:p>
            <a:p>
              <a:pPr marL="342900" indent="-342900">
                <a:buFont typeface="+mj-lt"/>
                <a:buAutoNum type="arabicPeriod"/>
              </a:pPr>
              <a:r>
                <a:rPr lang="it-IT" sz="2000" dirty="0">
                  <a:latin typeface="Times New Roman" panose="02020603050405020304" pitchFamily="18" charset="0"/>
                  <a:cs typeface="Times New Roman" panose="02020603050405020304" pitchFamily="18" charset="0"/>
                </a:rPr>
                <a:t>Se le parti hanno raggiunto un accordo, solo che la proposta e l’accettazione fanno riferimento a condizioni generali di contratto contrastanti, il contratto è ciononostante concluso. Le condizioni generali fanno parte del contenuto del contratto nella misura in cui sono sostanzialmente coincidenti.</a:t>
              </a:r>
            </a:p>
            <a:p>
              <a:pPr marL="342900" indent="-342900">
                <a:buFont typeface="+mj-lt"/>
                <a:buAutoNum type="arabicPeriod"/>
              </a:pPr>
              <a:r>
                <a:rPr lang="it-IT" sz="2000" dirty="0">
                  <a:latin typeface="Times New Roman" panose="02020603050405020304" pitchFamily="18" charset="0"/>
                  <a:cs typeface="Times New Roman" panose="02020603050405020304" pitchFamily="18" charset="0"/>
                </a:rPr>
                <a:t>Tuttavia il contratto non è concluso se una parte:</a:t>
              </a:r>
            </a:p>
            <a:p>
              <a:pPr marL="914400" lvl="1" indent="-457200">
                <a:buFont typeface="+mj-lt"/>
                <a:buAutoNum type="alphaLcParenR"/>
              </a:pPr>
              <a:r>
                <a:rPr lang="it-IT" sz="2000" dirty="0">
                  <a:latin typeface="Times New Roman" panose="02020603050405020304" pitchFamily="18" charset="0"/>
                  <a:cs typeface="Times New Roman" panose="02020603050405020304" pitchFamily="18" charset="0"/>
                </a:rPr>
                <a:t>Ha manifestato in anticipo, espressamente e non mediante condizioni generali di contratto, l’intenzione di non essere vincolata dal contratto quando ricorrano gli estremi del paragrafo 1); o </a:t>
              </a:r>
            </a:p>
            <a:p>
              <a:pPr marL="914400" lvl="1" indent="-457200">
                <a:buFont typeface="+mj-lt"/>
                <a:buAutoNum type="alphaLcParenR"/>
              </a:pPr>
              <a:r>
                <a:rPr lang="it-IT" sz="2000" dirty="0">
                  <a:latin typeface="Times New Roman" panose="02020603050405020304" pitchFamily="18" charset="0"/>
                  <a:cs typeface="Times New Roman" panose="02020603050405020304" pitchFamily="18" charset="0"/>
                </a:rPr>
                <a:t>senza indugio informa l’altra parte che non ha intenzione di essere vincolata da tale contratto. </a:t>
              </a:r>
            </a:p>
            <a:p>
              <a:pPr marL="457200" indent="-457200">
                <a:buFont typeface="+mj-lt"/>
                <a:buAutoNum type="arabicPeriod"/>
              </a:pPr>
              <a:r>
                <a:rPr lang="it-IT" sz="2000" dirty="0">
                  <a:latin typeface="Times New Roman" panose="02020603050405020304" pitchFamily="18" charset="0"/>
                  <a:cs typeface="Times New Roman" panose="02020603050405020304" pitchFamily="18" charset="0"/>
                </a:rPr>
                <a:t>Condizioni generali di contratto sono le condizioni predisposte per un numero indeterminato di contratti di un certo tipo, e che non sono state oggetto di trattativa individuale tra le parti. </a:t>
              </a:r>
            </a:p>
            <a:p>
              <a:pPr algn="ctr"/>
              <a:r>
                <a:rPr lang="it-IT" dirty="0"/>
                <a:t> </a:t>
              </a:r>
              <a:r>
                <a:rPr lang="it-IT" sz="2400" b="1" dirty="0">
                  <a:latin typeface="Times New Roman" panose="02020603050405020304" pitchFamily="18" charset="0"/>
                  <a:cs typeface="Times New Roman" panose="02020603050405020304" pitchFamily="18" charset="0"/>
                  <a:sym typeface="Wingdings" pitchFamily="2" charset="2"/>
                </a:rPr>
                <a:t> KNOCK OUT RULE</a:t>
              </a:r>
              <a:endParaRPr lang="it-IT" b="1" dirty="0">
                <a:latin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37095503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0 0.0081 L 0 0.85764 " pathEditMode="relative" rAng="0" ptsTypes="AA">
                                      <p:cBhvr>
                                        <p:cTn id="6" dur="2000" fill="hold"/>
                                        <p:tgtEl>
                                          <p:spTgt spid="20"/>
                                        </p:tgtEl>
                                        <p:attrNameLst>
                                          <p:attrName>ppt_x</p:attrName>
                                          <p:attrName>ppt_y</p:attrName>
                                        </p:attrNameLst>
                                      </p:cBhvr>
                                      <p:rCtr x="0" y="4247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38" name="Figura a mano libera 37">
            <a:extLst>
              <a:ext uri="{FF2B5EF4-FFF2-40B4-BE49-F238E27FC236}">
                <a16:creationId xmlns:a16="http://schemas.microsoft.com/office/drawing/2014/main" id="{CE8AF2EE-40D7-AE46-8799-9EE6ABD2E20A}"/>
              </a:ext>
            </a:extLst>
          </p:cNvPr>
          <p:cNvSpPr>
            <a:spLocks/>
          </p:cNvSpPr>
          <p:nvPr>
            <p:custDataLst>
              <p:tags r:id="rId1"/>
            </p:custDataLst>
          </p:nvPr>
        </p:nvSpPr>
        <p:spPr bwMode="auto">
          <a:xfrm>
            <a:off x="2739805" y="1570970"/>
            <a:ext cx="5706718" cy="5231187"/>
          </a:xfrm>
          <a:custGeom>
            <a:avLst/>
            <a:gdLst>
              <a:gd name="connsiteX0" fmla="*/ 0 w 1317625"/>
              <a:gd name="connsiteY0" fmla="*/ 1287463 h 1344613"/>
              <a:gd name="connsiteX1" fmla="*/ 6350 w 1317625"/>
              <a:gd name="connsiteY1" fmla="*/ 1287463 h 1344613"/>
              <a:gd name="connsiteX2" fmla="*/ 6106 w 1317625"/>
              <a:gd name="connsiteY2" fmla="*/ 1306513 h 1344613"/>
              <a:gd name="connsiteX3" fmla="*/ 5861 w 1317625"/>
              <a:gd name="connsiteY3" fmla="*/ 1323976 h 1344613"/>
              <a:gd name="connsiteX4" fmla="*/ 5617 w 1317625"/>
              <a:gd name="connsiteY4" fmla="*/ 1330326 h 1344613"/>
              <a:gd name="connsiteX5" fmla="*/ 5617 w 1317625"/>
              <a:gd name="connsiteY5" fmla="*/ 1336676 h 1344613"/>
              <a:gd name="connsiteX6" fmla="*/ 5861 w 1317625"/>
              <a:gd name="connsiteY6" fmla="*/ 1341438 h 1344613"/>
              <a:gd name="connsiteX7" fmla="*/ 6350 w 1317625"/>
              <a:gd name="connsiteY7" fmla="*/ 1344613 h 1344613"/>
              <a:gd name="connsiteX8" fmla="*/ 1465 w 1317625"/>
              <a:gd name="connsiteY8" fmla="*/ 1344613 h 1344613"/>
              <a:gd name="connsiteX9" fmla="*/ 1221 w 1317625"/>
              <a:gd name="connsiteY9" fmla="*/ 1335088 h 1344613"/>
              <a:gd name="connsiteX10" fmla="*/ 733 w 1317625"/>
              <a:gd name="connsiteY10" fmla="*/ 1319213 h 1344613"/>
              <a:gd name="connsiteX11" fmla="*/ 244 w 1317625"/>
              <a:gd name="connsiteY11" fmla="*/ 1303338 h 1344613"/>
              <a:gd name="connsiteX12" fmla="*/ 110807 w 1317625"/>
              <a:gd name="connsiteY12" fmla="*/ 1277938 h 1344613"/>
              <a:gd name="connsiteX13" fmla="*/ 112712 w 1317625"/>
              <a:gd name="connsiteY13" fmla="*/ 1277938 h 1344613"/>
              <a:gd name="connsiteX14" fmla="*/ 110807 w 1317625"/>
              <a:gd name="connsiteY14" fmla="*/ 1281027 h 1344613"/>
              <a:gd name="connsiteX15" fmla="*/ 108426 w 1317625"/>
              <a:gd name="connsiteY15" fmla="*/ 1285661 h 1344613"/>
              <a:gd name="connsiteX16" fmla="*/ 106997 w 1317625"/>
              <a:gd name="connsiteY16" fmla="*/ 1289523 h 1344613"/>
              <a:gd name="connsiteX17" fmla="*/ 106045 w 1317625"/>
              <a:gd name="connsiteY17" fmla="*/ 1294156 h 1344613"/>
              <a:gd name="connsiteX18" fmla="*/ 103663 w 1317625"/>
              <a:gd name="connsiteY18" fmla="*/ 1301879 h 1344613"/>
              <a:gd name="connsiteX19" fmla="*/ 101758 w 1317625"/>
              <a:gd name="connsiteY19" fmla="*/ 1310375 h 1344613"/>
              <a:gd name="connsiteX20" fmla="*/ 100806 w 1317625"/>
              <a:gd name="connsiteY20" fmla="*/ 1314236 h 1344613"/>
              <a:gd name="connsiteX21" fmla="*/ 99377 w 1317625"/>
              <a:gd name="connsiteY21" fmla="*/ 1317325 h 1344613"/>
              <a:gd name="connsiteX22" fmla="*/ 97948 w 1317625"/>
              <a:gd name="connsiteY22" fmla="*/ 1321187 h 1344613"/>
              <a:gd name="connsiteX23" fmla="*/ 96043 w 1317625"/>
              <a:gd name="connsiteY23" fmla="*/ 1324276 h 1344613"/>
              <a:gd name="connsiteX24" fmla="*/ 93662 w 1317625"/>
              <a:gd name="connsiteY24" fmla="*/ 1328137 h 1344613"/>
              <a:gd name="connsiteX25" fmla="*/ 91281 w 1317625"/>
              <a:gd name="connsiteY25" fmla="*/ 1331227 h 1344613"/>
              <a:gd name="connsiteX26" fmla="*/ 87947 w 1317625"/>
              <a:gd name="connsiteY26" fmla="*/ 1333544 h 1344613"/>
              <a:gd name="connsiteX27" fmla="*/ 84137 w 1317625"/>
              <a:gd name="connsiteY27" fmla="*/ 1335088 h 1344613"/>
              <a:gd name="connsiteX28" fmla="*/ 86518 w 1317625"/>
              <a:gd name="connsiteY28" fmla="*/ 1324276 h 1344613"/>
              <a:gd name="connsiteX29" fmla="*/ 89852 w 1317625"/>
              <a:gd name="connsiteY29" fmla="*/ 1314236 h 1344613"/>
              <a:gd name="connsiteX30" fmla="*/ 93186 w 1317625"/>
              <a:gd name="connsiteY30" fmla="*/ 1304196 h 1344613"/>
              <a:gd name="connsiteX31" fmla="*/ 96996 w 1317625"/>
              <a:gd name="connsiteY31" fmla="*/ 1295701 h 1344613"/>
              <a:gd name="connsiteX32" fmla="*/ 101282 w 1317625"/>
              <a:gd name="connsiteY32" fmla="*/ 1288750 h 1344613"/>
              <a:gd name="connsiteX33" fmla="*/ 104616 w 1317625"/>
              <a:gd name="connsiteY33" fmla="*/ 1282572 h 1344613"/>
              <a:gd name="connsiteX34" fmla="*/ 106997 w 1317625"/>
              <a:gd name="connsiteY34" fmla="*/ 1280255 h 1344613"/>
              <a:gd name="connsiteX35" fmla="*/ 108902 w 1317625"/>
              <a:gd name="connsiteY35" fmla="*/ 1278710 h 1344613"/>
              <a:gd name="connsiteX36" fmla="*/ 773112 w 1317625"/>
              <a:gd name="connsiteY36" fmla="*/ 1069975 h 1344613"/>
              <a:gd name="connsiteX37" fmla="*/ 773112 w 1317625"/>
              <a:gd name="connsiteY37" fmla="*/ 1106070 h 1344613"/>
              <a:gd name="connsiteX38" fmla="*/ 773112 w 1317625"/>
              <a:gd name="connsiteY38" fmla="*/ 1127125 h 1344613"/>
              <a:gd name="connsiteX39" fmla="*/ 763588 w 1317625"/>
              <a:gd name="connsiteY39" fmla="*/ 1127125 h 1344613"/>
              <a:gd name="connsiteX40" fmla="*/ 758825 w 1317625"/>
              <a:gd name="connsiteY40" fmla="*/ 1127125 h 1344613"/>
              <a:gd name="connsiteX41" fmla="*/ 763588 w 1317625"/>
              <a:gd name="connsiteY41" fmla="*/ 1106070 h 1344613"/>
              <a:gd name="connsiteX42" fmla="*/ 1015206 w 1317625"/>
              <a:gd name="connsiteY42" fmla="*/ 1040131 h 1344613"/>
              <a:gd name="connsiteX43" fmla="*/ 1029815 w 1317625"/>
              <a:gd name="connsiteY43" fmla="*/ 1041997 h 1344613"/>
              <a:gd name="connsiteX44" fmla="*/ 1042764 w 1317625"/>
              <a:gd name="connsiteY44" fmla="*/ 1045729 h 1344613"/>
              <a:gd name="connsiteX45" fmla="*/ 1049405 w 1317625"/>
              <a:gd name="connsiteY45" fmla="*/ 1047595 h 1344613"/>
              <a:gd name="connsiteX46" fmla="*/ 1055381 w 1317625"/>
              <a:gd name="connsiteY46" fmla="*/ 1046662 h 1344613"/>
              <a:gd name="connsiteX47" fmla="*/ 1058370 w 1317625"/>
              <a:gd name="connsiteY47" fmla="*/ 1045729 h 1344613"/>
              <a:gd name="connsiteX48" fmla="*/ 1060694 w 1317625"/>
              <a:gd name="connsiteY48" fmla="*/ 1044796 h 1344613"/>
              <a:gd name="connsiteX49" fmla="*/ 1063350 w 1317625"/>
              <a:gd name="connsiteY49" fmla="*/ 1042930 h 1344613"/>
              <a:gd name="connsiteX50" fmla="*/ 1066006 w 1317625"/>
              <a:gd name="connsiteY50" fmla="*/ 1040131 h 1344613"/>
              <a:gd name="connsiteX51" fmla="*/ 1066006 w 1317625"/>
              <a:gd name="connsiteY51" fmla="*/ 1048528 h 1344613"/>
              <a:gd name="connsiteX52" fmla="*/ 1066006 w 1317625"/>
              <a:gd name="connsiteY52" fmla="*/ 1063457 h 1344613"/>
              <a:gd name="connsiteX53" fmla="*/ 1062686 w 1317625"/>
              <a:gd name="connsiteY53" fmla="*/ 1069055 h 1344613"/>
              <a:gd name="connsiteX54" fmla="*/ 1059366 w 1317625"/>
              <a:gd name="connsiteY54" fmla="*/ 1073721 h 1344613"/>
              <a:gd name="connsiteX55" fmla="*/ 1056377 w 1317625"/>
              <a:gd name="connsiteY55" fmla="*/ 1077453 h 1344613"/>
              <a:gd name="connsiteX56" fmla="*/ 1053057 w 1317625"/>
              <a:gd name="connsiteY56" fmla="*/ 1081185 h 1344613"/>
              <a:gd name="connsiteX57" fmla="*/ 1050401 w 1317625"/>
              <a:gd name="connsiteY57" fmla="*/ 1083051 h 1344613"/>
              <a:gd name="connsiteX58" fmla="*/ 1048077 w 1317625"/>
              <a:gd name="connsiteY58" fmla="*/ 1084917 h 1344613"/>
              <a:gd name="connsiteX59" fmla="*/ 1045753 w 1317625"/>
              <a:gd name="connsiteY59" fmla="*/ 1085850 h 1344613"/>
              <a:gd name="connsiteX60" fmla="*/ 1044093 w 1317625"/>
              <a:gd name="connsiteY60" fmla="*/ 1085850 h 1344613"/>
              <a:gd name="connsiteX61" fmla="*/ 1039112 w 1317625"/>
              <a:gd name="connsiteY61" fmla="*/ 1084917 h 1344613"/>
              <a:gd name="connsiteX62" fmla="*/ 1035128 w 1317625"/>
              <a:gd name="connsiteY62" fmla="*/ 1083051 h 1344613"/>
              <a:gd name="connsiteX63" fmla="*/ 1031808 w 1317625"/>
              <a:gd name="connsiteY63" fmla="*/ 1080252 h 1344613"/>
              <a:gd name="connsiteX64" fmla="*/ 1028819 w 1317625"/>
              <a:gd name="connsiteY64" fmla="*/ 1075587 h 1344613"/>
              <a:gd name="connsiteX65" fmla="*/ 1022511 w 1317625"/>
              <a:gd name="connsiteY65" fmla="*/ 1067189 h 1344613"/>
              <a:gd name="connsiteX66" fmla="*/ 1015206 w 1317625"/>
              <a:gd name="connsiteY66" fmla="*/ 1057859 h 1344613"/>
              <a:gd name="connsiteX67" fmla="*/ 719137 w 1317625"/>
              <a:gd name="connsiteY67" fmla="*/ 990600 h 1344613"/>
              <a:gd name="connsiteX68" fmla="*/ 759919 w 1317625"/>
              <a:gd name="connsiteY68" fmla="*/ 990600 h 1344613"/>
              <a:gd name="connsiteX69" fmla="*/ 765559 w 1317625"/>
              <a:gd name="connsiteY69" fmla="*/ 1000125 h 1344613"/>
              <a:gd name="connsiteX70" fmla="*/ 767729 w 1317625"/>
              <a:gd name="connsiteY70" fmla="*/ 996950 h 1344613"/>
              <a:gd name="connsiteX71" fmla="*/ 769898 w 1317625"/>
              <a:gd name="connsiteY71" fmla="*/ 994834 h 1344613"/>
              <a:gd name="connsiteX72" fmla="*/ 772067 w 1317625"/>
              <a:gd name="connsiteY72" fmla="*/ 993246 h 1344613"/>
              <a:gd name="connsiteX73" fmla="*/ 774236 w 1317625"/>
              <a:gd name="connsiteY73" fmla="*/ 992188 h 1344613"/>
              <a:gd name="connsiteX74" fmla="*/ 778575 w 1317625"/>
              <a:gd name="connsiteY74" fmla="*/ 991129 h 1344613"/>
              <a:gd name="connsiteX75" fmla="*/ 783347 w 1317625"/>
              <a:gd name="connsiteY75" fmla="*/ 990600 h 1344613"/>
              <a:gd name="connsiteX76" fmla="*/ 784649 w 1317625"/>
              <a:gd name="connsiteY76" fmla="*/ 990600 h 1344613"/>
              <a:gd name="connsiteX77" fmla="*/ 788987 w 1317625"/>
              <a:gd name="connsiteY77" fmla="*/ 990600 h 1344613"/>
              <a:gd name="connsiteX78" fmla="*/ 788987 w 1317625"/>
              <a:gd name="connsiteY78" fmla="*/ 1039284 h 1344613"/>
              <a:gd name="connsiteX79" fmla="*/ 786384 w 1317625"/>
              <a:gd name="connsiteY79" fmla="*/ 1039813 h 1344613"/>
              <a:gd name="connsiteX80" fmla="*/ 784215 w 1317625"/>
              <a:gd name="connsiteY80" fmla="*/ 1039813 h 1344613"/>
              <a:gd name="connsiteX81" fmla="*/ 782046 w 1317625"/>
              <a:gd name="connsiteY81" fmla="*/ 1039284 h 1344613"/>
              <a:gd name="connsiteX82" fmla="*/ 779876 w 1317625"/>
              <a:gd name="connsiteY82" fmla="*/ 1038755 h 1344613"/>
              <a:gd name="connsiteX83" fmla="*/ 775104 w 1317625"/>
              <a:gd name="connsiteY83" fmla="*/ 1037167 h 1344613"/>
              <a:gd name="connsiteX84" fmla="*/ 771199 w 1317625"/>
              <a:gd name="connsiteY84" fmla="*/ 1033992 h 1344613"/>
              <a:gd name="connsiteX85" fmla="*/ 767295 w 1317625"/>
              <a:gd name="connsiteY85" fmla="*/ 1030288 h 1344613"/>
              <a:gd name="connsiteX86" fmla="*/ 764258 w 1317625"/>
              <a:gd name="connsiteY86" fmla="*/ 1026055 h 1344613"/>
              <a:gd name="connsiteX87" fmla="*/ 761221 w 1317625"/>
              <a:gd name="connsiteY87" fmla="*/ 1021821 h 1344613"/>
              <a:gd name="connsiteX88" fmla="*/ 759919 w 1317625"/>
              <a:gd name="connsiteY88" fmla="*/ 1016530 h 1344613"/>
              <a:gd name="connsiteX89" fmla="*/ 759052 w 1317625"/>
              <a:gd name="connsiteY89" fmla="*/ 1017059 h 1344613"/>
              <a:gd name="connsiteX90" fmla="*/ 757750 w 1317625"/>
              <a:gd name="connsiteY90" fmla="*/ 1017588 h 1344613"/>
              <a:gd name="connsiteX91" fmla="*/ 756448 w 1317625"/>
              <a:gd name="connsiteY91" fmla="*/ 1017588 h 1344613"/>
              <a:gd name="connsiteX92" fmla="*/ 755581 w 1317625"/>
              <a:gd name="connsiteY92" fmla="*/ 1017588 h 1344613"/>
              <a:gd name="connsiteX93" fmla="*/ 752978 w 1317625"/>
              <a:gd name="connsiteY93" fmla="*/ 1017059 h 1344613"/>
              <a:gd name="connsiteX94" fmla="*/ 751242 w 1317625"/>
              <a:gd name="connsiteY94" fmla="*/ 1016530 h 1344613"/>
              <a:gd name="connsiteX95" fmla="*/ 747338 w 1317625"/>
              <a:gd name="connsiteY95" fmla="*/ 1016000 h 1344613"/>
              <a:gd name="connsiteX96" fmla="*/ 742999 w 1317625"/>
              <a:gd name="connsiteY96" fmla="*/ 1014413 h 1344613"/>
              <a:gd name="connsiteX97" fmla="*/ 738227 w 1317625"/>
              <a:gd name="connsiteY97" fmla="*/ 1011767 h 1344613"/>
              <a:gd name="connsiteX98" fmla="*/ 733020 w 1317625"/>
              <a:gd name="connsiteY98" fmla="*/ 1008592 h 1344613"/>
              <a:gd name="connsiteX99" fmla="*/ 728248 w 1317625"/>
              <a:gd name="connsiteY99" fmla="*/ 1004359 h 1344613"/>
              <a:gd name="connsiteX100" fmla="*/ 724343 w 1317625"/>
              <a:gd name="connsiteY100" fmla="*/ 1000125 h 1344613"/>
              <a:gd name="connsiteX101" fmla="*/ 722608 w 1317625"/>
              <a:gd name="connsiteY101" fmla="*/ 998009 h 1344613"/>
              <a:gd name="connsiteX102" fmla="*/ 721307 w 1317625"/>
              <a:gd name="connsiteY102" fmla="*/ 995363 h 1344613"/>
              <a:gd name="connsiteX103" fmla="*/ 720439 w 1317625"/>
              <a:gd name="connsiteY103" fmla="*/ 993246 h 1344613"/>
              <a:gd name="connsiteX104" fmla="*/ 1317625 w 1317625"/>
              <a:gd name="connsiteY104" fmla="*/ 959644 h 1344613"/>
              <a:gd name="connsiteX105" fmla="*/ 1316948 w 1317625"/>
              <a:gd name="connsiteY105" fmla="*/ 961607 h 1344613"/>
              <a:gd name="connsiteX106" fmla="*/ 1316271 w 1317625"/>
              <a:gd name="connsiteY106" fmla="*/ 962916 h 1344613"/>
              <a:gd name="connsiteX107" fmla="*/ 1314239 w 1317625"/>
              <a:gd name="connsiteY107" fmla="*/ 964224 h 1344613"/>
              <a:gd name="connsiteX108" fmla="*/ 1312885 w 1317625"/>
              <a:gd name="connsiteY108" fmla="*/ 965533 h 1344613"/>
              <a:gd name="connsiteX109" fmla="*/ 1308145 w 1317625"/>
              <a:gd name="connsiteY109" fmla="*/ 967496 h 1344613"/>
              <a:gd name="connsiteX110" fmla="*/ 1304759 w 1317625"/>
              <a:gd name="connsiteY110" fmla="*/ 968150 h 1344613"/>
              <a:gd name="connsiteX111" fmla="*/ 1304081 w 1317625"/>
              <a:gd name="connsiteY111" fmla="*/ 972076 h 1344613"/>
              <a:gd name="connsiteX112" fmla="*/ 1302727 w 1317625"/>
              <a:gd name="connsiteY112" fmla="*/ 976656 h 1344613"/>
              <a:gd name="connsiteX113" fmla="*/ 1302050 w 1317625"/>
              <a:gd name="connsiteY113" fmla="*/ 980582 h 1344613"/>
              <a:gd name="connsiteX114" fmla="*/ 1300695 w 1317625"/>
              <a:gd name="connsiteY114" fmla="*/ 983853 h 1344613"/>
              <a:gd name="connsiteX115" fmla="*/ 1299341 w 1317625"/>
              <a:gd name="connsiteY115" fmla="*/ 986470 h 1344613"/>
              <a:gd name="connsiteX116" fmla="*/ 1297309 w 1317625"/>
              <a:gd name="connsiteY116" fmla="*/ 989088 h 1344613"/>
              <a:gd name="connsiteX117" fmla="*/ 1293923 w 1317625"/>
              <a:gd name="connsiteY117" fmla="*/ 991705 h 1344613"/>
              <a:gd name="connsiteX118" fmla="*/ 1291215 w 1317625"/>
              <a:gd name="connsiteY118" fmla="*/ 994322 h 1344613"/>
              <a:gd name="connsiteX119" fmla="*/ 1284443 w 1317625"/>
              <a:gd name="connsiteY119" fmla="*/ 998248 h 1344613"/>
              <a:gd name="connsiteX120" fmla="*/ 1275639 w 1317625"/>
              <a:gd name="connsiteY120" fmla="*/ 1002173 h 1344613"/>
              <a:gd name="connsiteX121" fmla="*/ 1266158 w 1317625"/>
              <a:gd name="connsiteY121" fmla="*/ 1004791 h 1344613"/>
              <a:gd name="connsiteX122" fmla="*/ 1254646 w 1317625"/>
              <a:gd name="connsiteY122" fmla="*/ 1008062 h 1344613"/>
              <a:gd name="connsiteX123" fmla="*/ 1241102 w 1317625"/>
              <a:gd name="connsiteY123" fmla="*/ 988433 h 1344613"/>
              <a:gd name="connsiteX124" fmla="*/ 1254646 w 1317625"/>
              <a:gd name="connsiteY124" fmla="*/ 981236 h 1344613"/>
              <a:gd name="connsiteX125" fmla="*/ 1274285 w 1317625"/>
              <a:gd name="connsiteY125" fmla="*/ 972076 h 1344613"/>
              <a:gd name="connsiteX126" fmla="*/ 1285120 w 1317625"/>
              <a:gd name="connsiteY126" fmla="*/ 968150 h 1344613"/>
              <a:gd name="connsiteX127" fmla="*/ 1296632 w 1317625"/>
              <a:gd name="connsiteY127" fmla="*/ 964879 h 1344613"/>
              <a:gd name="connsiteX128" fmla="*/ 1307467 w 1317625"/>
              <a:gd name="connsiteY128" fmla="*/ 962261 h 1344613"/>
              <a:gd name="connsiteX129" fmla="*/ 492125 w 1317625"/>
              <a:gd name="connsiteY129" fmla="*/ 931863 h 1344613"/>
              <a:gd name="connsiteX130" fmla="*/ 495860 w 1317625"/>
              <a:gd name="connsiteY130" fmla="*/ 931863 h 1344613"/>
              <a:gd name="connsiteX131" fmla="*/ 501930 w 1317625"/>
              <a:gd name="connsiteY131" fmla="*/ 931863 h 1344613"/>
              <a:gd name="connsiteX132" fmla="*/ 503798 w 1317625"/>
              <a:gd name="connsiteY132" fmla="*/ 941194 h 1344613"/>
              <a:gd name="connsiteX133" fmla="*/ 506132 w 1317625"/>
              <a:gd name="connsiteY133" fmla="*/ 945859 h 1344613"/>
              <a:gd name="connsiteX134" fmla="*/ 506599 w 1317625"/>
              <a:gd name="connsiteY134" fmla="*/ 949358 h 1344613"/>
              <a:gd name="connsiteX135" fmla="*/ 507533 w 1317625"/>
              <a:gd name="connsiteY135" fmla="*/ 951691 h 1344613"/>
              <a:gd name="connsiteX136" fmla="*/ 507533 w 1317625"/>
              <a:gd name="connsiteY136" fmla="*/ 956356 h 1344613"/>
              <a:gd name="connsiteX137" fmla="*/ 508000 w 1317625"/>
              <a:gd name="connsiteY137" fmla="*/ 961021 h 1344613"/>
              <a:gd name="connsiteX138" fmla="*/ 508000 w 1317625"/>
              <a:gd name="connsiteY138" fmla="*/ 971518 h 1344613"/>
              <a:gd name="connsiteX139" fmla="*/ 508000 w 1317625"/>
              <a:gd name="connsiteY139" fmla="*/ 989013 h 1344613"/>
              <a:gd name="connsiteX140" fmla="*/ 505666 w 1317625"/>
              <a:gd name="connsiteY140" fmla="*/ 985514 h 1344613"/>
              <a:gd name="connsiteX141" fmla="*/ 503331 w 1317625"/>
              <a:gd name="connsiteY141" fmla="*/ 982015 h 1344613"/>
              <a:gd name="connsiteX142" fmla="*/ 500996 w 1317625"/>
              <a:gd name="connsiteY142" fmla="*/ 977350 h 1344613"/>
              <a:gd name="connsiteX143" fmla="*/ 498662 w 1317625"/>
              <a:gd name="connsiteY143" fmla="*/ 971518 h 1344613"/>
              <a:gd name="connsiteX144" fmla="*/ 496794 w 1317625"/>
              <a:gd name="connsiteY144" fmla="*/ 963354 h 1344613"/>
              <a:gd name="connsiteX145" fmla="*/ 495394 w 1317625"/>
              <a:gd name="connsiteY145" fmla="*/ 955190 h 1344613"/>
              <a:gd name="connsiteX146" fmla="*/ 493526 w 1317625"/>
              <a:gd name="connsiteY146" fmla="*/ 944693 h 1344613"/>
              <a:gd name="connsiteX147" fmla="*/ 1037139 w 1317625"/>
              <a:gd name="connsiteY147" fmla="*/ 887842 h 1344613"/>
              <a:gd name="connsiteX148" fmla="*/ 1034397 w 1317625"/>
              <a:gd name="connsiteY148" fmla="*/ 890987 h 1344613"/>
              <a:gd name="connsiteX149" fmla="*/ 1031824 w 1317625"/>
              <a:gd name="connsiteY149" fmla="*/ 893151 h 1344613"/>
              <a:gd name="connsiteX150" fmla="*/ 1028823 w 1317625"/>
              <a:gd name="connsiteY150" fmla="*/ 895315 h 1344613"/>
              <a:gd name="connsiteX151" fmla="*/ 1028721 w 1317625"/>
              <a:gd name="connsiteY151" fmla="*/ 895358 h 1344613"/>
              <a:gd name="connsiteX152" fmla="*/ 1028767 w 1317625"/>
              <a:gd name="connsiteY152" fmla="*/ 895350 h 1344613"/>
              <a:gd name="connsiteX153" fmla="*/ 1030997 w 1317625"/>
              <a:gd name="connsiteY153" fmla="*/ 894292 h 1344613"/>
              <a:gd name="connsiteX154" fmla="*/ 1033673 w 1317625"/>
              <a:gd name="connsiteY154" fmla="*/ 892175 h 1344613"/>
              <a:gd name="connsiteX155" fmla="*/ 1035457 w 1317625"/>
              <a:gd name="connsiteY155" fmla="*/ 890058 h 1344613"/>
              <a:gd name="connsiteX156" fmla="*/ 297880 w 1317625"/>
              <a:gd name="connsiteY156" fmla="*/ 880096 h 1344613"/>
              <a:gd name="connsiteX157" fmla="*/ 300037 w 1317625"/>
              <a:gd name="connsiteY157" fmla="*/ 880334 h 1344613"/>
              <a:gd name="connsiteX158" fmla="*/ 300037 w 1317625"/>
              <a:gd name="connsiteY158" fmla="*/ 883468 h 1344613"/>
              <a:gd name="connsiteX159" fmla="*/ 300037 w 1317625"/>
              <a:gd name="connsiteY159" fmla="*/ 886601 h 1344613"/>
              <a:gd name="connsiteX160" fmla="*/ 298317 w 1317625"/>
              <a:gd name="connsiteY160" fmla="*/ 889735 h 1344613"/>
              <a:gd name="connsiteX161" fmla="*/ 296168 w 1317625"/>
              <a:gd name="connsiteY161" fmla="*/ 897047 h 1344613"/>
              <a:gd name="connsiteX162" fmla="*/ 292728 w 1317625"/>
              <a:gd name="connsiteY162" fmla="*/ 908014 h 1344613"/>
              <a:gd name="connsiteX163" fmla="*/ 289288 w 1317625"/>
              <a:gd name="connsiteY163" fmla="*/ 919504 h 1344613"/>
              <a:gd name="connsiteX164" fmla="*/ 285419 w 1317625"/>
              <a:gd name="connsiteY164" fmla="*/ 931516 h 1344613"/>
              <a:gd name="connsiteX165" fmla="*/ 282839 w 1317625"/>
              <a:gd name="connsiteY165" fmla="*/ 942484 h 1344613"/>
              <a:gd name="connsiteX166" fmla="*/ 280689 w 1317625"/>
              <a:gd name="connsiteY166" fmla="*/ 951363 h 1344613"/>
              <a:gd name="connsiteX167" fmla="*/ 280680 w 1317625"/>
              <a:gd name="connsiteY167" fmla="*/ 951487 h 1344613"/>
              <a:gd name="connsiteX168" fmla="*/ 282752 w 1317625"/>
              <a:gd name="connsiteY168" fmla="*/ 942942 h 1344613"/>
              <a:gd name="connsiteX169" fmla="*/ 285357 w 1317625"/>
              <a:gd name="connsiteY169" fmla="*/ 931877 h 1344613"/>
              <a:gd name="connsiteX170" fmla="*/ 289266 w 1317625"/>
              <a:gd name="connsiteY170" fmla="*/ 919758 h 1344613"/>
              <a:gd name="connsiteX171" fmla="*/ 292740 w 1317625"/>
              <a:gd name="connsiteY171" fmla="*/ 908165 h 1344613"/>
              <a:gd name="connsiteX172" fmla="*/ 296215 w 1317625"/>
              <a:gd name="connsiteY172" fmla="*/ 897100 h 1344613"/>
              <a:gd name="connsiteX173" fmla="*/ 298386 w 1317625"/>
              <a:gd name="connsiteY173" fmla="*/ 889723 h 1344613"/>
              <a:gd name="connsiteX174" fmla="*/ 300123 w 1317625"/>
              <a:gd name="connsiteY174" fmla="*/ 886562 h 1344613"/>
              <a:gd name="connsiteX175" fmla="*/ 300123 w 1317625"/>
              <a:gd name="connsiteY175" fmla="*/ 883400 h 1344613"/>
              <a:gd name="connsiteX176" fmla="*/ 300123 w 1317625"/>
              <a:gd name="connsiteY176" fmla="*/ 880239 h 1344613"/>
              <a:gd name="connsiteX177" fmla="*/ 276985 w 1317625"/>
              <a:gd name="connsiteY177" fmla="*/ 876326 h 1344613"/>
              <a:gd name="connsiteX178" fmla="*/ 278110 w 1317625"/>
              <a:gd name="connsiteY178" fmla="*/ 876678 h 1344613"/>
              <a:gd name="connsiteX179" fmla="*/ 284129 w 1317625"/>
              <a:gd name="connsiteY179" fmla="*/ 878245 h 1344613"/>
              <a:gd name="connsiteX180" fmla="*/ 287561 w 1317625"/>
              <a:gd name="connsiteY180" fmla="*/ 878840 h 1344613"/>
              <a:gd name="connsiteX181" fmla="*/ 284055 w 1317625"/>
              <a:gd name="connsiteY181" fmla="*/ 878131 h 1344613"/>
              <a:gd name="connsiteX182" fmla="*/ 243161 w 1317625"/>
              <a:gd name="connsiteY182" fmla="*/ 867038 h 1344613"/>
              <a:gd name="connsiteX183" fmla="*/ 252743 w 1317625"/>
              <a:gd name="connsiteY183" fmla="*/ 869366 h 1344613"/>
              <a:gd name="connsiteX184" fmla="*/ 264781 w 1317625"/>
              <a:gd name="connsiteY184" fmla="*/ 872500 h 1344613"/>
              <a:gd name="connsiteX185" fmla="*/ 274220 w 1317625"/>
              <a:gd name="connsiteY185" fmla="*/ 875459 h 1344613"/>
              <a:gd name="connsiteX186" fmla="*/ 268420 w 1317625"/>
              <a:gd name="connsiteY186" fmla="*/ 873389 h 1344613"/>
              <a:gd name="connsiteX187" fmla="*/ 260168 w 1317625"/>
              <a:gd name="connsiteY187" fmla="*/ 870755 h 1344613"/>
              <a:gd name="connsiteX188" fmla="*/ 252351 w 1317625"/>
              <a:gd name="connsiteY188" fmla="*/ 868647 h 1344613"/>
              <a:gd name="connsiteX189" fmla="*/ 243665 w 1317625"/>
              <a:gd name="connsiteY189" fmla="*/ 867066 h 1344613"/>
              <a:gd name="connsiteX190" fmla="*/ 966221 w 1317625"/>
              <a:gd name="connsiteY190" fmla="*/ 866642 h 1344613"/>
              <a:gd name="connsiteX191" fmla="*/ 965798 w 1317625"/>
              <a:gd name="connsiteY191" fmla="*/ 866909 h 1344613"/>
              <a:gd name="connsiteX192" fmla="*/ 966732 w 1317625"/>
              <a:gd name="connsiteY192" fmla="*/ 869543 h 1344613"/>
              <a:gd name="connsiteX193" fmla="*/ 467671 w 1317625"/>
              <a:gd name="connsiteY193" fmla="*/ 853571 h 1344613"/>
              <a:gd name="connsiteX194" fmla="*/ 459254 w 1317625"/>
              <a:gd name="connsiteY194" fmla="*/ 854046 h 1344613"/>
              <a:gd name="connsiteX195" fmla="*/ 463417 w 1317625"/>
              <a:gd name="connsiteY195" fmla="*/ 857582 h 1344613"/>
              <a:gd name="connsiteX196" fmla="*/ 465648 w 1317625"/>
              <a:gd name="connsiteY196" fmla="*/ 859872 h 1344613"/>
              <a:gd name="connsiteX197" fmla="*/ 435162 w 1317625"/>
              <a:gd name="connsiteY197" fmla="*/ 844060 h 1344613"/>
              <a:gd name="connsiteX198" fmla="*/ 433383 w 1317625"/>
              <a:gd name="connsiteY198" fmla="*/ 844587 h 1344613"/>
              <a:gd name="connsiteX199" fmla="*/ 431605 w 1317625"/>
              <a:gd name="connsiteY199" fmla="*/ 845641 h 1344613"/>
              <a:gd name="connsiteX200" fmla="*/ 430773 w 1317625"/>
              <a:gd name="connsiteY200" fmla="*/ 846381 h 1344613"/>
              <a:gd name="connsiteX201" fmla="*/ 433885 w 1317625"/>
              <a:gd name="connsiteY201" fmla="*/ 848097 h 1344613"/>
              <a:gd name="connsiteX202" fmla="*/ 440516 w 1317625"/>
              <a:gd name="connsiteY202" fmla="*/ 850396 h 1344613"/>
              <a:gd name="connsiteX203" fmla="*/ 439609 w 1317625"/>
              <a:gd name="connsiteY203" fmla="*/ 849858 h 1344613"/>
              <a:gd name="connsiteX204" fmla="*/ 437830 w 1317625"/>
              <a:gd name="connsiteY204" fmla="*/ 848277 h 1344613"/>
              <a:gd name="connsiteX205" fmla="*/ 436496 w 1317625"/>
              <a:gd name="connsiteY205" fmla="*/ 846168 h 1344613"/>
              <a:gd name="connsiteX206" fmla="*/ 646112 w 1317625"/>
              <a:gd name="connsiteY206" fmla="*/ 833438 h 1344613"/>
              <a:gd name="connsiteX207" fmla="*/ 644803 w 1317625"/>
              <a:gd name="connsiteY207" fmla="*/ 849416 h 1344613"/>
              <a:gd name="connsiteX208" fmla="*/ 643929 w 1317625"/>
              <a:gd name="connsiteY208" fmla="*/ 866007 h 1344613"/>
              <a:gd name="connsiteX209" fmla="*/ 643493 w 1317625"/>
              <a:gd name="connsiteY209" fmla="*/ 873382 h 1344613"/>
              <a:gd name="connsiteX210" fmla="*/ 643493 w 1317625"/>
              <a:gd name="connsiteY210" fmla="*/ 880756 h 1344613"/>
              <a:gd name="connsiteX211" fmla="*/ 643929 w 1317625"/>
              <a:gd name="connsiteY211" fmla="*/ 883828 h 1344613"/>
              <a:gd name="connsiteX212" fmla="*/ 644366 w 1317625"/>
              <a:gd name="connsiteY212" fmla="*/ 886287 h 1344613"/>
              <a:gd name="connsiteX213" fmla="*/ 644803 w 1317625"/>
              <a:gd name="connsiteY213" fmla="*/ 888745 h 1344613"/>
              <a:gd name="connsiteX214" fmla="*/ 645389 w 1317625"/>
              <a:gd name="connsiteY214" fmla="*/ 889570 h 1344613"/>
              <a:gd name="connsiteX215" fmla="*/ 646876 w 1317625"/>
              <a:gd name="connsiteY215" fmla="*/ 891025 h 1344613"/>
              <a:gd name="connsiteX216" fmla="*/ 647720 w 1317625"/>
              <a:gd name="connsiteY216" fmla="*/ 892573 h 1344613"/>
              <a:gd name="connsiteX217" fmla="*/ 648564 w 1317625"/>
              <a:gd name="connsiteY217" fmla="*/ 894636 h 1344613"/>
              <a:gd name="connsiteX218" fmla="*/ 649830 w 1317625"/>
              <a:gd name="connsiteY218" fmla="*/ 898764 h 1344613"/>
              <a:gd name="connsiteX219" fmla="*/ 651096 w 1317625"/>
              <a:gd name="connsiteY219" fmla="*/ 903923 h 1344613"/>
              <a:gd name="connsiteX220" fmla="*/ 651518 w 1317625"/>
              <a:gd name="connsiteY220" fmla="*/ 908051 h 1344613"/>
              <a:gd name="connsiteX221" fmla="*/ 651940 w 1317625"/>
              <a:gd name="connsiteY221" fmla="*/ 912694 h 1344613"/>
              <a:gd name="connsiteX222" fmla="*/ 652784 w 1317625"/>
              <a:gd name="connsiteY222" fmla="*/ 917338 h 1344613"/>
              <a:gd name="connsiteX223" fmla="*/ 654050 w 1317625"/>
              <a:gd name="connsiteY223" fmla="*/ 921981 h 1344613"/>
              <a:gd name="connsiteX224" fmla="*/ 654050 w 1317625"/>
              <a:gd name="connsiteY224" fmla="*/ 937975 h 1344613"/>
              <a:gd name="connsiteX225" fmla="*/ 649408 w 1317625"/>
              <a:gd name="connsiteY225" fmla="*/ 946746 h 1344613"/>
              <a:gd name="connsiteX226" fmla="*/ 645610 w 1317625"/>
              <a:gd name="connsiteY226" fmla="*/ 953969 h 1344613"/>
              <a:gd name="connsiteX227" fmla="*/ 643078 w 1317625"/>
              <a:gd name="connsiteY227" fmla="*/ 957581 h 1344613"/>
              <a:gd name="connsiteX228" fmla="*/ 641812 w 1317625"/>
              <a:gd name="connsiteY228" fmla="*/ 961708 h 1344613"/>
              <a:gd name="connsiteX229" fmla="*/ 640968 w 1317625"/>
              <a:gd name="connsiteY229" fmla="*/ 965320 h 1344613"/>
              <a:gd name="connsiteX230" fmla="*/ 640124 w 1317625"/>
              <a:gd name="connsiteY230" fmla="*/ 969963 h 1344613"/>
              <a:gd name="connsiteX231" fmla="*/ 637592 w 1317625"/>
              <a:gd name="connsiteY231" fmla="*/ 967383 h 1344613"/>
              <a:gd name="connsiteX232" fmla="*/ 634638 w 1317625"/>
              <a:gd name="connsiteY232" fmla="*/ 964804 h 1344613"/>
              <a:gd name="connsiteX233" fmla="*/ 632528 w 1317625"/>
              <a:gd name="connsiteY233" fmla="*/ 961708 h 1344613"/>
              <a:gd name="connsiteX234" fmla="*/ 629996 w 1317625"/>
              <a:gd name="connsiteY234" fmla="*/ 958097 h 1344613"/>
              <a:gd name="connsiteX235" fmla="*/ 628308 w 1317625"/>
              <a:gd name="connsiteY235" fmla="*/ 954485 h 1344613"/>
              <a:gd name="connsiteX236" fmla="*/ 627042 w 1317625"/>
              <a:gd name="connsiteY236" fmla="*/ 950873 h 1344613"/>
              <a:gd name="connsiteX237" fmla="*/ 625354 w 1317625"/>
              <a:gd name="connsiteY237" fmla="*/ 946746 h 1344613"/>
              <a:gd name="connsiteX238" fmla="*/ 624088 w 1317625"/>
              <a:gd name="connsiteY238" fmla="*/ 943134 h 1344613"/>
              <a:gd name="connsiteX239" fmla="*/ 622400 w 1317625"/>
              <a:gd name="connsiteY239" fmla="*/ 934363 h 1344613"/>
              <a:gd name="connsiteX240" fmla="*/ 621134 w 1317625"/>
              <a:gd name="connsiteY240" fmla="*/ 925077 h 1344613"/>
              <a:gd name="connsiteX241" fmla="*/ 620712 w 1317625"/>
              <a:gd name="connsiteY241" fmla="*/ 915790 h 1344613"/>
              <a:gd name="connsiteX242" fmla="*/ 620712 w 1317625"/>
              <a:gd name="connsiteY242" fmla="*/ 906503 h 1344613"/>
              <a:gd name="connsiteX243" fmla="*/ 623244 w 1317625"/>
              <a:gd name="connsiteY243" fmla="*/ 906503 h 1344613"/>
              <a:gd name="connsiteX244" fmla="*/ 625354 w 1317625"/>
              <a:gd name="connsiteY244" fmla="*/ 905987 h 1344613"/>
              <a:gd name="connsiteX245" fmla="*/ 627464 w 1317625"/>
              <a:gd name="connsiteY245" fmla="*/ 905471 h 1344613"/>
              <a:gd name="connsiteX246" fmla="*/ 628730 w 1317625"/>
              <a:gd name="connsiteY246" fmla="*/ 904439 h 1344613"/>
              <a:gd name="connsiteX247" fmla="*/ 631684 w 1317625"/>
              <a:gd name="connsiteY247" fmla="*/ 901859 h 1344613"/>
              <a:gd name="connsiteX248" fmla="*/ 633794 w 1317625"/>
              <a:gd name="connsiteY248" fmla="*/ 898764 h 1344613"/>
              <a:gd name="connsiteX249" fmla="*/ 636326 w 1317625"/>
              <a:gd name="connsiteY249" fmla="*/ 895668 h 1344613"/>
              <a:gd name="connsiteX250" fmla="*/ 638014 w 1317625"/>
              <a:gd name="connsiteY250" fmla="*/ 892573 h 1344613"/>
              <a:gd name="connsiteX251" fmla="*/ 639637 w 1317625"/>
              <a:gd name="connsiteY251" fmla="*/ 890588 h 1344613"/>
              <a:gd name="connsiteX252" fmla="*/ 634325 w 1317625"/>
              <a:gd name="connsiteY252" fmla="*/ 890588 h 1344613"/>
              <a:gd name="connsiteX253" fmla="*/ 633452 w 1317625"/>
              <a:gd name="connsiteY253" fmla="*/ 889974 h 1344613"/>
              <a:gd name="connsiteX254" fmla="*/ 632143 w 1317625"/>
              <a:gd name="connsiteY254" fmla="*/ 889359 h 1344613"/>
              <a:gd name="connsiteX255" fmla="*/ 631270 w 1317625"/>
              <a:gd name="connsiteY255" fmla="*/ 887516 h 1344613"/>
              <a:gd name="connsiteX256" fmla="*/ 630396 w 1317625"/>
              <a:gd name="connsiteY256" fmla="*/ 886287 h 1344613"/>
              <a:gd name="connsiteX257" fmla="*/ 629087 w 1317625"/>
              <a:gd name="connsiteY257" fmla="*/ 882599 h 1344613"/>
              <a:gd name="connsiteX258" fmla="*/ 628650 w 1317625"/>
              <a:gd name="connsiteY258" fmla="*/ 878298 h 1344613"/>
              <a:gd name="connsiteX259" fmla="*/ 629087 w 1317625"/>
              <a:gd name="connsiteY259" fmla="*/ 872767 h 1344613"/>
              <a:gd name="connsiteX260" fmla="*/ 629960 w 1317625"/>
              <a:gd name="connsiteY260" fmla="*/ 864164 h 1344613"/>
              <a:gd name="connsiteX261" fmla="*/ 631270 w 1317625"/>
              <a:gd name="connsiteY261" fmla="*/ 856175 h 1344613"/>
              <a:gd name="connsiteX262" fmla="*/ 631706 w 1317625"/>
              <a:gd name="connsiteY262" fmla="*/ 852488 h 1344613"/>
              <a:gd name="connsiteX263" fmla="*/ 633016 w 1317625"/>
              <a:gd name="connsiteY263" fmla="*/ 851874 h 1344613"/>
              <a:gd name="connsiteX264" fmla="*/ 634762 w 1317625"/>
              <a:gd name="connsiteY264" fmla="*/ 849416 h 1344613"/>
              <a:gd name="connsiteX265" fmla="*/ 637381 w 1317625"/>
              <a:gd name="connsiteY265" fmla="*/ 845728 h 1344613"/>
              <a:gd name="connsiteX266" fmla="*/ 639564 w 1317625"/>
              <a:gd name="connsiteY266" fmla="*/ 842656 h 1344613"/>
              <a:gd name="connsiteX267" fmla="*/ 643929 w 1317625"/>
              <a:gd name="connsiteY267" fmla="*/ 835896 h 1344613"/>
              <a:gd name="connsiteX268" fmla="*/ 963430 w 1317625"/>
              <a:gd name="connsiteY268" fmla="*/ 831987 h 1344613"/>
              <a:gd name="connsiteX269" fmla="*/ 963173 w 1317625"/>
              <a:gd name="connsiteY269" fmla="*/ 833829 h 1344613"/>
              <a:gd name="connsiteX270" fmla="*/ 961418 w 1317625"/>
              <a:gd name="connsiteY270" fmla="*/ 836456 h 1344613"/>
              <a:gd name="connsiteX271" fmla="*/ 959663 w 1317625"/>
              <a:gd name="connsiteY271" fmla="*/ 839083 h 1344613"/>
              <a:gd name="connsiteX272" fmla="*/ 957908 w 1317625"/>
              <a:gd name="connsiteY272" fmla="*/ 840660 h 1344613"/>
              <a:gd name="connsiteX273" fmla="*/ 955275 w 1317625"/>
              <a:gd name="connsiteY273" fmla="*/ 842761 h 1344613"/>
              <a:gd name="connsiteX274" fmla="*/ 953519 w 1317625"/>
              <a:gd name="connsiteY274" fmla="*/ 843812 h 1344613"/>
              <a:gd name="connsiteX275" fmla="*/ 952642 w 1317625"/>
              <a:gd name="connsiteY275" fmla="*/ 845389 h 1344613"/>
              <a:gd name="connsiteX276" fmla="*/ 952203 w 1317625"/>
              <a:gd name="connsiteY276" fmla="*/ 846965 h 1344613"/>
              <a:gd name="connsiteX277" fmla="*/ 944743 w 1317625"/>
              <a:gd name="connsiteY277" fmla="*/ 849592 h 1344613"/>
              <a:gd name="connsiteX278" fmla="*/ 938599 w 1317625"/>
              <a:gd name="connsiteY278" fmla="*/ 852745 h 1344613"/>
              <a:gd name="connsiteX279" fmla="*/ 932895 w 1317625"/>
              <a:gd name="connsiteY279" fmla="*/ 856423 h 1344613"/>
              <a:gd name="connsiteX280" fmla="*/ 929087 w 1317625"/>
              <a:gd name="connsiteY280" fmla="*/ 859462 h 1344613"/>
              <a:gd name="connsiteX281" fmla="*/ 936565 w 1317625"/>
              <a:gd name="connsiteY281" fmla="*/ 854944 h 1344613"/>
              <a:gd name="connsiteX282" fmla="*/ 944672 w 1317625"/>
              <a:gd name="connsiteY282" fmla="*/ 850819 h 1344613"/>
              <a:gd name="connsiteX283" fmla="*/ 951925 w 1317625"/>
              <a:gd name="connsiteY283" fmla="*/ 847725 h 1344613"/>
              <a:gd name="connsiteX284" fmla="*/ 951925 w 1317625"/>
              <a:gd name="connsiteY284" fmla="*/ 852366 h 1344613"/>
              <a:gd name="connsiteX285" fmla="*/ 951925 w 1317625"/>
              <a:gd name="connsiteY285" fmla="*/ 857006 h 1344613"/>
              <a:gd name="connsiteX286" fmla="*/ 952351 w 1317625"/>
              <a:gd name="connsiteY286" fmla="*/ 860615 h 1344613"/>
              <a:gd name="connsiteX287" fmla="*/ 953205 w 1317625"/>
              <a:gd name="connsiteY287" fmla="*/ 864224 h 1344613"/>
              <a:gd name="connsiteX288" fmla="*/ 953590 w 1317625"/>
              <a:gd name="connsiteY288" fmla="*/ 864689 h 1344613"/>
              <a:gd name="connsiteX289" fmla="*/ 952929 w 1317625"/>
              <a:gd name="connsiteY289" fmla="*/ 861773 h 1344613"/>
              <a:gd name="connsiteX290" fmla="*/ 952500 w 1317625"/>
              <a:gd name="connsiteY290" fmla="*/ 856905 h 1344613"/>
              <a:gd name="connsiteX291" fmla="*/ 952500 w 1317625"/>
              <a:gd name="connsiteY291" fmla="*/ 852036 h 1344613"/>
              <a:gd name="connsiteX292" fmla="*/ 952500 w 1317625"/>
              <a:gd name="connsiteY292" fmla="*/ 847167 h 1344613"/>
              <a:gd name="connsiteX293" fmla="*/ 952929 w 1317625"/>
              <a:gd name="connsiteY293" fmla="*/ 845544 h 1344613"/>
              <a:gd name="connsiteX294" fmla="*/ 953787 w 1317625"/>
              <a:gd name="connsiteY294" fmla="*/ 844462 h 1344613"/>
              <a:gd name="connsiteX295" fmla="*/ 955502 w 1317625"/>
              <a:gd name="connsiteY295" fmla="*/ 843380 h 1344613"/>
              <a:gd name="connsiteX296" fmla="*/ 958074 w 1317625"/>
              <a:gd name="connsiteY296" fmla="*/ 842298 h 1344613"/>
              <a:gd name="connsiteX297" fmla="*/ 959789 w 1317625"/>
              <a:gd name="connsiteY297" fmla="*/ 841216 h 1344613"/>
              <a:gd name="connsiteX298" fmla="*/ 961505 w 1317625"/>
              <a:gd name="connsiteY298" fmla="*/ 839052 h 1344613"/>
              <a:gd name="connsiteX299" fmla="*/ 962362 w 1317625"/>
              <a:gd name="connsiteY299" fmla="*/ 837970 h 1344613"/>
              <a:gd name="connsiteX300" fmla="*/ 963220 w 1317625"/>
              <a:gd name="connsiteY300" fmla="*/ 836888 h 1344613"/>
              <a:gd name="connsiteX301" fmla="*/ 963220 w 1317625"/>
              <a:gd name="connsiteY301" fmla="*/ 835265 h 1344613"/>
              <a:gd name="connsiteX302" fmla="*/ 963648 w 1317625"/>
              <a:gd name="connsiteY302" fmla="*/ 833642 h 1344613"/>
              <a:gd name="connsiteX303" fmla="*/ 875829 w 1317625"/>
              <a:gd name="connsiteY303" fmla="*/ 813822 h 1344613"/>
              <a:gd name="connsiteX304" fmla="*/ 870435 w 1317625"/>
              <a:gd name="connsiteY304" fmla="*/ 822771 h 1344613"/>
              <a:gd name="connsiteX305" fmla="*/ 872337 w 1317625"/>
              <a:gd name="connsiteY305" fmla="*/ 820167 h 1344613"/>
              <a:gd name="connsiteX306" fmla="*/ 875848 w 1317625"/>
              <a:gd name="connsiteY306" fmla="*/ 813862 h 1344613"/>
              <a:gd name="connsiteX307" fmla="*/ 933873 w 1317625"/>
              <a:gd name="connsiteY307" fmla="*/ 780327 h 1344613"/>
              <a:gd name="connsiteX308" fmla="*/ 939477 w 1317625"/>
              <a:gd name="connsiteY308" fmla="*/ 785488 h 1344613"/>
              <a:gd name="connsiteX309" fmla="*/ 942549 w 1317625"/>
              <a:gd name="connsiteY309" fmla="*/ 789167 h 1344613"/>
              <a:gd name="connsiteX310" fmla="*/ 944743 w 1317625"/>
              <a:gd name="connsiteY310" fmla="*/ 792845 h 1344613"/>
              <a:gd name="connsiteX311" fmla="*/ 947376 w 1317625"/>
              <a:gd name="connsiteY311" fmla="*/ 797048 h 1344613"/>
              <a:gd name="connsiteX312" fmla="*/ 948692 w 1317625"/>
              <a:gd name="connsiteY312" fmla="*/ 801252 h 1344613"/>
              <a:gd name="connsiteX313" fmla="*/ 952203 w 1317625"/>
              <a:gd name="connsiteY313" fmla="*/ 801252 h 1344613"/>
              <a:gd name="connsiteX314" fmla="*/ 954836 w 1317625"/>
              <a:gd name="connsiteY314" fmla="*/ 801252 h 1344613"/>
              <a:gd name="connsiteX315" fmla="*/ 953524 w 1317625"/>
              <a:gd name="connsiteY315" fmla="*/ 803346 h 1344613"/>
              <a:gd name="connsiteX316" fmla="*/ 953787 w 1317625"/>
              <a:gd name="connsiteY316" fmla="*/ 803346 h 1344613"/>
              <a:gd name="connsiteX317" fmla="*/ 955073 w 1317625"/>
              <a:gd name="connsiteY317" fmla="*/ 803346 h 1344613"/>
              <a:gd name="connsiteX318" fmla="*/ 954473 w 1317625"/>
              <a:gd name="connsiteY318" fmla="*/ 804355 h 1344613"/>
              <a:gd name="connsiteX319" fmla="*/ 953297 w 1317625"/>
              <a:gd name="connsiteY319" fmla="*/ 803753 h 1344613"/>
              <a:gd name="connsiteX320" fmla="*/ 952642 w 1317625"/>
              <a:gd name="connsiteY320" fmla="*/ 804930 h 1344613"/>
              <a:gd name="connsiteX321" fmla="*/ 952203 w 1317625"/>
              <a:gd name="connsiteY321" fmla="*/ 805981 h 1344613"/>
              <a:gd name="connsiteX322" fmla="*/ 952642 w 1317625"/>
              <a:gd name="connsiteY322" fmla="*/ 807557 h 1344613"/>
              <a:gd name="connsiteX323" fmla="*/ 952732 w 1317625"/>
              <a:gd name="connsiteY323" fmla="*/ 807880 h 1344613"/>
              <a:gd name="connsiteX324" fmla="*/ 952929 w 1317625"/>
              <a:gd name="connsiteY324" fmla="*/ 807133 h 1344613"/>
              <a:gd name="connsiteX325" fmla="*/ 953787 w 1317625"/>
              <a:gd name="connsiteY325" fmla="*/ 805510 h 1344613"/>
              <a:gd name="connsiteX326" fmla="*/ 954473 w 1317625"/>
              <a:gd name="connsiteY326" fmla="*/ 804355 h 1344613"/>
              <a:gd name="connsiteX327" fmla="*/ 986374 w 1317625"/>
              <a:gd name="connsiteY327" fmla="*/ 820658 h 1344613"/>
              <a:gd name="connsiteX328" fmla="*/ 994092 w 1317625"/>
              <a:gd name="connsiteY328" fmla="*/ 817953 h 1344613"/>
              <a:gd name="connsiteX329" fmla="*/ 995701 w 1317625"/>
              <a:gd name="connsiteY329" fmla="*/ 817163 h 1344613"/>
              <a:gd name="connsiteX330" fmla="*/ 989954 w 1317625"/>
              <a:gd name="connsiteY330" fmla="*/ 819150 h 1344613"/>
              <a:gd name="connsiteX331" fmla="*/ 956609 w 1317625"/>
              <a:gd name="connsiteY331" fmla="*/ 802341 h 1344613"/>
              <a:gd name="connsiteX332" fmla="*/ 953232 w 1317625"/>
              <a:gd name="connsiteY332" fmla="*/ 798664 h 1344613"/>
              <a:gd name="connsiteX333" fmla="*/ 950278 w 1317625"/>
              <a:gd name="connsiteY333" fmla="*/ 794987 h 1344613"/>
              <a:gd name="connsiteX334" fmla="*/ 947323 w 1317625"/>
              <a:gd name="connsiteY334" fmla="*/ 791836 h 1344613"/>
              <a:gd name="connsiteX335" fmla="*/ 943946 w 1317625"/>
              <a:gd name="connsiteY335" fmla="*/ 788684 h 1344613"/>
              <a:gd name="connsiteX336" fmla="*/ 936349 w 1317625"/>
              <a:gd name="connsiteY336" fmla="*/ 782381 h 1344613"/>
              <a:gd name="connsiteX337" fmla="*/ 742915 w 1317625"/>
              <a:gd name="connsiteY337" fmla="*/ 763881 h 1344613"/>
              <a:gd name="connsiteX338" fmla="*/ 744285 w 1317625"/>
              <a:gd name="connsiteY338" fmla="*/ 764212 h 1344613"/>
              <a:gd name="connsiteX339" fmla="*/ 745153 w 1317625"/>
              <a:gd name="connsiteY339" fmla="*/ 765260 h 1344613"/>
              <a:gd name="connsiteX340" fmla="*/ 746021 w 1317625"/>
              <a:gd name="connsiteY340" fmla="*/ 766309 h 1344613"/>
              <a:gd name="connsiteX341" fmla="*/ 746889 w 1317625"/>
              <a:gd name="connsiteY341" fmla="*/ 768405 h 1344613"/>
              <a:gd name="connsiteX342" fmla="*/ 747323 w 1317625"/>
              <a:gd name="connsiteY342" fmla="*/ 771026 h 1344613"/>
              <a:gd name="connsiteX343" fmla="*/ 745587 w 1317625"/>
              <a:gd name="connsiteY343" fmla="*/ 768405 h 1344613"/>
              <a:gd name="connsiteX344" fmla="*/ 744285 w 1317625"/>
              <a:gd name="connsiteY344" fmla="*/ 766309 h 1344613"/>
              <a:gd name="connsiteX345" fmla="*/ 742983 w 1317625"/>
              <a:gd name="connsiteY345" fmla="*/ 764212 h 1344613"/>
              <a:gd name="connsiteX346" fmla="*/ 1072988 w 1317625"/>
              <a:gd name="connsiteY346" fmla="*/ 753394 h 1344613"/>
              <a:gd name="connsiteX347" fmla="*/ 1073105 w 1317625"/>
              <a:gd name="connsiteY347" fmla="*/ 753491 h 1344613"/>
              <a:gd name="connsiteX348" fmla="*/ 1075637 w 1317625"/>
              <a:gd name="connsiteY348" fmla="*/ 755592 h 1344613"/>
              <a:gd name="connsiteX349" fmla="*/ 1078592 w 1317625"/>
              <a:gd name="connsiteY349" fmla="*/ 758218 h 1344613"/>
              <a:gd name="connsiteX350" fmla="*/ 1081426 w 1317625"/>
              <a:gd name="connsiteY350" fmla="*/ 759100 h 1344613"/>
              <a:gd name="connsiteX351" fmla="*/ 1079120 w 1317625"/>
              <a:gd name="connsiteY351" fmla="*/ 757854 h 1344613"/>
              <a:gd name="connsiteX352" fmla="*/ 1076079 w 1317625"/>
              <a:gd name="connsiteY352" fmla="*/ 755742 h 1344613"/>
              <a:gd name="connsiteX353" fmla="*/ 1067759 w 1317625"/>
              <a:gd name="connsiteY353" fmla="*/ 747713 h 1344613"/>
              <a:gd name="connsiteX354" fmla="*/ 1068462 w 1317625"/>
              <a:gd name="connsiteY354" fmla="*/ 748763 h 1344613"/>
              <a:gd name="connsiteX355" fmla="*/ 1070572 w 1317625"/>
              <a:gd name="connsiteY355" fmla="*/ 751390 h 1344613"/>
              <a:gd name="connsiteX356" fmla="*/ 1072534 w 1317625"/>
              <a:gd name="connsiteY356" fmla="*/ 753017 h 1344613"/>
              <a:gd name="connsiteX357" fmla="*/ 1069563 w 1317625"/>
              <a:gd name="connsiteY357" fmla="*/ 749406 h 1344613"/>
              <a:gd name="connsiteX358" fmla="*/ 1070723 w 1317625"/>
              <a:gd name="connsiteY358" fmla="*/ 747713 h 1344613"/>
              <a:gd name="connsiteX359" fmla="*/ 623094 w 1317625"/>
              <a:gd name="connsiteY359" fmla="*/ 739678 h 1344613"/>
              <a:gd name="connsiteX360" fmla="*/ 620903 w 1317625"/>
              <a:gd name="connsiteY360" fmla="*/ 741759 h 1344613"/>
              <a:gd name="connsiteX361" fmla="*/ 622778 w 1317625"/>
              <a:gd name="connsiteY361" fmla="*/ 740627 h 1344613"/>
              <a:gd name="connsiteX362" fmla="*/ 623139 w 1317625"/>
              <a:gd name="connsiteY362" fmla="*/ 740191 h 1344613"/>
              <a:gd name="connsiteX363" fmla="*/ 805058 w 1317625"/>
              <a:gd name="connsiteY363" fmla="*/ 716926 h 1344613"/>
              <a:gd name="connsiteX364" fmla="*/ 800977 w 1317625"/>
              <a:gd name="connsiteY364" fmla="*/ 720363 h 1344613"/>
              <a:gd name="connsiteX365" fmla="*/ 802971 w 1317625"/>
              <a:gd name="connsiteY365" fmla="*/ 721960 h 1344613"/>
              <a:gd name="connsiteX366" fmla="*/ 805319 w 1317625"/>
              <a:gd name="connsiteY366" fmla="*/ 725488 h 1344613"/>
              <a:gd name="connsiteX367" fmla="*/ 807668 w 1317625"/>
              <a:gd name="connsiteY367" fmla="*/ 729016 h 1344613"/>
              <a:gd name="connsiteX368" fmla="*/ 808972 w 1317625"/>
              <a:gd name="connsiteY368" fmla="*/ 730897 h 1344613"/>
              <a:gd name="connsiteX369" fmla="*/ 809190 w 1317625"/>
              <a:gd name="connsiteY369" fmla="*/ 730713 h 1344613"/>
              <a:gd name="connsiteX370" fmla="*/ 812235 w 1317625"/>
              <a:gd name="connsiteY370" fmla="*/ 728663 h 1344613"/>
              <a:gd name="connsiteX371" fmla="*/ 816584 w 1317625"/>
              <a:gd name="connsiteY371" fmla="*/ 732764 h 1344613"/>
              <a:gd name="connsiteX372" fmla="*/ 820933 w 1317625"/>
              <a:gd name="connsiteY372" fmla="*/ 735839 h 1344613"/>
              <a:gd name="connsiteX373" fmla="*/ 825718 w 1317625"/>
              <a:gd name="connsiteY373" fmla="*/ 739427 h 1344613"/>
              <a:gd name="connsiteX374" fmla="*/ 830502 w 1317625"/>
              <a:gd name="connsiteY374" fmla="*/ 741990 h 1344613"/>
              <a:gd name="connsiteX375" fmla="*/ 835286 w 1317625"/>
              <a:gd name="connsiteY375" fmla="*/ 744552 h 1344613"/>
              <a:gd name="connsiteX376" fmla="*/ 840940 w 1317625"/>
              <a:gd name="connsiteY376" fmla="*/ 746090 h 1344613"/>
              <a:gd name="connsiteX377" fmla="*/ 846594 w 1317625"/>
              <a:gd name="connsiteY377" fmla="*/ 747628 h 1344613"/>
              <a:gd name="connsiteX378" fmla="*/ 853118 w 1317625"/>
              <a:gd name="connsiteY378" fmla="*/ 747628 h 1344613"/>
              <a:gd name="connsiteX379" fmla="*/ 857033 w 1317625"/>
              <a:gd name="connsiteY379" fmla="*/ 747115 h 1344613"/>
              <a:gd name="connsiteX380" fmla="*/ 860077 w 1317625"/>
              <a:gd name="connsiteY380" fmla="*/ 746090 h 1344613"/>
              <a:gd name="connsiteX381" fmla="*/ 863557 w 1317625"/>
              <a:gd name="connsiteY381" fmla="*/ 745065 h 1344613"/>
              <a:gd name="connsiteX382" fmla="*/ 865029 w 1317625"/>
              <a:gd name="connsiteY382" fmla="*/ 744872 h 1344613"/>
              <a:gd name="connsiteX383" fmla="*/ 864928 w 1317625"/>
              <a:gd name="connsiteY383" fmla="*/ 744538 h 1344613"/>
              <a:gd name="connsiteX384" fmla="*/ 841873 w 1317625"/>
              <a:gd name="connsiteY384" fmla="*/ 744538 h 1344613"/>
              <a:gd name="connsiteX385" fmla="*/ 835823 w 1317625"/>
              <a:gd name="connsiteY385" fmla="*/ 741498 h 1344613"/>
              <a:gd name="connsiteX386" fmla="*/ 830206 w 1317625"/>
              <a:gd name="connsiteY386" fmla="*/ 738458 h 1344613"/>
              <a:gd name="connsiteX387" fmla="*/ 825453 w 1317625"/>
              <a:gd name="connsiteY387" fmla="*/ 734912 h 1344613"/>
              <a:gd name="connsiteX388" fmla="*/ 820700 w 1317625"/>
              <a:gd name="connsiteY388" fmla="*/ 731872 h 1344613"/>
              <a:gd name="connsiteX389" fmla="*/ 815947 w 1317625"/>
              <a:gd name="connsiteY389" fmla="*/ 727819 h 1344613"/>
              <a:gd name="connsiteX390" fmla="*/ 811626 w 1317625"/>
              <a:gd name="connsiteY390" fmla="*/ 723765 h 1344613"/>
              <a:gd name="connsiteX391" fmla="*/ 806872 w 1317625"/>
              <a:gd name="connsiteY391" fmla="*/ 718699 h 1344613"/>
              <a:gd name="connsiteX392" fmla="*/ 880446 w 1317625"/>
              <a:gd name="connsiteY392" fmla="*/ 673940 h 1344613"/>
              <a:gd name="connsiteX393" fmla="*/ 880100 w 1317625"/>
              <a:gd name="connsiteY393" fmla="*/ 673966 h 1344613"/>
              <a:gd name="connsiteX394" fmla="*/ 878077 w 1317625"/>
              <a:gd name="connsiteY394" fmla="*/ 675175 h 1344613"/>
              <a:gd name="connsiteX395" fmla="*/ 1046103 w 1317625"/>
              <a:gd name="connsiteY395" fmla="*/ 668088 h 1344613"/>
              <a:gd name="connsiteX396" fmla="*/ 1043927 w 1317625"/>
              <a:gd name="connsiteY396" fmla="*/ 669180 h 1344613"/>
              <a:gd name="connsiteX397" fmla="*/ 1060252 w 1317625"/>
              <a:gd name="connsiteY397" fmla="*/ 678131 h 1344613"/>
              <a:gd name="connsiteX398" fmla="*/ 1072307 w 1317625"/>
              <a:gd name="connsiteY398" fmla="*/ 684316 h 1344613"/>
              <a:gd name="connsiteX399" fmla="*/ 1084362 w 1317625"/>
              <a:gd name="connsiteY399" fmla="*/ 700810 h 1344613"/>
              <a:gd name="connsiteX400" fmla="*/ 1093292 w 1317625"/>
              <a:gd name="connsiteY400" fmla="*/ 716272 h 1344613"/>
              <a:gd name="connsiteX401" fmla="*/ 1104900 w 1317625"/>
              <a:gd name="connsiteY401" fmla="*/ 729158 h 1344613"/>
              <a:gd name="connsiteX402" fmla="*/ 1087041 w 1317625"/>
              <a:gd name="connsiteY402" fmla="*/ 732250 h 1344613"/>
              <a:gd name="connsiteX403" fmla="*/ 1075432 w 1317625"/>
              <a:gd name="connsiteY403" fmla="*/ 735343 h 1344613"/>
              <a:gd name="connsiteX404" fmla="*/ 1075432 w 1317625"/>
              <a:gd name="connsiteY404" fmla="*/ 740844 h 1344613"/>
              <a:gd name="connsiteX405" fmla="*/ 1078251 w 1317625"/>
              <a:gd name="connsiteY405" fmla="*/ 736733 h 1344613"/>
              <a:gd name="connsiteX406" fmla="*/ 1089547 w 1317625"/>
              <a:gd name="connsiteY406" fmla="*/ 733564 h 1344613"/>
              <a:gd name="connsiteX407" fmla="*/ 1106924 w 1317625"/>
              <a:gd name="connsiteY407" fmla="*/ 730396 h 1344613"/>
              <a:gd name="connsiteX408" fmla="*/ 1095629 w 1317625"/>
              <a:gd name="connsiteY408" fmla="*/ 717195 h 1344613"/>
              <a:gd name="connsiteX409" fmla="*/ 1086940 w 1317625"/>
              <a:gd name="connsiteY409" fmla="*/ 701354 h 1344613"/>
              <a:gd name="connsiteX410" fmla="*/ 1075210 w 1317625"/>
              <a:gd name="connsiteY410" fmla="*/ 684457 h 1344613"/>
              <a:gd name="connsiteX411" fmla="*/ 1063480 w 1317625"/>
              <a:gd name="connsiteY411" fmla="*/ 678120 h 1344613"/>
              <a:gd name="connsiteX412" fmla="*/ 818540 w 1317625"/>
              <a:gd name="connsiteY412" fmla="*/ 648759 h 1344613"/>
              <a:gd name="connsiteX413" fmla="*/ 819112 w 1317625"/>
              <a:gd name="connsiteY413" fmla="*/ 649143 h 1344613"/>
              <a:gd name="connsiteX414" fmla="*/ 820830 w 1317625"/>
              <a:gd name="connsiteY414" fmla="*/ 650298 h 1344613"/>
              <a:gd name="connsiteX415" fmla="*/ 822977 w 1317625"/>
              <a:gd name="connsiteY415" fmla="*/ 652607 h 1344613"/>
              <a:gd name="connsiteX416" fmla="*/ 825125 w 1317625"/>
              <a:gd name="connsiteY416" fmla="*/ 654339 h 1344613"/>
              <a:gd name="connsiteX417" fmla="*/ 827272 w 1317625"/>
              <a:gd name="connsiteY417" fmla="*/ 655493 h 1344613"/>
              <a:gd name="connsiteX418" fmla="*/ 829420 w 1317625"/>
              <a:gd name="connsiteY418" fmla="*/ 656648 h 1344613"/>
              <a:gd name="connsiteX419" fmla="*/ 831567 w 1317625"/>
              <a:gd name="connsiteY419" fmla="*/ 657225 h 1344613"/>
              <a:gd name="connsiteX420" fmla="*/ 833715 w 1317625"/>
              <a:gd name="connsiteY420" fmla="*/ 657802 h 1344613"/>
              <a:gd name="connsiteX421" fmla="*/ 835433 w 1317625"/>
              <a:gd name="connsiteY421" fmla="*/ 657802 h 1344613"/>
              <a:gd name="connsiteX422" fmla="*/ 837580 w 1317625"/>
              <a:gd name="connsiteY422" fmla="*/ 657225 h 1344613"/>
              <a:gd name="connsiteX423" fmla="*/ 839298 w 1317625"/>
              <a:gd name="connsiteY423" fmla="*/ 656648 h 1344613"/>
              <a:gd name="connsiteX424" fmla="*/ 839585 w 1317625"/>
              <a:gd name="connsiteY424" fmla="*/ 656519 h 1344613"/>
              <a:gd name="connsiteX425" fmla="*/ 838991 w 1317625"/>
              <a:gd name="connsiteY425" fmla="*/ 656696 h 1344613"/>
              <a:gd name="connsiteX426" fmla="*/ 836771 w 1317625"/>
              <a:gd name="connsiteY426" fmla="*/ 657226 h 1344613"/>
              <a:gd name="connsiteX427" fmla="*/ 834995 w 1317625"/>
              <a:gd name="connsiteY427" fmla="*/ 657226 h 1344613"/>
              <a:gd name="connsiteX428" fmla="*/ 832775 w 1317625"/>
              <a:gd name="connsiteY428" fmla="*/ 656696 h 1344613"/>
              <a:gd name="connsiteX429" fmla="*/ 830555 w 1317625"/>
              <a:gd name="connsiteY429" fmla="*/ 656167 h 1344613"/>
              <a:gd name="connsiteX430" fmla="*/ 828335 w 1317625"/>
              <a:gd name="connsiteY430" fmla="*/ 655109 h 1344613"/>
              <a:gd name="connsiteX431" fmla="*/ 826115 w 1317625"/>
              <a:gd name="connsiteY431" fmla="*/ 654051 h 1344613"/>
              <a:gd name="connsiteX432" fmla="*/ 823895 w 1317625"/>
              <a:gd name="connsiteY432" fmla="*/ 652463 h 1344613"/>
              <a:gd name="connsiteX433" fmla="*/ 821676 w 1317625"/>
              <a:gd name="connsiteY433" fmla="*/ 650346 h 1344613"/>
              <a:gd name="connsiteX434" fmla="*/ 819900 w 1317625"/>
              <a:gd name="connsiteY434" fmla="*/ 649288 h 1344613"/>
              <a:gd name="connsiteX435" fmla="*/ 819012 w 1317625"/>
              <a:gd name="connsiteY435" fmla="*/ 648759 h 1344613"/>
              <a:gd name="connsiteX436" fmla="*/ 861741 w 1317625"/>
              <a:gd name="connsiteY436" fmla="*/ 638002 h 1344613"/>
              <a:gd name="connsiteX437" fmla="*/ 859415 w 1317625"/>
              <a:gd name="connsiteY437" fmla="*/ 639234 h 1344613"/>
              <a:gd name="connsiteX438" fmla="*/ 859240 w 1317625"/>
              <a:gd name="connsiteY438" fmla="*/ 639339 h 1344613"/>
              <a:gd name="connsiteX439" fmla="*/ 861202 w 1317625"/>
              <a:gd name="connsiteY439" fmla="*/ 638752 h 1344613"/>
              <a:gd name="connsiteX440" fmla="*/ 862920 w 1317625"/>
              <a:gd name="connsiteY440" fmla="*/ 638175 h 1344613"/>
              <a:gd name="connsiteX441" fmla="*/ 863832 w 1317625"/>
              <a:gd name="connsiteY441" fmla="*/ 638175 h 1344613"/>
              <a:gd name="connsiteX442" fmla="*/ 707626 w 1317625"/>
              <a:gd name="connsiteY442" fmla="*/ 617607 h 1344613"/>
              <a:gd name="connsiteX443" fmla="*/ 709562 w 1317625"/>
              <a:gd name="connsiteY443" fmla="*/ 623001 h 1344613"/>
              <a:gd name="connsiteX444" fmla="*/ 712062 w 1317625"/>
              <a:gd name="connsiteY444" fmla="*/ 629337 h 1344613"/>
              <a:gd name="connsiteX445" fmla="*/ 713313 w 1317625"/>
              <a:gd name="connsiteY445" fmla="*/ 632505 h 1344613"/>
              <a:gd name="connsiteX446" fmla="*/ 715397 w 1317625"/>
              <a:gd name="connsiteY446" fmla="*/ 635673 h 1344613"/>
              <a:gd name="connsiteX447" fmla="*/ 717898 w 1317625"/>
              <a:gd name="connsiteY447" fmla="*/ 639369 h 1344613"/>
              <a:gd name="connsiteX448" fmla="*/ 720815 w 1317625"/>
              <a:gd name="connsiteY448" fmla="*/ 643593 h 1344613"/>
              <a:gd name="connsiteX449" fmla="*/ 724984 w 1317625"/>
              <a:gd name="connsiteY449" fmla="*/ 647289 h 1344613"/>
              <a:gd name="connsiteX450" fmla="*/ 729985 w 1317625"/>
              <a:gd name="connsiteY450" fmla="*/ 651513 h 1344613"/>
              <a:gd name="connsiteX451" fmla="*/ 736237 w 1317625"/>
              <a:gd name="connsiteY451" fmla="*/ 655737 h 1344613"/>
              <a:gd name="connsiteX452" fmla="*/ 743740 w 1317625"/>
              <a:gd name="connsiteY452" fmla="*/ 660489 h 1344613"/>
              <a:gd name="connsiteX453" fmla="*/ 738321 w 1317625"/>
              <a:gd name="connsiteY453" fmla="*/ 662073 h 1344613"/>
              <a:gd name="connsiteX454" fmla="*/ 732903 w 1317625"/>
              <a:gd name="connsiteY454" fmla="*/ 663657 h 1344613"/>
              <a:gd name="connsiteX455" fmla="*/ 732903 w 1317625"/>
              <a:gd name="connsiteY455" fmla="*/ 667353 h 1344613"/>
              <a:gd name="connsiteX456" fmla="*/ 732069 w 1317625"/>
              <a:gd name="connsiteY456" fmla="*/ 672104 h 1344613"/>
              <a:gd name="connsiteX457" fmla="*/ 731652 w 1317625"/>
              <a:gd name="connsiteY457" fmla="*/ 674744 h 1344613"/>
              <a:gd name="connsiteX458" fmla="*/ 730819 w 1317625"/>
              <a:gd name="connsiteY458" fmla="*/ 676856 h 1344613"/>
              <a:gd name="connsiteX459" fmla="*/ 729152 w 1317625"/>
              <a:gd name="connsiteY459" fmla="*/ 678968 h 1344613"/>
              <a:gd name="connsiteX460" fmla="*/ 727484 w 1317625"/>
              <a:gd name="connsiteY460" fmla="*/ 680024 h 1344613"/>
              <a:gd name="connsiteX461" fmla="*/ 728318 w 1317625"/>
              <a:gd name="connsiteY461" fmla="*/ 683192 h 1344613"/>
              <a:gd name="connsiteX462" fmla="*/ 729985 w 1317625"/>
              <a:gd name="connsiteY462" fmla="*/ 686360 h 1344613"/>
              <a:gd name="connsiteX463" fmla="*/ 732903 w 1317625"/>
              <a:gd name="connsiteY463" fmla="*/ 690056 h 1344613"/>
              <a:gd name="connsiteX464" fmla="*/ 735821 w 1317625"/>
              <a:gd name="connsiteY464" fmla="*/ 693224 h 1344613"/>
              <a:gd name="connsiteX465" fmla="*/ 728735 w 1317625"/>
              <a:gd name="connsiteY465" fmla="*/ 694280 h 1344613"/>
              <a:gd name="connsiteX466" fmla="*/ 720815 w 1317625"/>
              <a:gd name="connsiteY466" fmla="*/ 695336 h 1344613"/>
              <a:gd name="connsiteX467" fmla="*/ 712062 w 1317625"/>
              <a:gd name="connsiteY467" fmla="*/ 696392 h 1344613"/>
              <a:gd name="connsiteX468" fmla="*/ 702893 w 1317625"/>
              <a:gd name="connsiteY468" fmla="*/ 696920 h 1344613"/>
              <a:gd name="connsiteX469" fmla="*/ 692889 w 1317625"/>
              <a:gd name="connsiteY469" fmla="*/ 697448 h 1344613"/>
              <a:gd name="connsiteX470" fmla="*/ 682886 w 1317625"/>
              <a:gd name="connsiteY470" fmla="*/ 697448 h 1344613"/>
              <a:gd name="connsiteX471" fmla="*/ 672883 w 1317625"/>
              <a:gd name="connsiteY471" fmla="*/ 696920 h 1344613"/>
              <a:gd name="connsiteX472" fmla="*/ 663296 w 1317625"/>
              <a:gd name="connsiteY472" fmla="*/ 696392 h 1344613"/>
              <a:gd name="connsiteX473" fmla="*/ 661491 w 1317625"/>
              <a:gd name="connsiteY473" fmla="*/ 696512 h 1344613"/>
              <a:gd name="connsiteX474" fmla="*/ 650859 w 1317625"/>
              <a:gd name="connsiteY474" fmla="*/ 713906 h 1344613"/>
              <a:gd name="connsiteX475" fmla="*/ 650859 w 1317625"/>
              <a:gd name="connsiteY475" fmla="*/ 715704 h 1344613"/>
              <a:gd name="connsiteX476" fmla="*/ 650018 w 1317625"/>
              <a:gd name="connsiteY476" fmla="*/ 717502 h 1344613"/>
              <a:gd name="connsiteX477" fmla="*/ 649176 w 1317625"/>
              <a:gd name="connsiteY477" fmla="*/ 718700 h 1344613"/>
              <a:gd name="connsiteX478" fmla="*/ 648756 w 1317625"/>
              <a:gd name="connsiteY478" fmla="*/ 719899 h 1344613"/>
              <a:gd name="connsiteX479" fmla="*/ 647073 w 1317625"/>
              <a:gd name="connsiteY479" fmla="*/ 722297 h 1344613"/>
              <a:gd name="connsiteX480" fmla="*/ 646652 w 1317625"/>
              <a:gd name="connsiteY480" fmla="*/ 723495 h 1344613"/>
              <a:gd name="connsiteX481" fmla="*/ 646652 w 1317625"/>
              <a:gd name="connsiteY481" fmla="*/ 724694 h 1344613"/>
              <a:gd name="connsiteX482" fmla="*/ 647073 w 1317625"/>
              <a:gd name="connsiteY482" fmla="*/ 725293 h 1344613"/>
              <a:gd name="connsiteX483" fmla="*/ 647914 w 1317625"/>
              <a:gd name="connsiteY483" fmla="*/ 725293 h 1344613"/>
              <a:gd name="connsiteX484" fmla="*/ 649597 w 1317625"/>
              <a:gd name="connsiteY484" fmla="*/ 725893 h 1344613"/>
              <a:gd name="connsiteX485" fmla="*/ 655486 w 1317625"/>
              <a:gd name="connsiteY485" fmla="*/ 727092 h 1344613"/>
              <a:gd name="connsiteX486" fmla="*/ 665162 w 1317625"/>
              <a:gd name="connsiteY486" fmla="*/ 728290 h 1344613"/>
              <a:gd name="connsiteX487" fmla="*/ 663059 w 1317625"/>
              <a:gd name="connsiteY487" fmla="*/ 728890 h 1344613"/>
              <a:gd name="connsiteX488" fmla="*/ 659273 w 1317625"/>
              <a:gd name="connsiteY488" fmla="*/ 731287 h 1344613"/>
              <a:gd name="connsiteX489" fmla="*/ 655486 w 1317625"/>
              <a:gd name="connsiteY489" fmla="*/ 734284 h 1344613"/>
              <a:gd name="connsiteX490" fmla="*/ 650859 w 1317625"/>
              <a:gd name="connsiteY490" fmla="*/ 739079 h 1344613"/>
              <a:gd name="connsiteX491" fmla="*/ 646231 w 1317625"/>
              <a:gd name="connsiteY491" fmla="*/ 743275 h 1344613"/>
              <a:gd name="connsiteX492" fmla="*/ 644682 w 1317625"/>
              <a:gd name="connsiteY492" fmla="*/ 744820 h 1344613"/>
              <a:gd name="connsiteX493" fmla="*/ 646646 w 1317625"/>
              <a:gd name="connsiteY493" fmla="*/ 744820 h 1344613"/>
              <a:gd name="connsiteX494" fmla="*/ 648381 w 1317625"/>
              <a:gd name="connsiteY494" fmla="*/ 742199 h 1344613"/>
              <a:gd name="connsiteX495" fmla="*/ 652287 w 1317625"/>
              <a:gd name="connsiteY495" fmla="*/ 739055 h 1344613"/>
              <a:gd name="connsiteX496" fmla="*/ 657060 w 1317625"/>
              <a:gd name="connsiteY496" fmla="*/ 735386 h 1344613"/>
              <a:gd name="connsiteX497" fmla="*/ 662268 w 1317625"/>
              <a:gd name="connsiteY497" fmla="*/ 731717 h 1344613"/>
              <a:gd name="connsiteX498" fmla="*/ 667909 w 1317625"/>
              <a:gd name="connsiteY498" fmla="*/ 727524 h 1344613"/>
              <a:gd name="connsiteX499" fmla="*/ 672683 w 1317625"/>
              <a:gd name="connsiteY499" fmla="*/ 724903 h 1344613"/>
              <a:gd name="connsiteX500" fmla="*/ 676154 w 1317625"/>
              <a:gd name="connsiteY500" fmla="*/ 722807 h 1344613"/>
              <a:gd name="connsiteX501" fmla="*/ 678324 w 1317625"/>
              <a:gd name="connsiteY501" fmla="*/ 722283 h 1344613"/>
              <a:gd name="connsiteX502" fmla="*/ 706965 w 1317625"/>
              <a:gd name="connsiteY502" fmla="*/ 719138 h 1344613"/>
              <a:gd name="connsiteX503" fmla="*/ 708701 w 1317625"/>
              <a:gd name="connsiteY503" fmla="*/ 721235 h 1344613"/>
              <a:gd name="connsiteX504" fmla="*/ 710871 w 1317625"/>
              <a:gd name="connsiteY504" fmla="*/ 723331 h 1344613"/>
              <a:gd name="connsiteX505" fmla="*/ 712606 w 1317625"/>
              <a:gd name="connsiteY505" fmla="*/ 724903 h 1344613"/>
              <a:gd name="connsiteX506" fmla="*/ 714776 w 1317625"/>
              <a:gd name="connsiteY506" fmla="*/ 725952 h 1344613"/>
              <a:gd name="connsiteX507" fmla="*/ 718682 w 1317625"/>
              <a:gd name="connsiteY507" fmla="*/ 727524 h 1344613"/>
              <a:gd name="connsiteX508" fmla="*/ 724323 w 1317625"/>
              <a:gd name="connsiteY508" fmla="*/ 729096 h 1344613"/>
              <a:gd name="connsiteX509" fmla="*/ 726189 w 1317625"/>
              <a:gd name="connsiteY509" fmla="*/ 729186 h 1344613"/>
              <a:gd name="connsiteX510" fmla="*/ 723036 w 1317625"/>
              <a:gd name="connsiteY510" fmla="*/ 728191 h 1344613"/>
              <a:gd name="connsiteX511" fmla="*/ 718144 w 1317625"/>
              <a:gd name="connsiteY511" fmla="*/ 726646 h 1344613"/>
              <a:gd name="connsiteX512" fmla="*/ 714142 w 1317625"/>
              <a:gd name="connsiteY512" fmla="*/ 724587 h 1344613"/>
              <a:gd name="connsiteX513" fmla="*/ 711919 w 1317625"/>
              <a:gd name="connsiteY513" fmla="*/ 723042 h 1344613"/>
              <a:gd name="connsiteX514" fmla="*/ 710140 w 1317625"/>
              <a:gd name="connsiteY514" fmla="*/ 721497 h 1344613"/>
              <a:gd name="connsiteX515" fmla="*/ 707917 w 1317625"/>
              <a:gd name="connsiteY515" fmla="*/ 719438 h 1344613"/>
              <a:gd name="connsiteX516" fmla="*/ 706138 w 1317625"/>
              <a:gd name="connsiteY516" fmla="*/ 717379 h 1344613"/>
              <a:gd name="connsiteX517" fmla="*/ 679903 w 1317625"/>
              <a:gd name="connsiteY517" fmla="*/ 720468 h 1344613"/>
              <a:gd name="connsiteX518" fmla="*/ 669676 w 1317625"/>
              <a:gd name="connsiteY518" fmla="*/ 721497 h 1344613"/>
              <a:gd name="connsiteX519" fmla="*/ 662561 w 1317625"/>
              <a:gd name="connsiteY519" fmla="*/ 721497 h 1344613"/>
              <a:gd name="connsiteX520" fmla="*/ 660338 w 1317625"/>
              <a:gd name="connsiteY520" fmla="*/ 721497 h 1344613"/>
              <a:gd name="connsiteX521" fmla="*/ 659004 w 1317625"/>
              <a:gd name="connsiteY521" fmla="*/ 721497 h 1344613"/>
              <a:gd name="connsiteX522" fmla="*/ 657670 w 1317625"/>
              <a:gd name="connsiteY522" fmla="*/ 720983 h 1344613"/>
              <a:gd name="connsiteX523" fmla="*/ 657225 w 1317625"/>
              <a:gd name="connsiteY523" fmla="*/ 720468 h 1344613"/>
              <a:gd name="connsiteX524" fmla="*/ 657670 w 1317625"/>
              <a:gd name="connsiteY524" fmla="*/ 716864 h 1344613"/>
              <a:gd name="connsiteX525" fmla="*/ 659004 w 1317625"/>
              <a:gd name="connsiteY525" fmla="*/ 711200 h 1344613"/>
              <a:gd name="connsiteX526" fmla="*/ 674123 w 1317625"/>
              <a:gd name="connsiteY526" fmla="*/ 701933 h 1344613"/>
              <a:gd name="connsiteX527" fmla="*/ 680348 w 1317625"/>
              <a:gd name="connsiteY527" fmla="*/ 702962 h 1344613"/>
              <a:gd name="connsiteX528" fmla="*/ 686128 w 1317625"/>
              <a:gd name="connsiteY528" fmla="*/ 703477 h 1344613"/>
              <a:gd name="connsiteX529" fmla="*/ 691464 w 1317625"/>
              <a:gd name="connsiteY529" fmla="*/ 703992 h 1344613"/>
              <a:gd name="connsiteX530" fmla="*/ 696356 w 1317625"/>
              <a:gd name="connsiteY530" fmla="*/ 703992 h 1344613"/>
              <a:gd name="connsiteX531" fmla="*/ 705249 w 1317625"/>
              <a:gd name="connsiteY531" fmla="*/ 703477 h 1344613"/>
              <a:gd name="connsiteX532" fmla="*/ 712808 w 1317625"/>
              <a:gd name="connsiteY532" fmla="*/ 701933 h 1344613"/>
              <a:gd name="connsiteX533" fmla="*/ 726148 w 1317625"/>
              <a:gd name="connsiteY533" fmla="*/ 698329 h 1344613"/>
              <a:gd name="connsiteX534" fmla="*/ 739044 w 1317625"/>
              <a:gd name="connsiteY534" fmla="*/ 695239 h 1344613"/>
              <a:gd name="connsiteX535" fmla="*/ 735931 w 1317625"/>
              <a:gd name="connsiteY535" fmla="*/ 692150 h 1344613"/>
              <a:gd name="connsiteX536" fmla="*/ 732818 w 1317625"/>
              <a:gd name="connsiteY536" fmla="*/ 688546 h 1344613"/>
              <a:gd name="connsiteX537" fmla="*/ 731040 w 1317625"/>
              <a:gd name="connsiteY537" fmla="*/ 685457 h 1344613"/>
              <a:gd name="connsiteX538" fmla="*/ 730150 w 1317625"/>
              <a:gd name="connsiteY538" fmla="*/ 682368 h 1344613"/>
              <a:gd name="connsiteX539" fmla="*/ 731929 w 1317625"/>
              <a:gd name="connsiteY539" fmla="*/ 681338 h 1344613"/>
              <a:gd name="connsiteX540" fmla="*/ 733708 w 1317625"/>
              <a:gd name="connsiteY540" fmla="*/ 679279 h 1344613"/>
              <a:gd name="connsiteX541" fmla="*/ 734597 w 1317625"/>
              <a:gd name="connsiteY541" fmla="*/ 677219 h 1344613"/>
              <a:gd name="connsiteX542" fmla="*/ 735042 w 1317625"/>
              <a:gd name="connsiteY542" fmla="*/ 674645 h 1344613"/>
              <a:gd name="connsiteX543" fmla="*/ 735931 w 1317625"/>
              <a:gd name="connsiteY543" fmla="*/ 670011 h 1344613"/>
              <a:gd name="connsiteX544" fmla="*/ 735931 w 1317625"/>
              <a:gd name="connsiteY544" fmla="*/ 666407 h 1344613"/>
              <a:gd name="connsiteX545" fmla="*/ 741712 w 1317625"/>
              <a:gd name="connsiteY545" fmla="*/ 664862 h 1344613"/>
              <a:gd name="connsiteX546" fmla="*/ 747492 w 1317625"/>
              <a:gd name="connsiteY546" fmla="*/ 663318 h 1344613"/>
              <a:gd name="connsiteX547" fmla="*/ 791959 w 1317625"/>
              <a:gd name="connsiteY547" fmla="*/ 654050 h 1344613"/>
              <a:gd name="connsiteX548" fmla="*/ 799073 w 1317625"/>
              <a:gd name="connsiteY548" fmla="*/ 658169 h 1344613"/>
              <a:gd name="connsiteX549" fmla="*/ 803965 w 1317625"/>
              <a:gd name="connsiteY549" fmla="*/ 661258 h 1344613"/>
              <a:gd name="connsiteX550" fmla="*/ 805743 w 1317625"/>
              <a:gd name="connsiteY550" fmla="*/ 662803 h 1344613"/>
              <a:gd name="connsiteX551" fmla="*/ 808856 w 1317625"/>
              <a:gd name="connsiteY551" fmla="*/ 664347 h 1344613"/>
              <a:gd name="connsiteX552" fmla="*/ 811524 w 1317625"/>
              <a:gd name="connsiteY552" fmla="*/ 665377 h 1344613"/>
              <a:gd name="connsiteX553" fmla="*/ 814387 w 1317625"/>
              <a:gd name="connsiteY553" fmla="*/ 666114 h 1344613"/>
              <a:gd name="connsiteX554" fmla="*/ 814387 w 1317625"/>
              <a:gd name="connsiteY554" fmla="*/ 664997 h 1344613"/>
              <a:gd name="connsiteX555" fmla="*/ 811020 w 1317625"/>
              <a:gd name="connsiteY555" fmla="*/ 664105 h 1344613"/>
              <a:gd name="connsiteX556" fmla="*/ 808356 w 1317625"/>
              <a:gd name="connsiteY556" fmla="*/ 663046 h 1344613"/>
              <a:gd name="connsiteX557" fmla="*/ 805248 w 1317625"/>
              <a:gd name="connsiteY557" fmla="*/ 661459 h 1344613"/>
              <a:gd name="connsiteX558" fmla="*/ 803472 w 1317625"/>
              <a:gd name="connsiteY558" fmla="*/ 659871 h 1344613"/>
              <a:gd name="connsiteX559" fmla="*/ 798588 w 1317625"/>
              <a:gd name="connsiteY559" fmla="*/ 656696 h 1344613"/>
              <a:gd name="connsiteX560" fmla="*/ 791484 w 1317625"/>
              <a:gd name="connsiteY560" fmla="*/ 652463 h 1344613"/>
              <a:gd name="connsiteX561" fmla="*/ 747084 w 1317625"/>
              <a:gd name="connsiteY561" fmla="*/ 661988 h 1344613"/>
              <a:gd name="connsiteX562" fmla="*/ 739092 w 1317625"/>
              <a:gd name="connsiteY562" fmla="*/ 657226 h 1344613"/>
              <a:gd name="connsiteX563" fmla="*/ 732432 w 1317625"/>
              <a:gd name="connsiteY563" fmla="*/ 652992 h 1344613"/>
              <a:gd name="connsiteX564" fmla="*/ 727104 w 1317625"/>
              <a:gd name="connsiteY564" fmla="*/ 648759 h 1344613"/>
              <a:gd name="connsiteX565" fmla="*/ 722664 w 1317625"/>
              <a:gd name="connsiteY565" fmla="*/ 645055 h 1344613"/>
              <a:gd name="connsiteX566" fmla="*/ 719556 w 1317625"/>
              <a:gd name="connsiteY566" fmla="*/ 640821 h 1344613"/>
              <a:gd name="connsiteX567" fmla="*/ 716892 w 1317625"/>
              <a:gd name="connsiteY567" fmla="*/ 637117 h 1344613"/>
              <a:gd name="connsiteX568" fmla="*/ 714672 w 1317625"/>
              <a:gd name="connsiteY568" fmla="*/ 633942 h 1344613"/>
              <a:gd name="connsiteX569" fmla="*/ 713340 w 1317625"/>
              <a:gd name="connsiteY569" fmla="*/ 630767 h 1344613"/>
              <a:gd name="connsiteX570" fmla="*/ 710676 w 1317625"/>
              <a:gd name="connsiteY570" fmla="*/ 624417 h 1344613"/>
              <a:gd name="connsiteX571" fmla="*/ 708456 w 1317625"/>
              <a:gd name="connsiteY571" fmla="*/ 618596 h 1344613"/>
              <a:gd name="connsiteX572" fmla="*/ 468069 w 1317625"/>
              <a:gd name="connsiteY572" fmla="*/ 581025 h 1344613"/>
              <a:gd name="connsiteX573" fmla="*/ 468069 w 1317625"/>
              <a:gd name="connsiteY573" fmla="*/ 593676 h 1344613"/>
              <a:gd name="connsiteX574" fmla="*/ 476518 w 1317625"/>
              <a:gd name="connsiteY574" fmla="*/ 597893 h 1344613"/>
              <a:gd name="connsiteX575" fmla="*/ 484523 w 1317625"/>
              <a:gd name="connsiteY575" fmla="*/ 602110 h 1344613"/>
              <a:gd name="connsiteX576" fmla="*/ 492527 w 1317625"/>
              <a:gd name="connsiteY576" fmla="*/ 607381 h 1344613"/>
              <a:gd name="connsiteX577" fmla="*/ 500087 w 1317625"/>
              <a:gd name="connsiteY577" fmla="*/ 613180 h 1344613"/>
              <a:gd name="connsiteX578" fmla="*/ 508091 w 1317625"/>
              <a:gd name="connsiteY578" fmla="*/ 618978 h 1344613"/>
              <a:gd name="connsiteX579" fmla="*/ 516096 w 1317625"/>
              <a:gd name="connsiteY579" fmla="*/ 623722 h 1344613"/>
              <a:gd name="connsiteX580" fmla="*/ 524100 w 1317625"/>
              <a:gd name="connsiteY580" fmla="*/ 628466 h 1344613"/>
              <a:gd name="connsiteX581" fmla="*/ 532994 w 1317625"/>
              <a:gd name="connsiteY581" fmla="*/ 632683 h 1344613"/>
              <a:gd name="connsiteX582" fmla="*/ 536107 w 1317625"/>
              <a:gd name="connsiteY582" fmla="*/ 634265 h 1344613"/>
              <a:gd name="connsiteX583" fmla="*/ 542333 w 1317625"/>
              <a:gd name="connsiteY583" fmla="*/ 637427 h 1344613"/>
              <a:gd name="connsiteX584" fmla="*/ 546335 w 1317625"/>
              <a:gd name="connsiteY584" fmla="*/ 639536 h 1344613"/>
              <a:gd name="connsiteX585" fmla="*/ 549892 w 1317625"/>
              <a:gd name="connsiteY585" fmla="*/ 641117 h 1344613"/>
              <a:gd name="connsiteX586" fmla="*/ 553895 w 1317625"/>
              <a:gd name="connsiteY586" fmla="*/ 642171 h 1344613"/>
              <a:gd name="connsiteX587" fmla="*/ 556563 w 1317625"/>
              <a:gd name="connsiteY587" fmla="*/ 642699 h 1344613"/>
              <a:gd name="connsiteX588" fmla="*/ 565457 w 1317625"/>
              <a:gd name="connsiteY588" fmla="*/ 643226 h 1344613"/>
              <a:gd name="connsiteX589" fmla="*/ 569957 w 1317625"/>
              <a:gd name="connsiteY589" fmla="*/ 644068 h 1344613"/>
              <a:gd name="connsiteX590" fmla="*/ 570740 w 1317625"/>
              <a:gd name="connsiteY590" fmla="*/ 636080 h 1344613"/>
              <a:gd name="connsiteX591" fmla="*/ 570326 w 1317625"/>
              <a:gd name="connsiteY591" fmla="*/ 631254 h 1344613"/>
              <a:gd name="connsiteX592" fmla="*/ 570740 w 1317625"/>
              <a:gd name="connsiteY592" fmla="*/ 630048 h 1344613"/>
              <a:gd name="connsiteX593" fmla="*/ 571155 w 1317625"/>
              <a:gd name="connsiteY593" fmla="*/ 630048 h 1344613"/>
              <a:gd name="connsiteX594" fmla="*/ 572397 w 1317625"/>
              <a:gd name="connsiteY594" fmla="*/ 628841 h 1344613"/>
              <a:gd name="connsiteX595" fmla="*/ 575296 w 1317625"/>
              <a:gd name="connsiteY595" fmla="*/ 628841 h 1344613"/>
              <a:gd name="connsiteX596" fmla="*/ 588962 w 1317625"/>
              <a:gd name="connsiteY596" fmla="*/ 614363 h 1344613"/>
              <a:gd name="connsiteX597" fmla="*/ 588962 w 1317625"/>
              <a:gd name="connsiteY597" fmla="*/ 648083 h 1344613"/>
              <a:gd name="connsiteX598" fmla="*/ 592138 w 1317625"/>
              <a:gd name="connsiteY598" fmla="*/ 649024 h 1344613"/>
              <a:gd name="connsiteX599" fmla="*/ 589470 w 1317625"/>
              <a:gd name="connsiteY599" fmla="*/ 652714 h 1344613"/>
              <a:gd name="connsiteX600" fmla="*/ 588962 w 1317625"/>
              <a:gd name="connsiteY600" fmla="*/ 654068 h 1344613"/>
              <a:gd name="connsiteX601" fmla="*/ 588962 w 1317625"/>
              <a:gd name="connsiteY601" fmla="*/ 674688 h 1344613"/>
              <a:gd name="connsiteX602" fmla="*/ 586477 w 1317625"/>
              <a:gd name="connsiteY602" fmla="*/ 673482 h 1344613"/>
              <a:gd name="connsiteX603" fmla="*/ 583633 w 1317625"/>
              <a:gd name="connsiteY603" fmla="*/ 668746 h 1344613"/>
              <a:gd name="connsiteX604" fmla="*/ 580576 w 1317625"/>
              <a:gd name="connsiteY604" fmla="*/ 680651 h 1344613"/>
              <a:gd name="connsiteX605" fmla="*/ 576574 w 1317625"/>
              <a:gd name="connsiteY605" fmla="*/ 692775 h 1344613"/>
              <a:gd name="connsiteX606" fmla="*/ 572572 w 1317625"/>
              <a:gd name="connsiteY606" fmla="*/ 705426 h 1344613"/>
              <a:gd name="connsiteX607" fmla="*/ 567680 w 1317625"/>
              <a:gd name="connsiteY607" fmla="*/ 715969 h 1344613"/>
              <a:gd name="connsiteX608" fmla="*/ 565457 w 1317625"/>
              <a:gd name="connsiteY608" fmla="*/ 720713 h 1344613"/>
              <a:gd name="connsiteX609" fmla="*/ 562789 w 1317625"/>
              <a:gd name="connsiteY609" fmla="*/ 724403 h 1344613"/>
              <a:gd name="connsiteX610" fmla="*/ 559676 w 1317625"/>
              <a:gd name="connsiteY610" fmla="*/ 728093 h 1344613"/>
              <a:gd name="connsiteX611" fmla="*/ 556563 w 1317625"/>
              <a:gd name="connsiteY611" fmla="*/ 730201 h 1344613"/>
              <a:gd name="connsiteX612" fmla="*/ 557008 w 1317625"/>
              <a:gd name="connsiteY612" fmla="*/ 731782 h 1344613"/>
              <a:gd name="connsiteX613" fmla="*/ 558342 w 1317625"/>
              <a:gd name="connsiteY613" fmla="*/ 733891 h 1344613"/>
              <a:gd name="connsiteX614" fmla="*/ 560565 w 1317625"/>
              <a:gd name="connsiteY614" fmla="*/ 735999 h 1344613"/>
              <a:gd name="connsiteX615" fmla="*/ 563233 w 1317625"/>
              <a:gd name="connsiteY615" fmla="*/ 738108 h 1344613"/>
              <a:gd name="connsiteX616" fmla="*/ 566346 w 1317625"/>
              <a:gd name="connsiteY616" fmla="*/ 739689 h 1344613"/>
              <a:gd name="connsiteX617" fmla="*/ 569014 w 1317625"/>
              <a:gd name="connsiteY617" fmla="*/ 741271 h 1344613"/>
              <a:gd name="connsiteX618" fmla="*/ 571682 w 1317625"/>
              <a:gd name="connsiteY618" fmla="*/ 742852 h 1344613"/>
              <a:gd name="connsiteX619" fmla="*/ 573906 w 1317625"/>
              <a:gd name="connsiteY619" fmla="*/ 742852 h 1344613"/>
              <a:gd name="connsiteX620" fmla="*/ 573906 w 1317625"/>
              <a:gd name="connsiteY620" fmla="*/ 752867 h 1344613"/>
              <a:gd name="connsiteX621" fmla="*/ 573906 w 1317625"/>
              <a:gd name="connsiteY621" fmla="*/ 757084 h 1344613"/>
              <a:gd name="connsiteX622" fmla="*/ 573461 w 1317625"/>
              <a:gd name="connsiteY622" fmla="*/ 760247 h 1344613"/>
              <a:gd name="connsiteX623" fmla="*/ 573461 w 1317625"/>
              <a:gd name="connsiteY623" fmla="*/ 762356 h 1344613"/>
              <a:gd name="connsiteX624" fmla="*/ 572572 w 1317625"/>
              <a:gd name="connsiteY624" fmla="*/ 763937 h 1344613"/>
              <a:gd name="connsiteX625" fmla="*/ 571682 w 1317625"/>
              <a:gd name="connsiteY625" fmla="*/ 767100 h 1344613"/>
              <a:gd name="connsiteX626" fmla="*/ 571238 w 1317625"/>
              <a:gd name="connsiteY626" fmla="*/ 772371 h 1344613"/>
              <a:gd name="connsiteX627" fmla="*/ 571682 w 1317625"/>
              <a:gd name="connsiteY627" fmla="*/ 777115 h 1344613"/>
              <a:gd name="connsiteX628" fmla="*/ 571682 w 1317625"/>
              <a:gd name="connsiteY628" fmla="*/ 781859 h 1344613"/>
              <a:gd name="connsiteX629" fmla="*/ 572572 w 1317625"/>
              <a:gd name="connsiteY629" fmla="*/ 787130 h 1344613"/>
              <a:gd name="connsiteX630" fmla="*/ 573461 w 1317625"/>
              <a:gd name="connsiteY630" fmla="*/ 791347 h 1344613"/>
              <a:gd name="connsiteX631" fmla="*/ 574350 w 1317625"/>
              <a:gd name="connsiteY631" fmla="*/ 796092 h 1344613"/>
              <a:gd name="connsiteX632" fmla="*/ 576574 w 1317625"/>
              <a:gd name="connsiteY632" fmla="*/ 800309 h 1344613"/>
              <a:gd name="connsiteX633" fmla="*/ 577908 w 1317625"/>
              <a:gd name="connsiteY633" fmla="*/ 803998 h 1344613"/>
              <a:gd name="connsiteX634" fmla="*/ 580576 w 1317625"/>
              <a:gd name="connsiteY634" fmla="*/ 807688 h 1344613"/>
              <a:gd name="connsiteX635" fmla="*/ 573461 w 1317625"/>
              <a:gd name="connsiteY635" fmla="*/ 815068 h 1344613"/>
              <a:gd name="connsiteX636" fmla="*/ 567235 w 1317625"/>
              <a:gd name="connsiteY636" fmla="*/ 821921 h 1344613"/>
              <a:gd name="connsiteX637" fmla="*/ 560565 w 1317625"/>
              <a:gd name="connsiteY637" fmla="*/ 828246 h 1344613"/>
              <a:gd name="connsiteX638" fmla="*/ 553450 w 1317625"/>
              <a:gd name="connsiteY638" fmla="*/ 834044 h 1344613"/>
              <a:gd name="connsiteX639" fmla="*/ 549892 w 1317625"/>
              <a:gd name="connsiteY639" fmla="*/ 836153 h 1344613"/>
              <a:gd name="connsiteX640" fmla="*/ 546335 w 1317625"/>
              <a:gd name="connsiteY640" fmla="*/ 837734 h 1344613"/>
              <a:gd name="connsiteX641" fmla="*/ 541888 w 1317625"/>
              <a:gd name="connsiteY641" fmla="*/ 838789 h 1344613"/>
              <a:gd name="connsiteX642" fmla="*/ 537886 w 1317625"/>
              <a:gd name="connsiteY642" fmla="*/ 838789 h 1344613"/>
              <a:gd name="connsiteX643" fmla="*/ 533439 w 1317625"/>
              <a:gd name="connsiteY643" fmla="*/ 838261 h 1344613"/>
              <a:gd name="connsiteX644" fmla="*/ 528547 w 1317625"/>
              <a:gd name="connsiteY644" fmla="*/ 836680 h 1344613"/>
              <a:gd name="connsiteX645" fmla="*/ 523211 w 1317625"/>
              <a:gd name="connsiteY645" fmla="*/ 834572 h 1344613"/>
              <a:gd name="connsiteX646" fmla="*/ 517875 w 1317625"/>
              <a:gd name="connsiteY646" fmla="*/ 830882 h 1344613"/>
              <a:gd name="connsiteX647" fmla="*/ 513428 w 1317625"/>
              <a:gd name="connsiteY647" fmla="*/ 826665 h 1344613"/>
              <a:gd name="connsiteX648" fmla="*/ 508981 w 1317625"/>
              <a:gd name="connsiteY648" fmla="*/ 823502 h 1344613"/>
              <a:gd name="connsiteX649" fmla="*/ 507202 w 1317625"/>
              <a:gd name="connsiteY649" fmla="*/ 822448 h 1344613"/>
              <a:gd name="connsiteX650" fmla="*/ 504534 w 1317625"/>
              <a:gd name="connsiteY650" fmla="*/ 821921 h 1344613"/>
              <a:gd name="connsiteX651" fmla="*/ 502755 w 1317625"/>
              <a:gd name="connsiteY651" fmla="*/ 821393 h 1344613"/>
              <a:gd name="connsiteX652" fmla="*/ 500087 w 1317625"/>
              <a:gd name="connsiteY652" fmla="*/ 821393 h 1344613"/>
              <a:gd name="connsiteX653" fmla="*/ 496974 w 1317625"/>
              <a:gd name="connsiteY653" fmla="*/ 821393 h 1344613"/>
              <a:gd name="connsiteX654" fmla="*/ 493861 w 1317625"/>
              <a:gd name="connsiteY654" fmla="*/ 821921 h 1344613"/>
              <a:gd name="connsiteX655" fmla="*/ 490749 w 1317625"/>
              <a:gd name="connsiteY655" fmla="*/ 822975 h 1344613"/>
              <a:gd name="connsiteX656" fmla="*/ 487636 w 1317625"/>
              <a:gd name="connsiteY656" fmla="*/ 824556 h 1344613"/>
              <a:gd name="connsiteX657" fmla="*/ 484968 w 1317625"/>
              <a:gd name="connsiteY657" fmla="*/ 826138 h 1344613"/>
              <a:gd name="connsiteX658" fmla="*/ 482299 w 1317625"/>
              <a:gd name="connsiteY658" fmla="*/ 827719 h 1344613"/>
              <a:gd name="connsiteX659" fmla="*/ 479631 w 1317625"/>
              <a:gd name="connsiteY659" fmla="*/ 829827 h 1344613"/>
              <a:gd name="connsiteX660" fmla="*/ 477408 w 1317625"/>
              <a:gd name="connsiteY660" fmla="*/ 832463 h 1344613"/>
              <a:gd name="connsiteX661" fmla="*/ 473406 w 1317625"/>
              <a:gd name="connsiteY661" fmla="*/ 837207 h 1344613"/>
              <a:gd name="connsiteX662" fmla="*/ 470293 w 1317625"/>
              <a:gd name="connsiteY662" fmla="*/ 842478 h 1344613"/>
              <a:gd name="connsiteX663" fmla="*/ 469403 w 1317625"/>
              <a:gd name="connsiteY663" fmla="*/ 846168 h 1344613"/>
              <a:gd name="connsiteX664" fmla="*/ 468514 w 1317625"/>
              <a:gd name="connsiteY664" fmla="*/ 848804 h 1344613"/>
              <a:gd name="connsiteX665" fmla="*/ 468069 w 1317625"/>
              <a:gd name="connsiteY665" fmla="*/ 850912 h 1344613"/>
              <a:gd name="connsiteX666" fmla="*/ 468069 w 1317625"/>
              <a:gd name="connsiteY666" fmla="*/ 852330 h 1344613"/>
              <a:gd name="connsiteX667" fmla="*/ 469547 w 1317625"/>
              <a:gd name="connsiteY667" fmla="*/ 847725 h 1344613"/>
              <a:gd name="connsiteX668" fmla="*/ 473026 w 1317625"/>
              <a:gd name="connsiteY668" fmla="*/ 860084 h 1344613"/>
              <a:gd name="connsiteX669" fmla="*/ 473840 w 1317625"/>
              <a:gd name="connsiteY669" fmla="*/ 858109 h 1344613"/>
              <a:gd name="connsiteX670" fmla="*/ 475143 w 1317625"/>
              <a:gd name="connsiteY670" fmla="*/ 856001 h 1344613"/>
              <a:gd name="connsiteX671" fmla="*/ 476446 w 1317625"/>
              <a:gd name="connsiteY671" fmla="*/ 853893 h 1344613"/>
              <a:gd name="connsiteX672" fmla="*/ 477315 w 1317625"/>
              <a:gd name="connsiteY672" fmla="*/ 852839 h 1344613"/>
              <a:gd name="connsiteX673" fmla="*/ 478617 w 1317625"/>
              <a:gd name="connsiteY673" fmla="*/ 852312 h 1344613"/>
              <a:gd name="connsiteX674" fmla="*/ 481657 w 1317625"/>
              <a:gd name="connsiteY674" fmla="*/ 853366 h 1344613"/>
              <a:gd name="connsiteX675" fmla="*/ 484263 w 1317625"/>
              <a:gd name="connsiteY675" fmla="*/ 853366 h 1344613"/>
              <a:gd name="connsiteX676" fmla="*/ 487303 w 1317625"/>
              <a:gd name="connsiteY676" fmla="*/ 853366 h 1344613"/>
              <a:gd name="connsiteX677" fmla="*/ 489909 w 1317625"/>
              <a:gd name="connsiteY677" fmla="*/ 853366 h 1344613"/>
              <a:gd name="connsiteX678" fmla="*/ 493383 w 1317625"/>
              <a:gd name="connsiteY678" fmla="*/ 852839 h 1344613"/>
              <a:gd name="connsiteX679" fmla="*/ 496423 w 1317625"/>
              <a:gd name="connsiteY679" fmla="*/ 852839 h 1344613"/>
              <a:gd name="connsiteX680" fmla="*/ 499463 w 1317625"/>
              <a:gd name="connsiteY680" fmla="*/ 853366 h 1344613"/>
              <a:gd name="connsiteX681" fmla="*/ 502504 w 1317625"/>
              <a:gd name="connsiteY681" fmla="*/ 853893 h 1344613"/>
              <a:gd name="connsiteX682" fmla="*/ 503372 w 1317625"/>
              <a:gd name="connsiteY682" fmla="*/ 855474 h 1344613"/>
              <a:gd name="connsiteX683" fmla="*/ 504241 w 1317625"/>
              <a:gd name="connsiteY683" fmla="*/ 858109 h 1344613"/>
              <a:gd name="connsiteX684" fmla="*/ 505544 w 1317625"/>
              <a:gd name="connsiteY684" fmla="*/ 861270 h 1344613"/>
              <a:gd name="connsiteX685" fmla="*/ 505978 w 1317625"/>
              <a:gd name="connsiteY685" fmla="*/ 865485 h 1344613"/>
              <a:gd name="connsiteX686" fmla="*/ 506412 w 1317625"/>
              <a:gd name="connsiteY686" fmla="*/ 869701 h 1344613"/>
              <a:gd name="connsiteX687" fmla="*/ 506412 w 1317625"/>
              <a:gd name="connsiteY687" fmla="*/ 873389 h 1344613"/>
              <a:gd name="connsiteX688" fmla="*/ 505978 w 1317625"/>
              <a:gd name="connsiteY688" fmla="*/ 876024 h 1344613"/>
              <a:gd name="connsiteX689" fmla="*/ 505544 w 1317625"/>
              <a:gd name="connsiteY689" fmla="*/ 876551 h 1344613"/>
              <a:gd name="connsiteX690" fmla="*/ 499463 w 1317625"/>
              <a:gd name="connsiteY690" fmla="*/ 878131 h 1344613"/>
              <a:gd name="connsiteX691" fmla="*/ 493818 w 1317625"/>
              <a:gd name="connsiteY691" fmla="*/ 880239 h 1344613"/>
              <a:gd name="connsiteX692" fmla="*/ 489040 w 1317625"/>
              <a:gd name="connsiteY692" fmla="*/ 882347 h 1344613"/>
              <a:gd name="connsiteX693" fmla="*/ 484263 w 1317625"/>
              <a:gd name="connsiteY693" fmla="*/ 884981 h 1344613"/>
              <a:gd name="connsiteX694" fmla="*/ 479920 w 1317625"/>
              <a:gd name="connsiteY694" fmla="*/ 888143 h 1344613"/>
              <a:gd name="connsiteX695" fmla="*/ 476012 w 1317625"/>
              <a:gd name="connsiteY695" fmla="*/ 891304 h 1344613"/>
              <a:gd name="connsiteX696" fmla="*/ 472537 w 1317625"/>
              <a:gd name="connsiteY696" fmla="*/ 894466 h 1344613"/>
              <a:gd name="connsiteX697" fmla="*/ 470455 w 1317625"/>
              <a:gd name="connsiteY697" fmla="*/ 896431 h 1344613"/>
              <a:gd name="connsiteX698" fmla="*/ 468489 w 1317625"/>
              <a:gd name="connsiteY698" fmla="*/ 904875 h 1344613"/>
              <a:gd name="connsiteX699" fmla="*/ 467091 w 1317625"/>
              <a:gd name="connsiteY699" fmla="*/ 899951 h 1344613"/>
              <a:gd name="connsiteX700" fmla="*/ 456903 w 1317625"/>
              <a:gd name="connsiteY700" fmla="*/ 911854 h 1344613"/>
              <a:gd name="connsiteX701" fmla="*/ 447783 w 1317625"/>
              <a:gd name="connsiteY701" fmla="*/ 921865 h 1344613"/>
              <a:gd name="connsiteX702" fmla="*/ 444308 w 1317625"/>
              <a:gd name="connsiteY702" fmla="*/ 923973 h 1344613"/>
              <a:gd name="connsiteX703" fmla="*/ 442137 w 1317625"/>
              <a:gd name="connsiteY703" fmla="*/ 926081 h 1344613"/>
              <a:gd name="connsiteX704" fmla="*/ 439531 w 1317625"/>
              <a:gd name="connsiteY704" fmla="*/ 928188 h 1344613"/>
              <a:gd name="connsiteX705" fmla="*/ 437794 w 1317625"/>
              <a:gd name="connsiteY705" fmla="*/ 930823 h 1344613"/>
              <a:gd name="connsiteX706" fmla="*/ 434320 w 1317625"/>
              <a:gd name="connsiteY706" fmla="*/ 935565 h 1344613"/>
              <a:gd name="connsiteX707" fmla="*/ 432582 w 1317625"/>
              <a:gd name="connsiteY707" fmla="*/ 940307 h 1344613"/>
              <a:gd name="connsiteX708" fmla="*/ 431280 w 1317625"/>
              <a:gd name="connsiteY708" fmla="*/ 945050 h 1344613"/>
              <a:gd name="connsiteX709" fmla="*/ 430845 w 1317625"/>
              <a:gd name="connsiteY709" fmla="*/ 949792 h 1344613"/>
              <a:gd name="connsiteX710" fmla="*/ 430411 w 1317625"/>
              <a:gd name="connsiteY710" fmla="*/ 954534 h 1344613"/>
              <a:gd name="connsiteX711" fmla="*/ 430845 w 1317625"/>
              <a:gd name="connsiteY711" fmla="*/ 959803 h 1344613"/>
              <a:gd name="connsiteX712" fmla="*/ 430845 w 1317625"/>
              <a:gd name="connsiteY712" fmla="*/ 965072 h 1344613"/>
              <a:gd name="connsiteX713" fmla="*/ 431280 w 1317625"/>
              <a:gd name="connsiteY713" fmla="*/ 969815 h 1344613"/>
              <a:gd name="connsiteX714" fmla="*/ 430845 w 1317625"/>
              <a:gd name="connsiteY714" fmla="*/ 975084 h 1344613"/>
              <a:gd name="connsiteX715" fmla="*/ 430411 w 1317625"/>
              <a:gd name="connsiteY715" fmla="*/ 979826 h 1344613"/>
              <a:gd name="connsiteX716" fmla="*/ 429108 w 1317625"/>
              <a:gd name="connsiteY716" fmla="*/ 985095 h 1344613"/>
              <a:gd name="connsiteX717" fmla="*/ 426502 w 1317625"/>
              <a:gd name="connsiteY717" fmla="*/ 990364 h 1344613"/>
              <a:gd name="connsiteX718" fmla="*/ 425200 w 1317625"/>
              <a:gd name="connsiteY718" fmla="*/ 992999 h 1344613"/>
              <a:gd name="connsiteX719" fmla="*/ 423462 w 1317625"/>
              <a:gd name="connsiteY719" fmla="*/ 995106 h 1344613"/>
              <a:gd name="connsiteX720" fmla="*/ 420857 w 1317625"/>
              <a:gd name="connsiteY720" fmla="*/ 997741 h 1344613"/>
              <a:gd name="connsiteX721" fmla="*/ 418685 w 1317625"/>
              <a:gd name="connsiteY721" fmla="*/ 999849 h 1344613"/>
              <a:gd name="connsiteX722" fmla="*/ 410434 w 1317625"/>
              <a:gd name="connsiteY722" fmla="*/ 1007225 h 1344613"/>
              <a:gd name="connsiteX723" fmla="*/ 403919 w 1317625"/>
              <a:gd name="connsiteY723" fmla="*/ 1013548 h 1344613"/>
              <a:gd name="connsiteX724" fmla="*/ 398708 w 1317625"/>
              <a:gd name="connsiteY724" fmla="*/ 1018818 h 1344613"/>
              <a:gd name="connsiteX725" fmla="*/ 394799 w 1317625"/>
              <a:gd name="connsiteY725" fmla="*/ 1024087 h 1344613"/>
              <a:gd name="connsiteX726" fmla="*/ 391759 w 1317625"/>
              <a:gd name="connsiteY726" fmla="*/ 1027775 h 1344613"/>
              <a:gd name="connsiteX727" fmla="*/ 390022 w 1317625"/>
              <a:gd name="connsiteY727" fmla="*/ 1030937 h 1344613"/>
              <a:gd name="connsiteX728" fmla="*/ 388719 w 1317625"/>
              <a:gd name="connsiteY728" fmla="*/ 1033571 h 1344613"/>
              <a:gd name="connsiteX729" fmla="*/ 387850 w 1317625"/>
              <a:gd name="connsiteY729" fmla="*/ 1035152 h 1344613"/>
              <a:gd name="connsiteX730" fmla="*/ 387416 w 1317625"/>
              <a:gd name="connsiteY730" fmla="*/ 1037787 h 1344613"/>
              <a:gd name="connsiteX731" fmla="*/ 387416 w 1317625"/>
              <a:gd name="connsiteY731" fmla="*/ 1038840 h 1344613"/>
              <a:gd name="connsiteX732" fmla="*/ 385679 w 1317625"/>
              <a:gd name="connsiteY732" fmla="*/ 1038840 h 1344613"/>
              <a:gd name="connsiteX733" fmla="*/ 380902 w 1317625"/>
              <a:gd name="connsiteY733" fmla="*/ 1038840 h 1344613"/>
              <a:gd name="connsiteX734" fmla="*/ 370044 w 1317625"/>
              <a:gd name="connsiteY734" fmla="*/ 1037787 h 1344613"/>
              <a:gd name="connsiteX735" fmla="*/ 360056 w 1317625"/>
              <a:gd name="connsiteY735" fmla="*/ 1037260 h 1344613"/>
              <a:gd name="connsiteX736" fmla="*/ 351370 w 1317625"/>
              <a:gd name="connsiteY736" fmla="*/ 1037260 h 1344613"/>
              <a:gd name="connsiteX737" fmla="*/ 343553 w 1317625"/>
              <a:gd name="connsiteY737" fmla="*/ 1038313 h 1344613"/>
              <a:gd name="connsiteX738" fmla="*/ 337038 w 1317625"/>
              <a:gd name="connsiteY738" fmla="*/ 1039894 h 1344613"/>
              <a:gd name="connsiteX739" fmla="*/ 331827 w 1317625"/>
              <a:gd name="connsiteY739" fmla="*/ 1041475 h 1344613"/>
              <a:gd name="connsiteX740" fmla="*/ 327049 w 1317625"/>
              <a:gd name="connsiteY740" fmla="*/ 1043583 h 1344613"/>
              <a:gd name="connsiteX741" fmla="*/ 322707 w 1317625"/>
              <a:gd name="connsiteY741" fmla="*/ 1046217 h 1344613"/>
              <a:gd name="connsiteX742" fmla="*/ 316192 w 1317625"/>
              <a:gd name="connsiteY742" fmla="*/ 1051486 h 1344613"/>
              <a:gd name="connsiteX743" fmla="*/ 311415 w 1317625"/>
              <a:gd name="connsiteY743" fmla="*/ 1055702 h 1344613"/>
              <a:gd name="connsiteX744" fmla="*/ 309244 w 1317625"/>
              <a:gd name="connsiteY744" fmla="*/ 1057282 h 1344613"/>
              <a:gd name="connsiteX745" fmla="*/ 307506 w 1317625"/>
              <a:gd name="connsiteY745" fmla="*/ 1058336 h 1344613"/>
              <a:gd name="connsiteX746" fmla="*/ 304901 w 1317625"/>
              <a:gd name="connsiteY746" fmla="*/ 1058863 h 1344613"/>
              <a:gd name="connsiteX747" fmla="*/ 303163 w 1317625"/>
              <a:gd name="connsiteY747" fmla="*/ 1058336 h 1344613"/>
              <a:gd name="connsiteX748" fmla="*/ 301861 w 1317625"/>
              <a:gd name="connsiteY748" fmla="*/ 1057809 h 1344613"/>
              <a:gd name="connsiteX749" fmla="*/ 300123 w 1317625"/>
              <a:gd name="connsiteY749" fmla="*/ 1056229 h 1344613"/>
              <a:gd name="connsiteX750" fmla="*/ 298820 w 1317625"/>
              <a:gd name="connsiteY750" fmla="*/ 1054121 h 1344613"/>
              <a:gd name="connsiteX751" fmla="*/ 297518 w 1317625"/>
              <a:gd name="connsiteY751" fmla="*/ 1051486 h 1344613"/>
              <a:gd name="connsiteX752" fmla="*/ 294478 w 1317625"/>
              <a:gd name="connsiteY752" fmla="*/ 1045163 h 1344613"/>
              <a:gd name="connsiteX753" fmla="*/ 291872 w 1317625"/>
              <a:gd name="connsiteY753" fmla="*/ 1038840 h 1344613"/>
              <a:gd name="connsiteX754" fmla="*/ 289700 w 1317625"/>
              <a:gd name="connsiteY754" fmla="*/ 1035679 h 1344613"/>
              <a:gd name="connsiteX755" fmla="*/ 287963 w 1317625"/>
              <a:gd name="connsiteY755" fmla="*/ 1032517 h 1344613"/>
              <a:gd name="connsiteX756" fmla="*/ 286226 w 1317625"/>
              <a:gd name="connsiteY756" fmla="*/ 1029356 h 1344613"/>
              <a:gd name="connsiteX757" fmla="*/ 283620 w 1317625"/>
              <a:gd name="connsiteY757" fmla="*/ 1026721 h 1344613"/>
              <a:gd name="connsiteX758" fmla="*/ 281449 w 1317625"/>
              <a:gd name="connsiteY758" fmla="*/ 1024087 h 1344613"/>
              <a:gd name="connsiteX759" fmla="*/ 278409 w 1317625"/>
              <a:gd name="connsiteY759" fmla="*/ 1021979 h 1344613"/>
              <a:gd name="connsiteX760" fmla="*/ 274934 w 1317625"/>
              <a:gd name="connsiteY760" fmla="*/ 1020398 h 1344613"/>
              <a:gd name="connsiteX761" fmla="*/ 271894 w 1317625"/>
              <a:gd name="connsiteY761" fmla="*/ 1019871 h 1344613"/>
              <a:gd name="connsiteX762" fmla="*/ 274934 w 1317625"/>
              <a:gd name="connsiteY762" fmla="*/ 1010914 h 1344613"/>
              <a:gd name="connsiteX763" fmla="*/ 277974 w 1317625"/>
              <a:gd name="connsiteY763" fmla="*/ 1003537 h 1344613"/>
              <a:gd name="connsiteX764" fmla="*/ 279277 w 1317625"/>
              <a:gd name="connsiteY764" fmla="*/ 996160 h 1344613"/>
              <a:gd name="connsiteX765" fmla="*/ 279345 w 1317625"/>
              <a:gd name="connsiteY765" fmla="*/ 995540 h 1344613"/>
              <a:gd name="connsiteX766" fmla="*/ 278110 w 1317625"/>
              <a:gd name="connsiteY766" fmla="*/ 1002545 h 1344613"/>
              <a:gd name="connsiteX767" fmla="*/ 275100 w 1317625"/>
              <a:gd name="connsiteY767" fmla="*/ 1009857 h 1344613"/>
              <a:gd name="connsiteX768" fmla="*/ 272091 w 1317625"/>
              <a:gd name="connsiteY768" fmla="*/ 1018736 h 1344613"/>
              <a:gd name="connsiteX769" fmla="*/ 263062 w 1317625"/>
              <a:gd name="connsiteY769" fmla="*/ 1019780 h 1344613"/>
              <a:gd name="connsiteX770" fmla="*/ 256612 w 1317625"/>
              <a:gd name="connsiteY770" fmla="*/ 1021869 h 1344613"/>
              <a:gd name="connsiteX771" fmla="*/ 253173 w 1317625"/>
              <a:gd name="connsiteY771" fmla="*/ 1023436 h 1344613"/>
              <a:gd name="connsiteX772" fmla="*/ 250593 w 1317625"/>
              <a:gd name="connsiteY772" fmla="*/ 1025003 h 1344613"/>
              <a:gd name="connsiteX773" fmla="*/ 248443 w 1317625"/>
              <a:gd name="connsiteY773" fmla="*/ 1025525 h 1344613"/>
              <a:gd name="connsiteX774" fmla="*/ 245004 w 1317625"/>
              <a:gd name="connsiteY774" fmla="*/ 1025525 h 1344613"/>
              <a:gd name="connsiteX775" fmla="*/ 239844 w 1317625"/>
              <a:gd name="connsiteY775" fmla="*/ 1024481 h 1344613"/>
              <a:gd name="connsiteX776" fmla="*/ 231675 w 1317625"/>
              <a:gd name="connsiteY776" fmla="*/ 1021869 h 1344613"/>
              <a:gd name="connsiteX777" fmla="*/ 231245 w 1317625"/>
              <a:gd name="connsiteY777" fmla="*/ 1017169 h 1344613"/>
              <a:gd name="connsiteX778" fmla="*/ 231245 w 1317625"/>
              <a:gd name="connsiteY778" fmla="*/ 1013513 h 1344613"/>
              <a:gd name="connsiteX779" fmla="*/ 230386 w 1317625"/>
              <a:gd name="connsiteY779" fmla="*/ 1009857 h 1344613"/>
              <a:gd name="connsiteX780" fmla="*/ 229526 w 1317625"/>
              <a:gd name="connsiteY780" fmla="*/ 1006201 h 1344613"/>
              <a:gd name="connsiteX781" fmla="*/ 226946 w 1317625"/>
              <a:gd name="connsiteY781" fmla="*/ 999412 h 1344613"/>
              <a:gd name="connsiteX782" fmla="*/ 224796 w 1317625"/>
              <a:gd name="connsiteY782" fmla="*/ 992622 h 1344613"/>
              <a:gd name="connsiteX783" fmla="*/ 221787 w 1317625"/>
              <a:gd name="connsiteY783" fmla="*/ 985833 h 1344613"/>
              <a:gd name="connsiteX784" fmla="*/ 219637 w 1317625"/>
              <a:gd name="connsiteY784" fmla="*/ 979043 h 1344613"/>
              <a:gd name="connsiteX785" fmla="*/ 218347 w 1317625"/>
              <a:gd name="connsiteY785" fmla="*/ 975387 h 1344613"/>
              <a:gd name="connsiteX786" fmla="*/ 217917 w 1317625"/>
              <a:gd name="connsiteY786" fmla="*/ 971731 h 1344613"/>
              <a:gd name="connsiteX787" fmla="*/ 217487 w 1317625"/>
              <a:gd name="connsiteY787" fmla="*/ 968075 h 1344613"/>
              <a:gd name="connsiteX788" fmla="*/ 217487 w 1317625"/>
              <a:gd name="connsiteY788" fmla="*/ 963897 h 1344613"/>
              <a:gd name="connsiteX789" fmla="*/ 217487 w 1317625"/>
              <a:gd name="connsiteY789" fmla="*/ 959197 h 1344613"/>
              <a:gd name="connsiteX790" fmla="*/ 217917 w 1317625"/>
              <a:gd name="connsiteY790" fmla="*/ 955541 h 1344613"/>
              <a:gd name="connsiteX791" fmla="*/ 218347 w 1317625"/>
              <a:gd name="connsiteY791" fmla="*/ 951363 h 1344613"/>
              <a:gd name="connsiteX792" fmla="*/ 219637 w 1317625"/>
              <a:gd name="connsiteY792" fmla="*/ 947707 h 1344613"/>
              <a:gd name="connsiteX793" fmla="*/ 222217 w 1317625"/>
              <a:gd name="connsiteY793" fmla="*/ 940917 h 1344613"/>
              <a:gd name="connsiteX794" fmla="*/ 225226 w 1317625"/>
              <a:gd name="connsiteY794" fmla="*/ 934650 h 1344613"/>
              <a:gd name="connsiteX795" fmla="*/ 231675 w 1317625"/>
              <a:gd name="connsiteY795" fmla="*/ 922116 h 1344613"/>
              <a:gd name="connsiteX796" fmla="*/ 237265 w 1317625"/>
              <a:gd name="connsiteY796" fmla="*/ 912192 h 1344613"/>
              <a:gd name="connsiteX797" fmla="*/ 238125 w 1317625"/>
              <a:gd name="connsiteY797" fmla="*/ 907492 h 1344613"/>
              <a:gd name="connsiteX798" fmla="*/ 238985 w 1317625"/>
              <a:gd name="connsiteY798" fmla="*/ 902792 h 1344613"/>
              <a:gd name="connsiteX799" fmla="*/ 239844 w 1317625"/>
              <a:gd name="connsiteY799" fmla="*/ 897569 h 1344613"/>
              <a:gd name="connsiteX800" fmla="*/ 240274 w 1317625"/>
              <a:gd name="connsiteY800" fmla="*/ 892868 h 1344613"/>
              <a:gd name="connsiteX801" fmla="*/ 240274 w 1317625"/>
              <a:gd name="connsiteY801" fmla="*/ 886601 h 1344613"/>
              <a:gd name="connsiteX802" fmla="*/ 240704 w 1317625"/>
              <a:gd name="connsiteY802" fmla="*/ 882945 h 1344613"/>
              <a:gd name="connsiteX803" fmla="*/ 241134 w 1317625"/>
              <a:gd name="connsiteY803" fmla="*/ 880856 h 1344613"/>
              <a:gd name="connsiteX804" fmla="*/ 241564 w 1317625"/>
              <a:gd name="connsiteY804" fmla="*/ 879812 h 1344613"/>
              <a:gd name="connsiteX805" fmla="*/ 241994 w 1317625"/>
              <a:gd name="connsiteY805" fmla="*/ 878767 h 1344613"/>
              <a:gd name="connsiteX806" fmla="*/ 242424 w 1317625"/>
              <a:gd name="connsiteY806" fmla="*/ 878245 h 1344613"/>
              <a:gd name="connsiteX807" fmla="*/ 243284 w 1317625"/>
              <a:gd name="connsiteY807" fmla="*/ 876678 h 1344613"/>
              <a:gd name="connsiteX808" fmla="*/ 243284 w 1317625"/>
              <a:gd name="connsiteY808" fmla="*/ 873544 h 1344613"/>
              <a:gd name="connsiteX809" fmla="*/ 236405 w 1317625"/>
              <a:gd name="connsiteY809" fmla="*/ 868844 h 1344613"/>
              <a:gd name="connsiteX810" fmla="*/ 233825 w 1317625"/>
              <a:gd name="connsiteY810" fmla="*/ 866755 h 1344613"/>
              <a:gd name="connsiteX811" fmla="*/ 232535 w 1317625"/>
              <a:gd name="connsiteY811" fmla="*/ 865710 h 1344613"/>
              <a:gd name="connsiteX812" fmla="*/ 233395 w 1317625"/>
              <a:gd name="connsiteY812" fmla="*/ 865188 h 1344613"/>
              <a:gd name="connsiteX813" fmla="*/ 233833 w 1317625"/>
              <a:gd name="connsiteY813" fmla="*/ 865188 h 1344613"/>
              <a:gd name="connsiteX814" fmla="*/ 232808 w 1317625"/>
              <a:gd name="connsiteY814" fmla="*/ 860216 h 1344613"/>
              <a:gd name="connsiteX815" fmla="*/ 229768 w 1317625"/>
              <a:gd name="connsiteY815" fmla="*/ 849151 h 1344613"/>
              <a:gd name="connsiteX816" fmla="*/ 226728 w 1317625"/>
              <a:gd name="connsiteY816" fmla="*/ 837559 h 1344613"/>
              <a:gd name="connsiteX817" fmla="*/ 225425 w 1317625"/>
              <a:gd name="connsiteY817" fmla="*/ 831236 h 1344613"/>
              <a:gd name="connsiteX818" fmla="*/ 228899 w 1317625"/>
              <a:gd name="connsiteY818" fmla="*/ 830709 h 1344613"/>
              <a:gd name="connsiteX819" fmla="*/ 231940 w 1317625"/>
              <a:gd name="connsiteY819" fmla="*/ 830182 h 1344613"/>
              <a:gd name="connsiteX820" fmla="*/ 235414 w 1317625"/>
              <a:gd name="connsiteY820" fmla="*/ 829128 h 1344613"/>
              <a:gd name="connsiteX821" fmla="*/ 238020 w 1317625"/>
              <a:gd name="connsiteY821" fmla="*/ 828074 h 1344613"/>
              <a:gd name="connsiteX822" fmla="*/ 243231 w 1317625"/>
              <a:gd name="connsiteY822" fmla="*/ 824913 h 1344613"/>
              <a:gd name="connsiteX823" fmla="*/ 247574 w 1317625"/>
              <a:gd name="connsiteY823" fmla="*/ 821751 h 1344613"/>
              <a:gd name="connsiteX824" fmla="*/ 251048 w 1317625"/>
              <a:gd name="connsiteY824" fmla="*/ 818063 h 1344613"/>
              <a:gd name="connsiteX825" fmla="*/ 254957 w 1317625"/>
              <a:gd name="connsiteY825" fmla="*/ 814902 h 1344613"/>
              <a:gd name="connsiteX826" fmla="*/ 257128 w 1317625"/>
              <a:gd name="connsiteY826" fmla="*/ 813321 h 1344613"/>
              <a:gd name="connsiteX827" fmla="*/ 258866 w 1317625"/>
              <a:gd name="connsiteY827" fmla="*/ 812267 h 1344613"/>
              <a:gd name="connsiteX828" fmla="*/ 260603 w 1317625"/>
              <a:gd name="connsiteY828" fmla="*/ 811740 h 1344613"/>
              <a:gd name="connsiteX829" fmla="*/ 262774 w 1317625"/>
              <a:gd name="connsiteY829" fmla="*/ 811213 h 1344613"/>
              <a:gd name="connsiteX830" fmla="*/ 269723 w 1317625"/>
              <a:gd name="connsiteY830" fmla="*/ 811740 h 1344613"/>
              <a:gd name="connsiteX831" fmla="*/ 276672 w 1317625"/>
              <a:gd name="connsiteY831" fmla="*/ 812794 h 1344613"/>
              <a:gd name="connsiteX832" fmla="*/ 282752 w 1317625"/>
              <a:gd name="connsiteY832" fmla="*/ 814902 h 1344613"/>
              <a:gd name="connsiteX833" fmla="*/ 288397 w 1317625"/>
              <a:gd name="connsiteY833" fmla="*/ 817009 h 1344613"/>
              <a:gd name="connsiteX834" fmla="*/ 294043 w 1317625"/>
              <a:gd name="connsiteY834" fmla="*/ 818590 h 1344613"/>
              <a:gd name="connsiteX835" fmla="*/ 299689 w 1317625"/>
              <a:gd name="connsiteY835" fmla="*/ 820171 h 1344613"/>
              <a:gd name="connsiteX836" fmla="*/ 305769 w 1317625"/>
              <a:gd name="connsiteY836" fmla="*/ 821225 h 1344613"/>
              <a:gd name="connsiteX837" fmla="*/ 311849 w 1317625"/>
              <a:gd name="connsiteY837" fmla="*/ 821751 h 1344613"/>
              <a:gd name="connsiteX838" fmla="*/ 316192 w 1317625"/>
              <a:gd name="connsiteY838" fmla="*/ 821751 h 1344613"/>
              <a:gd name="connsiteX839" fmla="*/ 319667 w 1317625"/>
              <a:gd name="connsiteY839" fmla="*/ 822805 h 1344613"/>
              <a:gd name="connsiteX840" fmla="*/ 323575 w 1317625"/>
              <a:gd name="connsiteY840" fmla="*/ 824386 h 1344613"/>
              <a:gd name="connsiteX841" fmla="*/ 327484 w 1317625"/>
              <a:gd name="connsiteY841" fmla="*/ 826494 h 1344613"/>
              <a:gd name="connsiteX842" fmla="*/ 330958 w 1317625"/>
              <a:gd name="connsiteY842" fmla="*/ 828074 h 1344613"/>
              <a:gd name="connsiteX843" fmla="*/ 333998 w 1317625"/>
              <a:gd name="connsiteY843" fmla="*/ 829655 h 1344613"/>
              <a:gd name="connsiteX844" fmla="*/ 337472 w 1317625"/>
              <a:gd name="connsiteY844" fmla="*/ 830709 h 1344613"/>
              <a:gd name="connsiteX845" fmla="*/ 340947 w 1317625"/>
              <a:gd name="connsiteY845" fmla="*/ 831236 h 1344613"/>
              <a:gd name="connsiteX846" fmla="*/ 371377 w 1317625"/>
              <a:gd name="connsiteY846" fmla="*/ 831236 h 1344613"/>
              <a:gd name="connsiteX847" fmla="*/ 368014 w 1317625"/>
              <a:gd name="connsiteY847" fmla="*/ 828246 h 1344613"/>
              <a:gd name="connsiteX848" fmla="*/ 364901 w 1317625"/>
              <a:gd name="connsiteY848" fmla="*/ 825083 h 1344613"/>
              <a:gd name="connsiteX849" fmla="*/ 363122 w 1317625"/>
              <a:gd name="connsiteY849" fmla="*/ 821393 h 1344613"/>
              <a:gd name="connsiteX850" fmla="*/ 361788 w 1317625"/>
              <a:gd name="connsiteY850" fmla="*/ 818231 h 1344613"/>
              <a:gd name="connsiteX851" fmla="*/ 362677 w 1317625"/>
              <a:gd name="connsiteY851" fmla="*/ 816649 h 1344613"/>
              <a:gd name="connsiteX852" fmla="*/ 363122 w 1317625"/>
              <a:gd name="connsiteY852" fmla="*/ 815595 h 1344613"/>
              <a:gd name="connsiteX853" fmla="*/ 363567 w 1317625"/>
              <a:gd name="connsiteY853" fmla="*/ 813487 h 1344613"/>
              <a:gd name="connsiteX854" fmla="*/ 364012 w 1317625"/>
              <a:gd name="connsiteY854" fmla="*/ 811905 h 1344613"/>
              <a:gd name="connsiteX855" fmla="*/ 364012 w 1317625"/>
              <a:gd name="connsiteY855" fmla="*/ 808215 h 1344613"/>
              <a:gd name="connsiteX856" fmla="*/ 363567 w 1317625"/>
              <a:gd name="connsiteY856" fmla="*/ 804526 h 1344613"/>
              <a:gd name="connsiteX857" fmla="*/ 362233 w 1317625"/>
              <a:gd name="connsiteY857" fmla="*/ 797673 h 1344613"/>
              <a:gd name="connsiteX858" fmla="*/ 361788 w 1317625"/>
              <a:gd name="connsiteY858" fmla="*/ 791875 h 1344613"/>
              <a:gd name="connsiteX859" fmla="*/ 362233 w 1317625"/>
              <a:gd name="connsiteY859" fmla="*/ 780278 h 1344613"/>
              <a:gd name="connsiteX860" fmla="*/ 363122 w 1317625"/>
              <a:gd name="connsiteY860" fmla="*/ 772898 h 1344613"/>
              <a:gd name="connsiteX861" fmla="*/ 364012 w 1317625"/>
              <a:gd name="connsiteY861" fmla="*/ 767100 h 1344613"/>
              <a:gd name="connsiteX862" fmla="*/ 364456 w 1317625"/>
              <a:gd name="connsiteY862" fmla="*/ 759720 h 1344613"/>
              <a:gd name="connsiteX863" fmla="*/ 363567 w 1317625"/>
              <a:gd name="connsiteY863" fmla="*/ 749705 h 1344613"/>
              <a:gd name="connsiteX864" fmla="*/ 361788 w 1317625"/>
              <a:gd name="connsiteY864" fmla="*/ 738108 h 1344613"/>
              <a:gd name="connsiteX865" fmla="*/ 359565 w 1317625"/>
              <a:gd name="connsiteY865" fmla="*/ 724930 h 1344613"/>
              <a:gd name="connsiteX866" fmla="*/ 358675 w 1317625"/>
              <a:gd name="connsiteY866" fmla="*/ 713860 h 1344613"/>
              <a:gd name="connsiteX867" fmla="*/ 356452 w 1317625"/>
              <a:gd name="connsiteY867" fmla="*/ 713333 h 1344613"/>
              <a:gd name="connsiteX868" fmla="*/ 353339 w 1317625"/>
              <a:gd name="connsiteY868" fmla="*/ 712279 h 1344613"/>
              <a:gd name="connsiteX869" fmla="*/ 349781 w 1317625"/>
              <a:gd name="connsiteY869" fmla="*/ 710698 h 1344613"/>
              <a:gd name="connsiteX870" fmla="*/ 345334 w 1317625"/>
              <a:gd name="connsiteY870" fmla="*/ 708062 h 1344613"/>
              <a:gd name="connsiteX871" fmla="*/ 335551 w 1317625"/>
              <a:gd name="connsiteY871" fmla="*/ 702791 h 1344613"/>
              <a:gd name="connsiteX872" fmla="*/ 325323 w 1317625"/>
              <a:gd name="connsiteY872" fmla="*/ 695411 h 1344613"/>
              <a:gd name="connsiteX873" fmla="*/ 305757 w 1317625"/>
              <a:gd name="connsiteY873" fmla="*/ 682233 h 1344613"/>
              <a:gd name="connsiteX874" fmla="*/ 296863 w 1317625"/>
              <a:gd name="connsiteY874" fmla="*/ 674853 h 1344613"/>
              <a:gd name="connsiteX875" fmla="*/ 305312 w 1317625"/>
              <a:gd name="connsiteY875" fmla="*/ 671690 h 1344613"/>
              <a:gd name="connsiteX876" fmla="*/ 307536 w 1317625"/>
              <a:gd name="connsiteY876" fmla="*/ 671163 h 1344613"/>
              <a:gd name="connsiteX877" fmla="*/ 309314 w 1317625"/>
              <a:gd name="connsiteY877" fmla="*/ 669582 h 1344613"/>
              <a:gd name="connsiteX878" fmla="*/ 310649 w 1317625"/>
              <a:gd name="connsiteY878" fmla="*/ 668001 h 1344613"/>
              <a:gd name="connsiteX879" fmla="*/ 312872 w 1317625"/>
              <a:gd name="connsiteY879" fmla="*/ 664838 h 1344613"/>
              <a:gd name="connsiteX880" fmla="*/ 314206 w 1317625"/>
              <a:gd name="connsiteY880" fmla="*/ 662729 h 1344613"/>
              <a:gd name="connsiteX881" fmla="*/ 316430 w 1317625"/>
              <a:gd name="connsiteY881" fmla="*/ 660621 h 1344613"/>
              <a:gd name="connsiteX882" fmla="*/ 318208 w 1317625"/>
              <a:gd name="connsiteY882" fmla="*/ 659039 h 1344613"/>
              <a:gd name="connsiteX883" fmla="*/ 319987 w 1317625"/>
              <a:gd name="connsiteY883" fmla="*/ 658512 h 1344613"/>
              <a:gd name="connsiteX884" fmla="*/ 337775 w 1317625"/>
              <a:gd name="connsiteY884" fmla="*/ 664838 h 1344613"/>
              <a:gd name="connsiteX885" fmla="*/ 341332 w 1317625"/>
              <a:gd name="connsiteY885" fmla="*/ 662729 h 1344613"/>
              <a:gd name="connsiteX886" fmla="*/ 344890 w 1317625"/>
              <a:gd name="connsiteY886" fmla="*/ 661675 h 1344613"/>
              <a:gd name="connsiteX887" fmla="*/ 348447 w 1317625"/>
              <a:gd name="connsiteY887" fmla="*/ 661148 h 1344613"/>
              <a:gd name="connsiteX888" fmla="*/ 352450 w 1317625"/>
              <a:gd name="connsiteY888" fmla="*/ 661148 h 1344613"/>
              <a:gd name="connsiteX889" fmla="*/ 355562 w 1317625"/>
              <a:gd name="connsiteY889" fmla="*/ 661675 h 1344613"/>
              <a:gd name="connsiteX890" fmla="*/ 359120 w 1317625"/>
              <a:gd name="connsiteY890" fmla="*/ 662729 h 1344613"/>
              <a:gd name="connsiteX891" fmla="*/ 362233 w 1317625"/>
              <a:gd name="connsiteY891" fmla="*/ 663784 h 1344613"/>
              <a:gd name="connsiteX892" fmla="*/ 364456 w 1317625"/>
              <a:gd name="connsiteY892" fmla="*/ 664838 h 1344613"/>
              <a:gd name="connsiteX893" fmla="*/ 364456 w 1317625"/>
              <a:gd name="connsiteY893" fmla="*/ 626358 h 1344613"/>
              <a:gd name="connsiteX894" fmla="*/ 370237 w 1317625"/>
              <a:gd name="connsiteY894" fmla="*/ 630575 h 1344613"/>
              <a:gd name="connsiteX895" fmla="*/ 374684 w 1317625"/>
              <a:gd name="connsiteY895" fmla="*/ 634792 h 1344613"/>
              <a:gd name="connsiteX896" fmla="*/ 377352 w 1317625"/>
              <a:gd name="connsiteY896" fmla="*/ 636373 h 1344613"/>
              <a:gd name="connsiteX897" fmla="*/ 379131 w 1317625"/>
              <a:gd name="connsiteY897" fmla="*/ 638482 h 1344613"/>
              <a:gd name="connsiteX898" fmla="*/ 382244 w 1317625"/>
              <a:gd name="connsiteY898" fmla="*/ 639009 h 1344613"/>
              <a:gd name="connsiteX899" fmla="*/ 384912 w 1317625"/>
              <a:gd name="connsiteY899" fmla="*/ 639536 h 1344613"/>
              <a:gd name="connsiteX900" fmla="*/ 388914 w 1317625"/>
              <a:gd name="connsiteY900" fmla="*/ 639009 h 1344613"/>
              <a:gd name="connsiteX901" fmla="*/ 393361 w 1317625"/>
              <a:gd name="connsiteY901" fmla="*/ 637427 h 1344613"/>
              <a:gd name="connsiteX902" fmla="*/ 397363 w 1317625"/>
              <a:gd name="connsiteY902" fmla="*/ 635319 h 1344613"/>
              <a:gd name="connsiteX903" fmla="*/ 401810 w 1317625"/>
              <a:gd name="connsiteY903" fmla="*/ 633210 h 1344613"/>
              <a:gd name="connsiteX904" fmla="*/ 406257 w 1317625"/>
              <a:gd name="connsiteY904" fmla="*/ 630048 h 1344613"/>
              <a:gd name="connsiteX905" fmla="*/ 410259 w 1317625"/>
              <a:gd name="connsiteY905" fmla="*/ 626885 h 1344613"/>
              <a:gd name="connsiteX906" fmla="*/ 414262 w 1317625"/>
              <a:gd name="connsiteY906" fmla="*/ 623195 h 1344613"/>
              <a:gd name="connsiteX907" fmla="*/ 418264 w 1317625"/>
              <a:gd name="connsiteY907" fmla="*/ 619505 h 1344613"/>
              <a:gd name="connsiteX908" fmla="*/ 422266 w 1317625"/>
              <a:gd name="connsiteY908" fmla="*/ 615288 h 1344613"/>
              <a:gd name="connsiteX909" fmla="*/ 425379 w 1317625"/>
              <a:gd name="connsiteY909" fmla="*/ 611071 h 1344613"/>
              <a:gd name="connsiteX910" fmla="*/ 428936 w 1317625"/>
              <a:gd name="connsiteY910" fmla="*/ 606327 h 1344613"/>
              <a:gd name="connsiteX911" fmla="*/ 431605 w 1317625"/>
              <a:gd name="connsiteY911" fmla="*/ 602110 h 1344613"/>
              <a:gd name="connsiteX912" fmla="*/ 433828 w 1317625"/>
              <a:gd name="connsiteY912" fmla="*/ 597893 h 1344613"/>
              <a:gd name="connsiteX913" fmla="*/ 436051 w 1317625"/>
              <a:gd name="connsiteY913" fmla="*/ 594203 h 1344613"/>
              <a:gd name="connsiteX914" fmla="*/ 437386 w 1317625"/>
              <a:gd name="connsiteY914" fmla="*/ 590513 h 1344613"/>
              <a:gd name="connsiteX915" fmla="*/ 438275 w 1317625"/>
              <a:gd name="connsiteY915" fmla="*/ 587351 h 1344613"/>
              <a:gd name="connsiteX916" fmla="*/ 446724 w 1317625"/>
              <a:gd name="connsiteY916" fmla="*/ 586823 h 1344613"/>
              <a:gd name="connsiteX917" fmla="*/ 454284 w 1317625"/>
              <a:gd name="connsiteY917" fmla="*/ 585242 h 1344613"/>
              <a:gd name="connsiteX918" fmla="*/ 461399 w 1317625"/>
              <a:gd name="connsiteY918" fmla="*/ 583134 h 1344613"/>
              <a:gd name="connsiteX919" fmla="*/ 958875 w 1317625"/>
              <a:gd name="connsiteY919" fmla="*/ 572566 h 1344613"/>
              <a:gd name="connsiteX920" fmla="*/ 945266 w 1317625"/>
              <a:gd name="connsiteY920" fmla="*/ 577463 h 1344613"/>
              <a:gd name="connsiteX921" fmla="*/ 945105 w 1317625"/>
              <a:gd name="connsiteY921" fmla="*/ 577191 h 1344613"/>
              <a:gd name="connsiteX922" fmla="*/ 946615 w 1317625"/>
              <a:gd name="connsiteY922" fmla="*/ 581077 h 1344613"/>
              <a:gd name="connsiteX923" fmla="*/ 954044 w 1317625"/>
              <a:gd name="connsiteY923" fmla="*/ 595238 h 1344613"/>
              <a:gd name="connsiteX924" fmla="*/ 958850 w 1317625"/>
              <a:gd name="connsiteY924" fmla="*/ 603630 h 1344613"/>
              <a:gd name="connsiteX925" fmla="*/ 956229 w 1317625"/>
              <a:gd name="connsiteY925" fmla="*/ 606777 h 1344613"/>
              <a:gd name="connsiteX926" fmla="*/ 953607 w 1317625"/>
              <a:gd name="connsiteY926" fmla="*/ 610448 h 1344613"/>
              <a:gd name="connsiteX927" fmla="*/ 950548 w 1317625"/>
              <a:gd name="connsiteY927" fmla="*/ 615693 h 1344613"/>
              <a:gd name="connsiteX928" fmla="*/ 947489 w 1317625"/>
              <a:gd name="connsiteY928" fmla="*/ 621462 h 1344613"/>
              <a:gd name="connsiteX929" fmla="*/ 945305 w 1317625"/>
              <a:gd name="connsiteY929" fmla="*/ 627232 h 1344613"/>
              <a:gd name="connsiteX930" fmla="*/ 942683 w 1317625"/>
              <a:gd name="connsiteY930" fmla="*/ 633001 h 1344613"/>
              <a:gd name="connsiteX931" fmla="*/ 941372 w 1317625"/>
              <a:gd name="connsiteY931" fmla="*/ 639295 h 1344613"/>
              <a:gd name="connsiteX932" fmla="*/ 941151 w 1317625"/>
              <a:gd name="connsiteY932" fmla="*/ 642742 h 1344613"/>
              <a:gd name="connsiteX933" fmla="*/ 942273 w 1317625"/>
              <a:gd name="connsiteY933" fmla="*/ 642742 h 1344613"/>
              <a:gd name="connsiteX934" fmla="*/ 942273 w 1317625"/>
              <a:gd name="connsiteY934" fmla="*/ 645910 h 1344613"/>
              <a:gd name="connsiteX935" fmla="*/ 941031 w 1317625"/>
              <a:gd name="connsiteY935" fmla="*/ 644617 h 1344613"/>
              <a:gd name="connsiteX936" fmla="*/ 940935 w 1317625"/>
              <a:gd name="connsiteY936" fmla="*/ 646113 h 1344613"/>
              <a:gd name="connsiteX937" fmla="*/ 939800 w 1317625"/>
              <a:gd name="connsiteY937" fmla="*/ 646113 h 1344613"/>
              <a:gd name="connsiteX938" fmla="*/ 939800 w 1317625"/>
              <a:gd name="connsiteY938" fmla="*/ 646257 h 1344613"/>
              <a:gd name="connsiteX939" fmla="*/ 938941 w 1317625"/>
              <a:gd name="connsiteY939" fmla="*/ 649721 h 1344613"/>
              <a:gd name="connsiteX940" fmla="*/ 938082 w 1317625"/>
              <a:gd name="connsiteY940" fmla="*/ 653761 h 1344613"/>
              <a:gd name="connsiteX941" fmla="*/ 936794 w 1317625"/>
              <a:gd name="connsiteY941" fmla="*/ 657225 h 1344613"/>
              <a:gd name="connsiteX942" fmla="*/ 935076 w 1317625"/>
              <a:gd name="connsiteY942" fmla="*/ 664152 h 1344613"/>
              <a:gd name="connsiteX943" fmla="*/ 934217 w 1317625"/>
              <a:gd name="connsiteY943" fmla="*/ 669925 h 1344613"/>
              <a:gd name="connsiteX944" fmla="*/ 891698 w 1317625"/>
              <a:gd name="connsiteY944" fmla="*/ 673100 h 1344613"/>
              <a:gd name="connsiteX945" fmla="*/ 936503 w 1317625"/>
              <a:gd name="connsiteY945" fmla="*/ 673100 h 1344613"/>
              <a:gd name="connsiteX946" fmla="*/ 947737 w 1317625"/>
              <a:gd name="connsiteY946" fmla="*/ 682220 h 1344613"/>
              <a:gd name="connsiteX947" fmla="*/ 945577 w 1317625"/>
              <a:gd name="connsiteY947" fmla="*/ 690326 h 1344613"/>
              <a:gd name="connsiteX948" fmla="*/ 941688 w 1317625"/>
              <a:gd name="connsiteY948" fmla="*/ 697419 h 1344613"/>
              <a:gd name="connsiteX949" fmla="*/ 937799 w 1317625"/>
              <a:gd name="connsiteY949" fmla="*/ 705526 h 1344613"/>
              <a:gd name="connsiteX950" fmla="*/ 933046 w 1317625"/>
              <a:gd name="connsiteY950" fmla="*/ 712619 h 1344613"/>
              <a:gd name="connsiteX951" fmla="*/ 927861 w 1317625"/>
              <a:gd name="connsiteY951" fmla="*/ 719712 h 1344613"/>
              <a:gd name="connsiteX952" fmla="*/ 923108 w 1317625"/>
              <a:gd name="connsiteY952" fmla="*/ 727312 h 1344613"/>
              <a:gd name="connsiteX953" fmla="*/ 917922 w 1317625"/>
              <a:gd name="connsiteY953" fmla="*/ 735925 h 1344613"/>
              <a:gd name="connsiteX954" fmla="*/ 913601 w 1317625"/>
              <a:gd name="connsiteY954" fmla="*/ 744538 h 1344613"/>
              <a:gd name="connsiteX955" fmla="*/ 906768 w 1317625"/>
              <a:gd name="connsiteY955" fmla="*/ 744538 h 1344613"/>
              <a:gd name="connsiteX956" fmla="*/ 910954 w 1317625"/>
              <a:gd name="connsiteY956" fmla="*/ 746080 h 1344613"/>
              <a:gd name="connsiteX957" fmla="*/ 911393 w 1317625"/>
              <a:gd name="connsiteY957" fmla="*/ 751335 h 1344613"/>
              <a:gd name="connsiteX958" fmla="*/ 913148 w 1317625"/>
              <a:gd name="connsiteY958" fmla="*/ 755538 h 1344613"/>
              <a:gd name="connsiteX959" fmla="*/ 914903 w 1317625"/>
              <a:gd name="connsiteY959" fmla="*/ 760267 h 1344613"/>
              <a:gd name="connsiteX960" fmla="*/ 916658 w 1317625"/>
              <a:gd name="connsiteY960" fmla="*/ 763945 h 1344613"/>
              <a:gd name="connsiteX961" fmla="*/ 919291 w 1317625"/>
              <a:gd name="connsiteY961" fmla="*/ 767098 h 1344613"/>
              <a:gd name="connsiteX962" fmla="*/ 921924 w 1317625"/>
              <a:gd name="connsiteY962" fmla="*/ 769725 h 1344613"/>
              <a:gd name="connsiteX963" fmla="*/ 924557 w 1317625"/>
              <a:gd name="connsiteY963" fmla="*/ 772352 h 1344613"/>
              <a:gd name="connsiteX964" fmla="*/ 926437 w 1317625"/>
              <a:gd name="connsiteY964" fmla="*/ 773759 h 1344613"/>
              <a:gd name="connsiteX965" fmla="*/ 923686 w 1317625"/>
              <a:gd name="connsiteY965" fmla="*/ 770825 h 1344613"/>
              <a:gd name="connsiteX966" fmla="*/ 921154 w 1317625"/>
              <a:gd name="connsiteY966" fmla="*/ 767673 h 1344613"/>
              <a:gd name="connsiteX967" fmla="*/ 919043 w 1317625"/>
              <a:gd name="connsiteY967" fmla="*/ 763996 h 1344613"/>
              <a:gd name="connsiteX968" fmla="*/ 916933 w 1317625"/>
              <a:gd name="connsiteY968" fmla="*/ 759794 h 1344613"/>
              <a:gd name="connsiteX969" fmla="*/ 915244 w 1317625"/>
              <a:gd name="connsiteY969" fmla="*/ 755066 h 1344613"/>
              <a:gd name="connsiteX970" fmla="*/ 914400 w 1317625"/>
              <a:gd name="connsiteY970" fmla="*/ 749814 h 1344613"/>
              <a:gd name="connsiteX971" fmla="*/ 914400 w 1317625"/>
              <a:gd name="connsiteY971" fmla="*/ 744036 h 1344613"/>
              <a:gd name="connsiteX972" fmla="*/ 924952 w 1317625"/>
              <a:gd name="connsiteY972" fmla="*/ 726176 h 1344613"/>
              <a:gd name="connsiteX973" fmla="*/ 935505 w 1317625"/>
              <a:gd name="connsiteY973" fmla="*/ 710943 h 1344613"/>
              <a:gd name="connsiteX974" fmla="*/ 940148 w 1317625"/>
              <a:gd name="connsiteY974" fmla="*/ 703589 h 1344613"/>
              <a:gd name="connsiteX975" fmla="*/ 944368 w 1317625"/>
              <a:gd name="connsiteY975" fmla="*/ 695185 h 1344613"/>
              <a:gd name="connsiteX976" fmla="*/ 946057 w 1317625"/>
              <a:gd name="connsiteY976" fmla="*/ 691508 h 1344613"/>
              <a:gd name="connsiteX977" fmla="*/ 948167 w 1317625"/>
              <a:gd name="connsiteY977" fmla="*/ 687831 h 1344613"/>
              <a:gd name="connsiteX978" fmla="*/ 949433 w 1317625"/>
              <a:gd name="connsiteY978" fmla="*/ 683629 h 1344613"/>
              <a:gd name="connsiteX979" fmla="*/ 949880 w 1317625"/>
              <a:gd name="connsiteY979" fmla="*/ 681408 h 1344613"/>
              <a:gd name="connsiteX980" fmla="*/ 947921 w 1317625"/>
              <a:gd name="connsiteY980" fmla="*/ 681289 h 1344613"/>
              <a:gd name="connsiteX981" fmla="*/ 936625 w 1317625"/>
              <a:gd name="connsiteY981" fmla="*/ 668088 h 1344613"/>
              <a:gd name="connsiteX982" fmla="*/ 938363 w 1317625"/>
              <a:gd name="connsiteY982" fmla="*/ 665447 h 1344613"/>
              <a:gd name="connsiteX983" fmla="*/ 940101 w 1317625"/>
              <a:gd name="connsiteY983" fmla="*/ 662807 h 1344613"/>
              <a:gd name="connsiteX984" fmla="*/ 940970 w 1317625"/>
              <a:gd name="connsiteY984" fmla="*/ 659639 h 1344613"/>
              <a:gd name="connsiteX985" fmla="*/ 941838 w 1317625"/>
              <a:gd name="connsiteY985" fmla="*/ 656471 h 1344613"/>
              <a:gd name="connsiteX986" fmla="*/ 942273 w 1317625"/>
              <a:gd name="connsiteY986" fmla="*/ 649606 h 1344613"/>
              <a:gd name="connsiteX987" fmla="*/ 942273 w 1317625"/>
              <a:gd name="connsiteY987" fmla="*/ 645910 h 1344613"/>
              <a:gd name="connsiteX988" fmla="*/ 942707 w 1317625"/>
              <a:gd name="connsiteY988" fmla="*/ 639046 h 1344613"/>
              <a:gd name="connsiteX989" fmla="*/ 944011 w 1317625"/>
              <a:gd name="connsiteY989" fmla="*/ 632709 h 1344613"/>
              <a:gd name="connsiteX990" fmla="*/ 946617 w 1317625"/>
              <a:gd name="connsiteY990" fmla="*/ 626901 h 1344613"/>
              <a:gd name="connsiteX991" fmla="*/ 949658 w 1317625"/>
              <a:gd name="connsiteY991" fmla="*/ 621092 h 1344613"/>
              <a:gd name="connsiteX992" fmla="*/ 952265 w 1317625"/>
              <a:gd name="connsiteY992" fmla="*/ 615284 h 1344613"/>
              <a:gd name="connsiteX993" fmla="*/ 955740 w 1317625"/>
              <a:gd name="connsiteY993" fmla="*/ 610003 h 1344613"/>
              <a:gd name="connsiteX994" fmla="*/ 959650 w 1317625"/>
              <a:gd name="connsiteY994" fmla="*/ 606307 h 1344613"/>
              <a:gd name="connsiteX995" fmla="*/ 962691 w 1317625"/>
              <a:gd name="connsiteY995" fmla="*/ 603139 h 1344613"/>
              <a:gd name="connsiteX996" fmla="*/ 960085 w 1317625"/>
              <a:gd name="connsiteY996" fmla="*/ 599443 h 1344613"/>
              <a:gd name="connsiteX997" fmla="*/ 956609 w 1317625"/>
              <a:gd name="connsiteY997" fmla="*/ 594162 h 1344613"/>
              <a:gd name="connsiteX998" fmla="*/ 952265 w 1317625"/>
              <a:gd name="connsiteY998" fmla="*/ 586770 h 1344613"/>
              <a:gd name="connsiteX999" fmla="*/ 947921 w 1317625"/>
              <a:gd name="connsiteY999" fmla="*/ 577265 h 1344613"/>
              <a:gd name="connsiteX1000" fmla="*/ 519112 w 1317625"/>
              <a:gd name="connsiteY1000" fmla="*/ 571433 h 1344613"/>
              <a:gd name="connsiteX1001" fmla="*/ 521424 w 1317625"/>
              <a:gd name="connsiteY1001" fmla="*/ 572090 h 1344613"/>
              <a:gd name="connsiteX1002" fmla="*/ 522279 w 1317625"/>
              <a:gd name="connsiteY1002" fmla="*/ 574519 h 1344613"/>
              <a:gd name="connsiteX1003" fmla="*/ 520017 w 1317625"/>
              <a:gd name="connsiteY1003" fmla="*/ 574004 h 1344613"/>
              <a:gd name="connsiteX1004" fmla="*/ 519564 w 1317625"/>
              <a:gd name="connsiteY1004" fmla="*/ 572976 h 1344613"/>
              <a:gd name="connsiteX1005" fmla="*/ 519112 w 1317625"/>
              <a:gd name="connsiteY1005" fmla="*/ 571947 h 1344613"/>
              <a:gd name="connsiteX1006" fmla="*/ 1105993 w 1317625"/>
              <a:gd name="connsiteY1006" fmla="*/ 558287 h 1344613"/>
              <a:gd name="connsiteX1007" fmla="*/ 1102969 w 1317625"/>
              <a:gd name="connsiteY1007" fmla="*/ 571244 h 1344613"/>
              <a:gd name="connsiteX1008" fmla="*/ 1102969 w 1317625"/>
              <a:gd name="connsiteY1008" fmla="*/ 583816 h 1344613"/>
              <a:gd name="connsiteX1009" fmla="*/ 1103883 w 1317625"/>
              <a:gd name="connsiteY1009" fmla="*/ 584129 h 1344613"/>
              <a:gd name="connsiteX1010" fmla="*/ 1103883 w 1317625"/>
              <a:gd name="connsiteY1010" fmla="*/ 570929 h 1344613"/>
              <a:gd name="connsiteX1011" fmla="*/ 1106795 w 1317625"/>
              <a:gd name="connsiteY1011" fmla="*/ 558287 h 1344613"/>
              <a:gd name="connsiteX1012" fmla="*/ 582442 w 1317625"/>
              <a:gd name="connsiteY1012" fmla="*/ 514350 h 1344613"/>
              <a:gd name="connsiteX1013" fmla="*/ 585608 w 1317625"/>
              <a:gd name="connsiteY1013" fmla="*/ 514864 h 1344613"/>
              <a:gd name="connsiteX1014" fmla="*/ 588775 w 1317625"/>
              <a:gd name="connsiteY1014" fmla="*/ 515379 h 1344613"/>
              <a:gd name="connsiteX1015" fmla="*/ 591037 w 1317625"/>
              <a:gd name="connsiteY1015" fmla="*/ 515379 h 1344613"/>
              <a:gd name="connsiteX1016" fmla="*/ 593751 w 1317625"/>
              <a:gd name="connsiteY1016" fmla="*/ 515379 h 1344613"/>
              <a:gd name="connsiteX1017" fmla="*/ 598727 w 1317625"/>
              <a:gd name="connsiteY1017" fmla="*/ 514864 h 1344613"/>
              <a:gd name="connsiteX1018" fmla="*/ 603250 w 1317625"/>
              <a:gd name="connsiteY1018" fmla="*/ 514350 h 1344613"/>
              <a:gd name="connsiteX1019" fmla="*/ 601893 w 1317625"/>
              <a:gd name="connsiteY1019" fmla="*/ 519493 h 1344613"/>
              <a:gd name="connsiteX1020" fmla="*/ 600988 w 1317625"/>
              <a:gd name="connsiteY1020" fmla="*/ 524121 h 1344613"/>
              <a:gd name="connsiteX1021" fmla="*/ 599631 w 1317625"/>
              <a:gd name="connsiteY1021" fmla="*/ 527721 h 1344613"/>
              <a:gd name="connsiteX1022" fmla="*/ 598727 w 1317625"/>
              <a:gd name="connsiteY1022" fmla="*/ 530806 h 1344613"/>
              <a:gd name="connsiteX1023" fmla="*/ 595560 w 1317625"/>
              <a:gd name="connsiteY1023" fmla="*/ 534920 h 1344613"/>
              <a:gd name="connsiteX1024" fmla="*/ 593751 w 1317625"/>
              <a:gd name="connsiteY1024" fmla="*/ 537492 h 1344613"/>
              <a:gd name="connsiteX1025" fmla="*/ 591037 w 1317625"/>
              <a:gd name="connsiteY1025" fmla="*/ 540577 h 1344613"/>
              <a:gd name="connsiteX1026" fmla="*/ 589679 w 1317625"/>
              <a:gd name="connsiteY1026" fmla="*/ 544177 h 1344613"/>
              <a:gd name="connsiteX1027" fmla="*/ 589227 w 1317625"/>
              <a:gd name="connsiteY1027" fmla="*/ 546748 h 1344613"/>
              <a:gd name="connsiteX1028" fmla="*/ 588775 w 1317625"/>
              <a:gd name="connsiteY1028" fmla="*/ 549834 h 1344613"/>
              <a:gd name="connsiteX1029" fmla="*/ 588322 w 1317625"/>
              <a:gd name="connsiteY1029" fmla="*/ 553434 h 1344613"/>
              <a:gd name="connsiteX1030" fmla="*/ 588322 w 1317625"/>
              <a:gd name="connsiteY1030" fmla="*/ 558576 h 1344613"/>
              <a:gd name="connsiteX1031" fmla="*/ 573395 w 1317625"/>
              <a:gd name="connsiteY1031" fmla="*/ 587375 h 1344613"/>
              <a:gd name="connsiteX1032" fmla="*/ 567644 w 1317625"/>
              <a:gd name="connsiteY1032" fmla="*/ 582774 h 1344613"/>
              <a:gd name="connsiteX1033" fmla="*/ 567986 w 1317625"/>
              <a:gd name="connsiteY1033" fmla="*/ 583837 h 1344613"/>
              <a:gd name="connsiteX1034" fmla="*/ 569739 w 1317625"/>
              <a:gd name="connsiteY1034" fmla="*/ 587103 h 1344613"/>
              <a:gd name="connsiteX1035" fmla="*/ 570615 w 1317625"/>
              <a:gd name="connsiteY1035" fmla="*/ 588736 h 1344613"/>
              <a:gd name="connsiteX1036" fmla="*/ 571930 w 1317625"/>
              <a:gd name="connsiteY1036" fmla="*/ 590369 h 1344613"/>
              <a:gd name="connsiteX1037" fmla="*/ 572368 w 1317625"/>
              <a:gd name="connsiteY1037" fmla="*/ 592546 h 1344613"/>
              <a:gd name="connsiteX1038" fmla="*/ 572806 w 1317625"/>
              <a:gd name="connsiteY1038" fmla="*/ 594723 h 1344613"/>
              <a:gd name="connsiteX1039" fmla="*/ 574559 w 1317625"/>
              <a:gd name="connsiteY1039" fmla="*/ 595267 h 1344613"/>
              <a:gd name="connsiteX1040" fmla="*/ 577627 w 1317625"/>
              <a:gd name="connsiteY1040" fmla="*/ 595811 h 1344613"/>
              <a:gd name="connsiteX1041" fmla="*/ 578942 w 1317625"/>
              <a:gd name="connsiteY1041" fmla="*/ 596356 h 1344613"/>
              <a:gd name="connsiteX1042" fmla="*/ 580256 w 1317625"/>
              <a:gd name="connsiteY1042" fmla="*/ 596356 h 1344613"/>
              <a:gd name="connsiteX1043" fmla="*/ 582447 w 1317625"/>
              <a:gd name="connsiteY1043" fmla="*/ 595811 h 1344613"/>
              <a:gd name="connsiteX1044" fmla="*/ 584200 w 1317625"/>
              <a:gd name="connsiteY1044" fmla="*/ 594723 h 1344613"/>
              <a:gd name="connsiteX1045" fmla="*/ 584200 w 1317625"/>
              <a:gd name="connsiteY1045" fmla="*/ 611051 h 1344613"/>
              <a:gd name="connsiteX1046" fmla="*/ 582885 w 1317625"/>
              <a:gd name="connsiteY1046" fmla="*/ 611596 h 1344613"/>
              <a:gd name="connsiteX1047" fmla="*/ 580694 w 1317625"/>
              <a:gd name="connsiteY1047" fmla="*/ 612140 h 1344613"/>
              <a:gd name="connsiteX1048" fmla="*/ 578942 w 1317625"/>
              <a:gd name="connsiteY1048" fmla="*/ 612684 h 1344613"/>
              <a:gd name="connsiteX1049" fmla="*/ 577627 w 1317625"/>
              <a:gd name="connsiteY1049" fmla="*/ 614317 h 1344613"/>
              <a:gd name="connsiteX1050" fmla="*/ 573683 w 1317625"/>
              <a:gd name="connsiteY1050" fmla="*/ 617039 h 1344613"/>
              <a:gd name="connsiteX1051" fmla="*/ 570177 w 1317625"/>
              <a:gd name="connsiteY1051" fmla="*/ 620849 h 1344613"/>
              <a:gd name="connsiteX1052" fmla="*/ 567548 w 1317625"/>
              <a:gd name="connsiteY1052" fmla="*/ 624659 h 1344613"/>
              <a:gd name="connsiteX1053" fmla="*/ 564480 w 1317625"/>
              <a:gd name="connsiteY1053" fmla="*/ 628469 h 1344613"/>
              <a:gd name="connsiteX1054" fmla="*/ 562727 w 1317625"/>
              <a:gd name="connsiteY1054" fmla="*/ 631734 h 1344613"/>
              <a:gd name="connsiteX1055" fmla="*/ 560975 w 1317625"/>
              <a:gd name="connsiteY1055" fmla="*/ 635000 h 1344613"/>
              <a:gd name="connsiteX1056" fmla="*/ 552648 w 1317625"/>
              <a:gd name="connsiteY1056" fmla="*/ 630646 h 1344613"/>
              <a:gd name="connsiteX1057" fmla="*/ 544760 w 1317625"/>
              <a:gd name="connsiteY1057" fmla="*/ 626291 h 1344613"/>
              <a:gd name="connsiteX1058" fmla="*/ 537749 w 1317625"/>
              <a:gd name="connsiteY1058" fmla="*/ 621393 h 1344613"/>
              <a:gd name="connsiteX1059" fmla="*/ 530299 w 1317625"/>
              <a:gd name="connsiteY1059" fmla="*/ 616494 h 1344613"/>
              <a:gd name="connsiteX1060" fmla="*/ 523288 w 1317625"/>
              <a:gd name="connsiteY1060" fmla="*/ 611051 h 1344613"/>
              <a:gd name="connsiteX1061" fmla="*/ 515838 w 1317625"/>
              <a:gd name="connsiteY1061" fmla="*/ 606697 h 1344613"/>
              <a:gd name="connsiteX1062" fmla="*/ 508388 w 1317625"/>
              <a:gd name="connsiteY1062" fmla="*/ 601799 h 1344613"/>
              <a:gd name="connsiteX1063" fmla="*/ 500062 w 1317625"/>
              <a:gd name="connsiteY1063" fmla="*/ 597989 h 1344613"/>
              <a:gd name="connsiteX1064" fmla="*/ 500062 w 1317625"/>
              <a:gd name="connsiteY1064" fmla="*/ 584926 h 1344613"/>
              <a:gd name="connsiteX1065" fmla="*/ 503130 w 1317625"/>
              <a:gd name="connsiteY1065" fmla="*/ 581660 h 1344613"/>
              <a:gd name="connsiteX1066" fmla="*/ 507074 w 1317625"/>
              <a:gd name="connsiteY1066" fmla="*/ 580027 h 1344613"/>
              <a:gd name="connsiteX1067" fmla="*/ 512770 w 1317625"/>
              <a:gd name="connsiteY1067" fmla="*/ 578394 h 1344613"/>
              <a:gd name="connsiteX1068" fmla="*/ 517591 w 1317625"/>
              <a:gd name="connsiteY1068" fmla="*/ 577850 h 1344613"/>
              <a:gd name="connsiteX1069" fmla="*/ 526355 w 1317625"/>
              <a:gd name="connsiteY1069" fmla="*/ 578939 h 1344613"/>
              <a:gd name="connsiteX1070" fmla="*/ 540816 w 1317625"/>
              <a:gd name="connsiteY1070" fmla="*/ 580571 h 1344613"/>
              <a:gd name="connsiteX1071" fmla="*/ 548704 w 1317625"/>
              <a:gd name="connsiteY1071" fmla="*/ 581660 h 1344613"/>
              <a:gd name="connsiteX1072" fmla="*/ 556154 w 1317625"/>
              <a:gd name="connsiteY1072" fmla="*/ 581660 h 1344613"/>
              <a:gd name="connsiteX1073" fmla="*/ 562727 w 1317625"/>
              <a:gd name="connsiteY1073" fmla="*/ 581660 h 1344613"/>
              <a:gd name="connsiteX1074" fmla="*/ 565778 w 1317625"/>
              <a:gd name="connsiteY1074" fmla="*/ 581281 h 1344613"/>
              <a:gd name="connsiteX1075" fmla="*/ 561181 w 1317625"/>
              <a:gd name="connsiteY1075" fmla="*/ 577604 h 1344613"/>
              <a:gd name="connsiteX1076" fmla="*/ 555301 w 1317625"/>
              <a:gd name="connsiteY1076" fmla="*/ 577090 h 1344613"/>
              <a:gd name="connsiteX1077" fmla="*/ 542635 w 1317625"/>
              <a:gd name="connsiteY1077" fmla="*/ 575547 h 1344613"/>
              <a:gd name="connsiteX1078" fmla="*/ 534945 w 1317625"/>
              <a:gd name="connsiteY1078" fmla="*/ 574519 h 1344613"/>
              <a:gd name="connsiteX1079" fmla="*/ 528159 w 1317625"/>
              <a:gd name="connsiteY1079" fmla="*/ 573490 h 1344613"/>
              <a:gd name="connsiteX1080" fmla="*/ 522731 w 1317625"/>
              <a:gd name="connsiteY1080" fmla="*/ 572462 h 1344613"/>
              <a:gd name="connsiteX1081" fmla="*/ 521424 w 1317625"/>
              <a:gd name="connsiteY1081" fmla="*/ 572090 h 1344613"/>
              <a:gd name="connsiteX1082" fmla="*/ 520469 w 1317625"/>
              <a:gd name="connsiteY1082" fmla="*/ 569376 h 1344613"/>
              <a:gd name="connsiteX1083" fmla="*/ 520017 w 1317625"/>
              <a:gd name="connsiteY1083" fmla="*/ 565262 h 1344613"/>
              <a:gd name="connsiteX1084" fmla="*/ 520469 w 1317625"/>
              <a:gd name="connsiteY1084" fmla="*/ 562176 h 1344613"/>
              <a:gd name="connsiteX1085" fmla="*/ 521826 w 1317625"/>
              <a:gd name="connsiteY1085" fmla="*/ 559091 h 1344613"/>
              <a:gd name="connsiteX1086" fmla="*/ 523183 w 1317625"/>
              <a:gd name="connsiteY1086" fmla="*/ 556519 h 1344613"/>
              <a:gd name="connsiteX1087" fmla="*/ 524993 w 1317625"/>
              <a:gd name="connsiteY1087" fmla="*/ 553434 h 1344613"/>
              <a:gd name="connsiteX1088" fmla="*/ 526802 w 1317625"/>
              <a:gd name="connsiteY1088" fmla="*/ 549834 h 1344613"/>
              <a:gd name="connsiteX1089" fmla="*/ 528159 w 1317625"/>
              <a:gd name="connsiteY1089" fmla="*/ 545720 h 1344613"/>
              <a:gd name="connsiteX1090" fmla="*/ 528159 w 1317625"/>
              <a:gd name="connsiteY1090" fmla="*/ 543149 h 1344613"/>
              <a:gd name="connsiteX1091" fmla="*/ 528612 w 1317625"/>
              <a:gd name="connsiteY1091" fmla="*/ 540577 h 1344613"/>
              <a:gd name="connsiteX1092" fmla="*/ 529516 w 1317625"/>
              <a:gd name="connsiteY1092" fmla="*/ 538006 h 1344613"/>
              <a:gd name="connsiteX1093" fmla="*/ 530421 w 1317625"/>
              <a:gd name="connsiteY1093" fmla="*/ 535949 h 1344613"/>
              <a:gd name="connsiteX1094" fmla="*/ 531778 w 1317625"/>
              <a:gd name="connsiteY1094" fmla="*/ 533378 h 1344613"/>
              <a:gd name="connsiteX1095" fmla="*/ 533135 w 1317625"/>
              <a:gd name="connsiteY1095" fmla="*/ 531835 h 1344613"/>
              <a:gd name="connsiteX1096" fmla="*/ 534945 w 1317625"/>
              <a:gd name="connsiteY1096" fmla="*/ 530806 h 1344613"/>
              <a:gd name="connsiteX1097" fmla="*/ 537206 w 1317625"/>
              <a:gd name="connsiteY1097" fmla="*/ 530292 h 1344613"/>
              <a:gd name="connsiteX1098" fmla="*/ 537659 w 1317625"/>
              <a:gd name="connsiteY1098" fmla="*/ 533892 h 1344613"/>
              <a:gd name="connsiteX1099" fmla="*/ 537659 w 1317625"/>
              <a:gd name="connsiteY1099" fmla="*/ 536463 h 1344613"/>
              <a:gd name="connsiteX1100" fmla="*/ 538563 w 1317625"/>
              <a:gd name="connsiteY1100" fmla="*/ 539549 h 1344613"/>
              <a:gd name="connsiteX1101" fmla="*/ 539468 w 1317625"/>
              <a:gd name="connsiteY1101" fmla="*/ 542120 h 1344613"/>
              <a:gd name="connsiteX1102" fmla="*/ 540373 w 1317625"/>
              <a:gd name="connsiteY1102" fmla="*/ 544177 h 1344613"/>
              <a:gd name="connsiteX1103" fmla="*/ 542182 w 1317625"/>
              <a:gd name="connsiteY1103" fmla="*/ 546234 h 1344613"/>
              <a:gd name="connsiteX1104" fmla="*/ 543992 w 1317625"/>
              <a:gd name="connsiteY1104" fmla="*/ 547777 h 1344613"/>
              <a:gd name="connsiteX1105" fmla="*/ 545801 w 1317625"/>
              <a:gd name="connsiteY1105" fmla="*/ 548806 h 1344613"/>
              <a:gd name="connsiteX1106" fmla="*/ 558467 w 1317625"/>
              <a:gd name="connsiteY1106" fmla="*/ 548806 h 1344613"/>
              <a:gd name="connsiteX1107" fmla="*/ 558467 w 1317625"/>
              <a:gd name="connsiteY1107" fmla="*/ 536463 h 1344613"/>
              <a:gd name="connsiteX1108" fmla="*/ 554848 w 1317625"/>
              <a:gd name="connsiteY1108" fmla="*/ 535435 h 1344613"/>
              <a:gd name="connsiteX1109" fmla="*/ 552586 w 1317625"/>
              <a:gd name="connsiteY1109" fmla="*/ 533892 h 1344613"/>
              <a:gd name="connsiteX1110" fmla="*/ 550325 w 1317625"/>
              <a:gd name="connsiteY1110" fmla="*/ 532863 h 1344613"/>
              <a:gd name="connsiteX1111" fmla="*/ 548968 w 1317625"/>
              <a:gd name="connsiteY1111" fmla="*/ 531321 h 1344613"/>
              <a:gd name="connsiteX1112" fmla="*/ 547610 w 1317625"/>
              <a:gd name="connsiteY1112" fmla="*/ 529778 h 1344613"/>
              <a:gd name="connsiteX1113" fmla="*/ 547158 w 1317625"/>
              <a:gd name="connsiteY1113" fmla="*/ 528235 h 1344613"/>
              <a:gd name="connsiteX1114" fmla="*/ 546706 w 1317625"/>
              <a:gd name="connsiteY1114" fmla="*/ 526178 h 1344613"/>
              <a:gd name="connsiteX1115" fmla="*/ 545801 w 1317625"/>
              <a:gd name="connsiteY1115" fmla="*/ 523607 h 1344613"/>
              <a:gd name="connsiteX1116" fmla="*/ 550777 w 1317625"/>
              <a:gd name="connsiteY1116" fmla="*/ 523092 h 1344613"/>
              <a:gd name="connsiteX1117" fmla="*/ 554848 w 1317625"/>
              <a:gd name="connsiteY1117" fmla="*/ 522578 h 1344613"/>
              <a:gd name="connsiteX1118" fmla="*/ 558467 w 1317625"/>
              <a:gd name="connsiteY1118" fmla="*/ 521550 h 1344613"/>
              <a:gd name="connsiteX1119" fmla="*/ 560729 w 1317625"/>
              <a:gd name="connsiteY1119" fmla="*/ 520521 h 1344613"/>
              <a:gd name="connsiteX1120" fmla="*/ 563443 w 1317625"/>
              <a:gd name="connsiteY1120" fmla="*/ 519493 h 1344613"/>
              <a:gd name="connsiteX1121" fmla="*/ 565705 w 1317625"/>
              <a:gd name="connsiteY1121" fmla="*/ 518464 h 1344613"/>
              <a:gd name="connsiteX1122" fmla="*/ 569324 w 1317625"/>
              <a:gd name="connsiteY1122" fmla="*/ 517436 h 1344613"/>
              <a:gd name="connsiteX1123" fmla="*/ 573395 w 1317625"/>
              <a:gd name="connsiteY1123" fmla="*/ 517436 h 1344613"/>
              <a:gd name="connsiteX1124" fmla="*/ 577918 w 1317625"/>
              <a:gd name="connsiteY1124" fmla="*/ 515893 h 1344613"/>
              <a:gd name="connsiteX1125" fmla="*/ 956117 w 1317625"/>
              <a:gd name="connsiteY1125" fmla="*/ 500559 h 1344613"/>
              <a:gd name="connsiteX1126" fmla="*/ 952709 w 1317625"/>
              <a:gd name="connsiteY1126" fmla="*/ 502992 h 1344613"/>
              <a:gd name="connsiteX1127" fmla="*/ 949330 w 1317625"/>
              <a:gd name="connsiteY1127" fmla="*/ 505706 h 1344613"/>
              <a:gd name="connsiteX1128" fmla="*/ 948063 w 1317625"/>
              <a:gd name="connsiteY1128" fmla="*/ 507335 h 1344613"/>
              <a:gd name="connsiteX1129" fmla="*/ 946796 w 1317625"/>
              <a:gd name="connsiteY1129" fmla="*/ 508963 h 1344613"/>
              <a:gd name="connsiteX1130" fmla="*/ 946312 w 1317625"/>
              <a:gd name="connsiteY1130" fmla="*/ 509585 h 1344613"/>
              <a:gd name="connsiteX1131" fmla="*/ 949674 w 1317625"/>
              <a:gd name="connsiteY1131" fmla="*/ 513419 h 1344613"/>
              <a:gd name="connsiteX1132" fmla="*/ 948800 w 1317625"/>
              <a:gd name="connsiteY1132" fmla="*/ 519188 h 1344613"/>
              <a:gd name="connsiteX1133" fmla="*/ 947052 w 1317625"/>
              <a:gd name="connsiteY1133" fmla="*/ 525482 h 1344613"/>
              <a:gd name="connsiteX1134" fmla="*/ 945305 w 1317625"/>
              <a:gd name="connsiteY1134" fmla="*/ 531251 h 1344613"/>
              <a:gd name="connsiteX1135" fmla="*/ 943994 w 1317625"/>
              <a:gd name="connsiteY1135" fmla="*/ 535971 h 1344613"/>
              <a:gd name="connsiteX1136" fmla="*/ 941372 w 1317625"/>
              <a:gd name="connsiteY1136" fmla="*/ 540692 h 1344613"/>
              <a:gd name="connsiteX1137" fmla="*/ 939624 w 1317625"/>
              <a:gd name="connsiteY1137" fmla="*/ 544363 h 1344613"/>
              <a:gd name="connsiteX1138" fmla="*/ 937439 w 1317625"/>
              <a:gd name="connsiteY1138" fmla="*/ 546986 h 1344613"/>
              <a:gd name="connsiteX1139" fmla="*/ 935255 w 1317625"/>
              <a:gd name="connsiteY1139" fmla="*/ 548559 h 1344613"/>
              <a:gd name="connsiteX1140" fmla="*/ 937002 w 1317625"/>
              <a:gd name="connsiteY1140" fmla="*/ 556951 h 1344613"/>
              <a:gd name="connsiteX1141" fmla="*/ 937810 w 1317625"/>
              <a:gd name="connsiteY1141" fmla="*/ 559373 h 1344613"/>
              <a:gd name="connsiteX1142" fmla="*/ 937057 w 1317625"/>
              <a:gd name="connsiteY1142" fmla="*/ 556214 h 1344613"/>
              <a:gd name="connsiteX1143" fmla="*/ 936625 w 1317625"/>
              <a:gd name="connsiteY1143" fmla="*/ 552068 h 1344613"/>
              <a:gd name="connsiteX1144" fmla="*/ 936625 w 1317625"/>
              <a:gd name="connsiteY1144" fmla="*/ 548441 h 1344613"/>
              <a:gd name="connsiteX1145" fmla="*/ 938786 w 1317625"/>
              <a:gd name="connsiteY1145" fmla="*/ 546886 h 1344613"/>
              <a:gd name="connsiteX1146" fmla="*/ 940946 w 1317625"/>
              <a:gd name="connsiteY1146" fmla="*/ 544294 h 1344613"/>
              <a:gd name="connsiteX1147" fmla="*/ 942674 w 1317625"/>
              <a:gd name="connsiteY1147" fmla="*/ 540667 h 1344613"/>
              <a:gd name="connsiteX1148" fmla="*/ 945266 w 1317625"/>
              <a:gd name="connsiteY1148" fmla="*/ 536002 h 1344613"/>
              <a:gd name="connsiteX1149" fmla="*/ 946563 w 1317625"/>
              <a:gd name="connsiteY1149" fmla="*/ 531338 h 1344613"/>
              <a:gd name="connsiteX1150" fmla="*/ 948291 w 1317625"/>
              <a:gd name="connsiteY1150" fmla="*/ 525637 h 1344613"/>
              <a:gd name="connsiteX1151" fmla="*/ 950019 w 1317625"/>
              <a:gd name="connsiteY1151" fmla="*/ 519418 h 1344613"/>
              <a:gd name="connsiteX1152" fmla="*/ 950883 w 1317625"/>
              <a:gd name="connsiteY1152" fmla="*/ 513717 h 1344613"/>
              <a:gd name="connsiteX1153" fmla="*/ 954340 w 1317625"/>
              <a:gd name="connsiteY1153" fmla="*/ 504389 h 1344613"/>
              <a:gd name="connsiteX1154" fmla="*/ 955636 w 1317625"/>
              <a:gd name="connsiteY1154" fmla="*/ 501279 h 1344613"/>
              <a:gd name="connsiteX1155" fmla="*/ 896937 w 1317625"/>
              <a:gd name="connsiteY1155" fmla="*/ 474405 h 1344613"/>
              <a:gd name="connsiteX1156" fmla="*/ 896937 w 1317625"/>
              <a:gd name="connsiteY1156" fmla="*/ 490536 h 1344613"/>
              <a:gd name="connsiteX1157" fmla="*/ 917758 w 1317625"/>
              <a:gd name="connsiteY1157" fmla="*/ 492279 h 1344613"/>
              <a:gd name="connsiteX1158" fmla="*/ 900342 w 1317625"/>
              <a:gd name="connsiteY1158" fmla="*/ 488879 h 1344613"/>
              <a:gd name="connsiteX1159" fmla="*/ 631825 w 1317625"/>
              <a:gd name="connsiteY1159" fmla="*/ 462712 h 1344613"/>
              <a:gd name="connsiteX1160" fmla="*/ 630912 w 1317625"/>
              <a:gd name="connsiteY1160" fmla="*/ 463079 h 1344613"/>
              <a:gd name="connsiteX1161" fmla="*/ 629603 w 1317625"/>
              <a:gd name="connsiteY1161" fmla="*/ 463604 h 1344613"/>
              <a:gd name="connsiteX1162" fmla="*/ 628651 w 1317625"/>
              <a:gd name="connsiteY1162" fmla="*/ 463604 h 1344613"/>
              <a:gd name="connsiteX1163" fmla="*/ 631825 w 1317625"/>
              <a:gd name="connsiteY1163" fmla="*/ 465012 h 1344613"/>
              <a:gd name="connsiteX1164" fmla="*/ 970164 w 1317625"/>
              <a:gd name="connsiteY1164" fmla="*/ 441473 h 1344613"/>
              <a:gd name="connsiteX1165" fmla="*/ 970446 w 1317625"/>
              <a:gd name="connsiteY1165" fmla="*/ 442196 h 1344613"/>
              <a:gd name="connsiteX1166" fmla="*/ 971713 w 1317625"/>
              <a:gd name="connsiteY1166" fmla="*/ 442739 h 1344613"/>
              <a:gd name="connsiteX1167" fmla="*/ 972980 w 1317625"/>
              <a:gd name="connsiteY1167" fmla="*/ 443281 h 1344613"/>
              <a:gd name="connsiteX1168" fmla="*/ 976780 w 1317625"/>
              <a:gd name="connsiteY1168" fmla="*/ 443281 h 1344613"/>
              <a:gd name="connsiteX1169" fmla="*/ 981214 w 1317625"/>
              <a:gd name="connsiteY1169" fmla="*/ 443281 h 1344613"/>
              <a:gd name="connsiteX1170" fmla="*/ 978097 w 1317625"/>
              <a:gd name="connsiteY1170" fmla="*/ 442506 h 1344613"/>
              <a:gd name="connsiteX1171" fmla="*/ 974596 w 1317625"/>
              <a:gd name="connsiteY1171" fmla="*/ 441473 h 1344613"/>
              <a:gd name="connsiteX1172" fmla="*/ 769937 w 1317625"/>
              <a:gd name="connsiteY1172" fmla="*/ 398463 h 1344613"/>
              <a:gd name="connsiteX1173" fmla="*/ 784225 w 1317625"/>
              <a:gd name="connsiteY1173" fmla="*/ 398463 h 1344613"/>
              <a:gd name="connsiteX1174" fmla="*/ 781164 w 1317625"/>
              <a:gd name="connsiteY1174" fmla="*/ 410989 h 1344613"/>
              <a:gd name="connsiteX1175" fmla="*/ 778612 w 1317625"/>
              <a:gd name="connsiteY1175" fmla="*/ 421949 h 1344613"/>
              <a:gd name="connsiteX1176" fmla="*/ 776061 w 1317625"/>
              <a:gd name="connsiteY1176" fmla="*/ 432127 h 1344613"/>
              <a:gd name="connsiteX1177" fmla="*/ 773509 w 1317625"/>
              <a:gd name="connsiteY1177" fmla="*/ 441521 h 1344613"/>
              <a:gd name="connsiteX1178" fmla="*/ 769937 w 1317625"/>
              <a:gd name="connsiteY1178" fmla="*/ 455613 h 1344613"/>
              <a:gd name="connsiteX1179" fmla="*/ 770958 w 1317625"/>
              <a:gd name="connsiteY1179" fmla="*/ 435258 h 1344613"/>
              <a:gd name="connsiteX1180" fmla="*/ 772999 w 1317625"/>
              <a:gd name="connsiteY1180" fmla="*/ 420384 h 1344613"/>
              <a:gd name="connsiteX1181" fmla="*/ 773509 w 1317625"/>
              <a:gd name="connsiteY1181" fmla="*/ 414121 h 1344613"/>
              <a:gd name="connsiteX1182" fmla="*/ 772999 w 1317625"/>
              <a:gd name="connsiteY1182" fmla="*/ 408640 h 1344613"/>
              <a:gd name="connsiteX1183" fmla="*/ 771978 w 1317625"/>
              <a:gd name="connsiteY1183" fmla="*/ 403943 h 1344613"/>
              <a:gd name="connsiteX1184" fmla="*/ 291544 w 1317625"/>
              <a:gd name="connsiteY1184" fmla="*/ 393699 h 1344613"/>
              <a:gd name="connsiteX1185" fmla="*/ 294987 w 1317625"/>
              <a:gd name="connsiteY1185" fmla="*/ 394228 h 1344613"/>
              <a:gd name="connsiteX1186" fmla="*/ 299291 w 1317625"/>
              <a:gd name="connsiteY1186" fmla="*/ 395287 h 1344613"/>
              <a:gd name="connsiteX1187" fmla="*/ 302304 w 1317625"/>
              <a:gd name="connsiteY1187" fmla="*/ 404282 h 1344613"/>
              <a:gd name="connsiteX1188" fmla="*/ 305747 w 1317625"/>
              <a:gd name="connsiteY1188" fmla="*/ 411691 h 1344613"/>
              <a:gd name="connsiteX1189" fmla="*/ 306177 w 1317625"/>
              <a:gd name="connsiteY1189" fmla="*/ 413807 h 1344613"/>
              <a:gd name="connsiteX1190" fmla="*/ 306608 w 1317625"/>
              <a:gd name="connsiteY1190" fmla="*/ 415395 h 1344613"/>
              <a:gd name="connsiteX1191" fmla="*/ 306608 w 1317625"/>
              <a:gd name="connsiteY1191" fmla="*/ 416982 h 1344613"/>
              <a:gd name="connsiteX1192" fmla="*/ 306608 w 1317625"/>
              <a:gd name="connsiteY1192" fmla="*/ 418570 h 1344613"/>
              <a:gd name="connsiteX1193" fmla="*/ 306177 w 1317625"/>
              <a:gd name="connsiteY1193" fmla="*/ 420157 h 1344613"/>
              <a:gd name="connsiteX1194" fmla="*/ 305317 w 1317625"/>
              <a:gd name="connsiteY1194" fmla="*/ 421216 h 1344613"/>
              <a:gd name="connsiteX1195" fmla="*/ 304025 w 1317625"/>
              <a:gd name="connsiteY1195" fmla="*/ 423332 h 1344613"/>
              <a:gd name="connsiteX1196" fmla="*/ 301873 w 1317625"/>
              <a:gd name="connsiteY1196" fmla="*/ 424391 h 1344613"/>
              <a:gd name="connsiteX1197" fmla="*/ 304886 w 1317625"/>
              <a:gd name="connsiteY1197" fmla="*/ 424391 h 1344613"/>
              <a:gd name="connsiteX1198" fmla="*/ 303595 w 1317625"/>
              <a:gd name="connsiteY1198" fmla="*/ 427037 h 1344613"/>
              <a:gd name="connsiteX1199" fmla="*/ 301873 w 1317625"/>
              <a:gd name="connsiteY1199" fmla="*/ 429153 h 1344613"/>
              <a:gd name="connsiteX1200" fmla="*/ 300582 w 1317625"/>
              <a:gd name="connsiteY1200" fmla="*/ 431270 h 1344613"/>
              <a:gd name="connsiteX1201" fmla="*/ 298861 w 1317625"/>
              <a:gd name="connsiteY1201" fmla="*/ 433387 h 1344613"/>
              <a:gd name="connsiteX1202" fmla="*/ 296709 w 1317625"/>
              <a:gd name="connsiteY1202" fmla="*/ 434974 h 1344613"/>
              <a:gd name="connsiteX1203" fmla="*/ 294987 w 1317625"/>
              <a:gd name="connsiteY1203" fmla="*/ 436033 h 1344613"/>
              <a:gd name="connsiteX1204" fmla="*/ 292405 w 1317625"/>
              <a:gd name="connsiteY1204" fmla="*/ 437091 h 1344613"/>
              <a:gd name="connsiteX1205" fmla="*/ 290683 w 1317625"/>
              <a:gd name="connsiteY1205" fmla="*/ 437091 h 1344613"/>
              <a:gd name="connsiteX1206" fmla="*/ 290683 w 1317625"/>
              <a:gd name="connsiteY1206" fmla="*/ 439208 h 1344613"/>
              <a:gd name="connsiteX1207" fmla="*/ 291544 w 1317625"/>
              <a:gd name="connsiteY1207" fmla="*/ 441324 h 1344613"/>
              <a:gd name="connsiteX1208" fmla="*/ 292405 w 1317625"/>
              <a:gd name="connsiteY1208" fmla="*/ 442912 h 1344613"/>
              <a:gd name="connsiteX1209" fmla="*/ 294126 w 1317625"/>
              <a:gd name="connsiteY1209" fmla="*/ 444499 h 1344613"/>
              <a:gd name="connsiteX1210" fmla="*/ 295418 w 1317625"/>
              <a:gd name="connsiteY1210" fmla="*/ 446087 h 1344613"/>
              <a:gd name="connsiteX1211" fmla="*/ 297139 w 1317625"/>
              <a:gd name="connsiteY1211" fmla="*/ 447145 h 1344613"/>
              <a:gd name="connsiteX1212" fmla="*/ 299291 w 1317625"/>
              <a:gd name="connsiteY1212" fmla="*/ 447674 h 1344613"/>
              <a:gd name="connsiteX1213" fmla="*/ 301443 w 1317625"/>
              <a:gd name="connsiteY1213" fmla="*/ 448203 h 1344613"/>
              <a:gd name="connsiteX1214" fmla="*/ 306177 w 1317625"/>
              <a:gd name="connsiteY1214" fmla="*/ 449262 h 1344613"/>
              <a:gd name="connsiteX1215" fmla="*/ 310912 w 1317625"/>
              <a:gd name="connsiteY1215" fmla="*/ 449791 h 1344613"/>
              <a:gd name="connsiteX1216" fmla="*/ 315216 w 1317625"/>
              <a:gd name="connsiteY1216" fmla="*/ 449791 h 1344613"/>
              <a:gd name="connsiteX1217" fmla="*/ 319089 w 1317625"/>
              <a:gd name="connsiteY1217" fmla="*/ 449791 h 1344613"/>
              <a:gd name="connsiteX1218" fmla="*/ 319089 w 1317625"/>
              <a:gd name="connsiteY1218" fmla="*/ 459316 h 1344613"/>
              <a:gd name="connsiteX1219" fmla="*/ 319089 w 1317625"/>
              <a:gd name="connsiteY1219" fmla="*/ 466724 h 1344613"/>
              <a:gd name="connsiteX1220" fmla="*/ 319089 w 1317625"/>
              <a:gd name="connsiteY1220" fmla="*/ 474133 h 1344613"/>
              <a:gd name="connsiteX1221" fmla="*/ 319089 w 1317625"/>
              <a:gd name="connsiteY1221" fmla="*/ 483129 h 1344613"/>
              <a:gd name="connsiteX1222" fmla="*/ 319089 w 1317625"/>
              <a:gd name="connsiteY1222" fmla="*/ 484716 h 1344613"/>
              <a:gd name="connsiteX1223" fmla="*/ 318659 w 1317625"/>
              <a:gd name="connsiteY1223" fmla="*/ 486833 h 1344613"/>
              <a:gd name="connsiteX1224" fmla="*/ 317798 w 1317625"/>
              <a:gd name="connsiteY1224" fmla="*/ 488420 h 1344613"/>
              <a:gd name="connsiteX1225" fmla="*/ 316937 w 1317625"/>
              <a:gd name="connsiteY1225" fmla="*/ 490008 h 1344613"/>
              <a:gd name="connsiteX1226" fmla="*/ 314785 w 1317625"/>
              <a:gd name="connsiteY1226" fmla="*/ 492654 h 1344613"/>
              <a:gd name="connsiteX1227" fmla="*/ 311772 w 1317625"/>
              <a:gd name="connsiteY1227" fmla="*/ 495829 h 1344613"/>
              <a:gd name="connsiteX1228" fmla="*/ 309621 w 1317625"/>
              <a:gd name="connsiteY1228" fmla="*/ 499004 h 1344613"/>
              <a:gd name="connsiteX1229" fmla="*/ 307038 w 1317625"/>
              <a:gd name="connsiteY1229" fmla="*/ 502179 h 1344613"/>
              <a:gd name="connsiteX1230" fmla="*/ 306177 w 1317625"/>
              <a:gd name="connsiteY1230" fmla="*/ 503766 h 1344613"/>
              <a:gd name="connsiteX1231" fmla="*/ 305317 w 1317625"/>
              <a:gd name="connsiteY1231" fmla="*/ 505354 h 1344613"/>
              <a:gd name="connsiteX1232" fmla="*/ 304886 w 1317625"/>
              <a:gd name="connsiteY1232" fmla="*/ 506941 h 1344613"/>
              <a:gd name="connsiteX1233" fmla="*/ 304886 w 1317625"/>
              <a:gd name="connsiteY1233" fmla="*/ 508529 h 1344613"/>
              <a:gd name="connsiteX1234" fmla="*/ 301443 w 1317625"/>
              <a:gd name="connsiteY1234" fmla="*/ 509058 h 1344613"/>
              <a:gd name="connsiteX1235" fmla="*/ 299291 w 1317625"/>
              <a:gd name="connsiteY1235" fmla="*/ 509058 h 1344613"/>
              <a:gd name="connsiteX1236" fmla="*/ 296278 w 1317625"/>
              <a:gd name="connsiteY1236" fmla="*/ 510116 h 1344613"/>
              <a:gd name="connsiteX1237" fmla="*/ 294557 w 1317625"/>
              <a:gd name="connsiteY1237" fmla="*/ 511704 h 1344613"/>
              <a:gd name="connsiteX1238" fmla="*/ 292835 w 1317625"/>
              <a:gd name="connsiteY1238" fmla="*/ 512762 h 1344613"/>
              <a:gd name="connsiteX1239" fmla="*/ 291544 w 1317625"/>
              <a:gd name="connsiteY1239" fmla="*/ 514879 h 1344613"/>
              <a:gd name="connsiteX1240" fmla="*/ 290683 w 1317625"/>
              <a:gd name="connsiteY1240" fmla="*/ 516466 h 1344613"/>
              <a:gd name="connsiteX1241" fmla="*/ 290683 w 1317625"/>
              <a:gd name="connsiteY1241" fmla="*/ 518583 h 1344613"/>
              <a:gd name="connsiteX1242" fmla="*/ 287240 w 1317625"/>
              <a:gd name="connsiteY1242" fmla="*/ 519112 h 1344613"/>
              <a:gd name="connsiteX1243" fmla="*/ 285088 w 1317625"/>
              <a:gd name="connsiteY1243" fmla="*/ 520170 h 1344613"/>
              <a:gd name="connsiteX1244" fmla="*/ 282506 w 1317625"/>
              <a:gd name="connsiteY1244" fmla="*/ 521758 h 1344613"/>
              <a:gd name="connsiteX1245" fmla="*/ 280784 w 1317625"/>
              <a:gd name="connsiteY1245" fmla="*/ 523875 h 1344613"/>
              <a:gd name="connsiteX1246" fmla="*/ 278632 w 1317625"/>
              <a:gd name="connsiteY1246" fmla="*/ 525462 h 1344613"/>
              <a:gd name="connsiteX1247" fmla="*/ 277341 w 1317625"/>
              <a:gd name="connsiteY1247" fmla="*/ 527050 h 1344613"/>
              <a:gd name="connsiteX1248" fmla="*/ 275620 w 1317625"/>
              <a:gd name="connsiteY1248" fmla="*/ 528108 h 1344613"/>
              <a:gd name="connsiteX1249" fmla="*/ 273037 w 1317625"/>
              <a:gd name="connsiteY1249" fmla="*/ 528637 h 1344613"/>
              <a:gd name="connsiteX1250" fmla="*/ 265721 w 1317625"/>
              <a:gd name="connsiteY1250" fmla="*/ 528637 h 1344613"/>
              <a:gd name="connsiteX1251" fmla="*/ 258834 w 1317625"/>
              <a:gd name="connsiteY1251" fmla="*/ 529695 h 1344613"/>
              <a:gd name="connsiteX1252" fmla="*/ 253239 w 1317625"/>
              <a:gd name="connsiteY1252" fmla="*/ 530754 h 1344613"/>
              <a:gd name="connsiteX1253" fmla="*/ 248075 w 1317625"/>
              <a:gd name="connsiteY1253" fmla="*/ 531812 h 1344613"/>
              <a:gd name="connsiteX1254" fmla="*/ 238606 w 1317625"/>
              <a:gd name="connsiteY1254" fmla="*/ 534987 h 1344613"/>
              <a:gd name="connsiteX1255" fmla="*/ 227846 w 1317625"/>
              <a:gd name="connsiteY1255" fmla="*/ 538162 h 1344613"/>
              <a:gd name="connsiteX1256" fmla="*/ 230429 w 1317625"/>
              <a:gd name="connsiteY1256" fmla="*/ 531812 h 1344613"/>
              <a:gd name="connsiteX1257" fmla="*/ 226555 w 1317625"/>
              <a:gd name="connsiteY1257" fmla="*/ 531812 h 1344613"/>
              <a:gd name="connsiteX1258" fmla="*/ 222251 w 1317625"/>
              <a:gd name="connsiteY1258" fmla="*/ 531812 h 1344613"/>
              <a:gd name="connsiteX1259" fmla="*/ 222251 w 1317625"/>
              <a:gd name="connsiteY1259" fmla="*/ 508529 h 1344613"/>
              <a:gd name="connsiteX1260" fmla="*/ 225694 w 1317625"/>
              <a:gd name="connsiteY1260" fmla="*/ 507999 h 1344613"/>
              <a:gd name="connsiteX1261" fmla="*/ 229568 w 1317625"/>
              <a:gd name="connsiteY1261" fmla="*/ 506941 h 1344613"/>
              <a:gd name="connsiteX1262" fmla="*/ 231289 w 1317625"/>
              <a:gd name="connsiteY1262" fmla="*/ 505883 h 1344613"/>
              <a:gd name="connsiteX1263" fmla="*/ 232581 w 1317625"/>
              <a:gd name="connsiteY1263" fmla="*/ 504824 h 1344613"/>
              <a:gd name="connsiteX1264" fmla="*/ 233011 w 1317625"/>
              <a:gd name="connsiteY1264" fmla="*/ 503766 h 1344613"/>
              <a:gd name="connsiteX1265" fmla="*/ 233441 w 1317625"/>
              <a:gd name="connsiteY1265" fmla="*/ 502179 h 1344613"/>
              <a:gd name="connsiteX1266" fmla="*/ 239467 w 1317625"/>
              <a:gd name="connsiteY1266" fmla="*/ 502179 h 1344613"/>
              <a:gd name="connsiteX1267" fmla="*/ 245492 w 1317625"/>
              <a:gd name="connsiteY1267" fmla="*/ 501649 h 1344613"/>
              <a:gd name="connsiteX1268" fmla="*/ 248075 w 1317625"/>
              <a:gd name="connsiteY1268" fmla="*/ 500591 h 1344613"/>
              <a:gd name="connsiteX1269" fmla="*/ 249796 w 1317625"/>
              <a:gd name="connsiteY1269" fmla="*/ 499533 h 1344613"/>
              <a:gd name="connsiteX1270" fmla="*/ 251948 w 1317625"/>
              <a:gd name="connsiteY1270" fmla="*/ 497945 h 1344613"/>
              <a:gd name="connsiteX1271" fmla="*/ 253239 w 1317625"/>
              <a:gd name="connsiteY1271" fmla="*/ 495829 h 1344613"/>
              <a:gd name="connsiteX1272" fmla="*/ 249796 w 1317625"/>
              <a:gd name="connsiteY1272" fmla="*/ 496887 h 1344613"/>
              <a:gd name="connsiteX1273" fmla="*/ 245492 w 1317625"/>
              <a:gd name="connsiteY1273" fmla="*/ 498474 h 1344613"/>
              <a:gd name="connsiteX1274" fmla="*/ 242910 w 1317625"/>
              <a:gd name="connsiteY1274" fmla="*/ 498474 h 1344613"/>
              <a:gd name="connsiteX1275" fmla="*/ 241188 w 1317625"/>
              <a:gd name="connsiteY1275" fmla="*/ 498474 h 1344613"/>
              <a:gd name="connsiteX1276" fmla="*/ 239897 w 1317625"/>
              <a:gd name="connsiteY1276" fmla="*/ 498474 h 1344613"/>
              <a:gd name="connsiteX1277" fmla="*/ 239467 w 1317625"/>
              <a:gd name="connsiteY1277" fmla="*/ 497945 h 1344613"/>
              <a:gd name="connsiteX1278" fmla="*/ 239036 w 1317625"/>
              <a:gd name="connsiteY1278" fmla="*/ 496887 h 1344613"/>
              <a:gd name="connsiteX1279" fmla="*/ 239036 w 1317625"/>
              <a:gd name="connsiteY1279" fmla="*/ 495829 h 1344613"/>
              <a:gd name="connsiteX1280" fmla="*/ 239036 w 1317625"/>
              <a:gd name="connsiteY1280" fmla="*/ 493183 h 1344613"/>
              <a:gd name="connsiteX1281" fmla="*/ 239897 w 1317625"/>
              <a:gd name="connsiteY1281" fmla="*/ 490537 h 1344613"/>
              <a:gd name="connsiteX1282" fmla="*/ 241188 w 1317625"/>
              <a:gd name="connsiteY1282" fmla="*/ 487891 h 1344613"/>
              <a:gd name="connsiteX1283" fmla="*/ 242049 w 1317625"/>
              <a:gd name="connsiteY1283" fmla="*/ 485245 h 1344613"/>
              <a:gd name="connsiteX1284" fmla="*/ 243771 w 1317625"/>
              <a:gd name="connsiteY1284" fmla="*/ 481541 h 1344613"/>
              <a:gd name="connsiteX1285" fmla="*/ 244631 w 1317625"/>
              <a:gd name="connsiteY1285" fmla="*/ 479424 h 1344613"/>
              <a:gd name="connsiteX1286" fmla="*/ 239036 w 1317625"/>
              <a:gd name="connsiteY1286" fmla="*/ 478366 h 1344613"/>
              <a:gd name="connsiteX1287" fmla="*/ 234302 w 1317625"/>
              <a:gd name="connsiteY1287" fmla="*/ 476779 h 1344613"/>
              <a:gd name="connsiteX1288" fmla="*/ 231289 w 1317625"/>
              <a:gd name="connsiteY1288" fmla="*/ 475191 h 1344613"/>
              <a:gd name="connsiteX1289" fmla="*/ 228277 w 1317625"/>
              <a:gd name="connsiteY1289" fmla="*/ 473074 h 1344613"/>
              <a:gd name="connsiteX1290" fmla="*/ 226555 w 1317625"/>
              <a:gd name="connsiteY1290" fmla="*/ 470428 h 1344613"/>
              <a:gd name="connsiteX1291" fmla="*/ 225264 w 1317625"/>
              <a:gd name="connsiteY1291" fmla="*/ 466724 h 1344613"/>
              <a:gd name="connsiteX1292" fmla="*/ 224833 w 1317625"/>
              <a:gd name="connsiteY1292" fmla="*/ 462491 h 1344613"/>
              <a:gd name="connsiteX1293" fmla="*/ 224833 w 1317625"/>
              <a:gd name="connsiteY1293" fmla="*/ 457199 h 1344613"/>
              <a:gd name="connsiteX1294" fmla="*/ 228707 w 1317625"/>
              <a:gd name="connsiteY1294" fmla="*/ 455612 h 1344613"/>
              <a:gd name="connsiteX1295" fmla="*/ 231720 w 1317625"/>
              <a:gd name="connsiteY1295" fmla="*/ 454553 h 1344613"/>
              <a:gd name="connsiteX1296" fmla="*/ 233441 w 1317625"/>
              <a:gd name="connsiteY1296" fmla="*/ 452966 h 1344613"/>
              <a:gd name="connsiteX1297" fmla="*/ 235163 w 1317625"/>
              <a:gd name="connsiteY1297" fmla="*/ 451378 h 1344613"/>
              <a:gd name="connsiteX1298" fmla="*/ 237315 w 1317625"/>
              <a:gd name="connsiteY1298" fmla="*/ 447674 h 1344613"/>
              <a:gd name="connsiteX1299" fmla="*/ 239036 w 1317625"/>
              <a:gd name="connsiteY1299" fmla="*/ 443441 h 1344613"/>
              <a:gd name="connsiteX1300" fmla="*/ 246353 w 1317625"/>
              <a:gd name="connsiteY1300" fmla="*/ 443441 h 1344613"/>
              <a:gd name="connsiteX1301" fmla="*/ 251518 w 1317625"/>
              <a:gd name="connsiteY1301" fmla="*/ 443441 h 1344613"/>
              <a:gd name="connsiteX1302" fmla="*/ 255391 w 1317625"/>
              <a:gd name="connsiteY1302" fmla="*/ 443441 h 1344613"/>
              <a:gd name="connsiteX1303" fmla="*/ 258834 w 1317625"/>
              <a:gd name="connsiteY1303" fmla="*/ 443441 h 1344613"/>
              <a:gd name="connsiteX1304" fmla="*/ 260986 w 1317625"/>
              <a:gd name="connsiteY1304" fmla="*/ 443441 h 1344613"/>
              <a:gd name="connsiteX1305" fmla="*/ 262708 w 1317625"/>
              <a:gd name="connsiteY1305" fmla="*/ 442912 h 1344613"/>
              <a:gd name="connsiteX1306" fmla="*/ 263999 w 1317625"/>
              <a:gd name="connsiteY1306" fmla="*/ 441853 h 1344613"/>
              <a:gd name="connsiteX1307" fmla="*/ 265290 w 1317625"/>
              <a:gd name="connsiteY1307" fmla="*/ 440266 h 1344613"/>
              <a:gd name="connsiteX1308" fmla="*/ 267012 w 1317625"/>
              <a:gd name="connsiteY1308" fmla="*/ 437091 h 1344613"/>
              <a:gd name="connsiteX1309" fmla="*/ 267873 w 1317625"/>
              <a:gd name="connsiteY1309" fmla="*/ 432328 h 1344613"/>
              <a:gd name="connsiteX1310" fmla="*/ 268733 w 1317625"/>
              <a:gd name="connsiteY1310" fmla="*/ 421216 h 1344613"/>
              <a:gd name="connsiteX1311" fmla="*/ 270455 w 1317625"/>
              <a:gd name="connsiteY1311" fmla="*/ 411162 h 1344613"/>
              <a:gd name="connsiteX1312" fmla="*/ 272607 w 1317625"/>
              <a:gd name="connsiteY1312" fmla="*/ 410632 h 1344613"/>
              <a:gd name="connsiteX1313" fmla="*/ 273898 w 1317625"/>
              <a:gd name="connsiteY1313" fmla="*/ 410103 h 1344613"/>
              <a:gd name="connsiteX1314" fmla="*/ 275620 w 1317625"/>
              <a:gd name="connsiteY1314" fmla="*/ 409045 h 1344613"/>
              <a:gd name="connsiteX1315" fmla="*/ 276480 w 1317625"/>
              <a:gd name="connsiteY1315" fmla="*/ 407457 h 1344613"/>
              <a:gd name="connsiteX1316" fmla="*/ 278202 w 1317625"/>
              <a:gd name="connsiteY1316" fmla="*/ 404282 h 1344613"/>
              <a:gd name="connsiteX1317" fmla="*/ 280784 w 1317625"/>
              <a:gd name="connsiteY1317" fmla="*/ 400578 h 1344613"/>
              <a:gd name="connsiteX1318" fmla="*/ 281645 w 1317625"/>
              <a:gd name="connsiteY1318" fmla="*/ 398991 h 1344613"/>
              <a:gd name="connsiteX1319" fmla="*/ 282936 w 1317625"/>
              <a:gd name="connsiteY1319" fmla="*/ 397403 h 1344613"/>
              <a:gd name="connsiteX1320" fmla="*/ 284658 w 1317625"/>
              <a:gd name="connsiteY1320" fmla="*/ 395816 h 1344613"/>
              <a:gd name="connsiteX1321" fmla="*/ 286379 w 1317625"/>
              <a:gd name="connsiteY1321" fmla="*/ 394757 h 1344613"/>
              <a:gd name="connsiteX1322" fmla="*/ 288962 w 1317625"/>
              <a:gd name="connsiteY1322" fmla="*/ 394228 h 1344613"/>
              <a:gd name="connsiteX1323" fmla="*/ 813329 w 1317625"/>
              <a:gd name="connsiteY1323" fmla="*/ 376238 h 1344613"/>
              <a:gd name="connsiteX1324" fmla="*/ 817827 w 1317625"/>
              <a:gd name="connsiteY1324" fmla="*/ 384082 h 1344613"/>
              <a:gd name="connsiteX1325" fmla="*/ 822325 w 1317625"/>
              <a:gd name="connsiteY1325" fmla="*/ 390806 h 1344613"/>
              <a:gd name="connsiteX1326" fmla="*/ 821875 w 1317625"/>
              <a:gd name="connsiteY1326" fmla="*/ 398650 h 1344613"/>
              <a:gd name="connsiteX1327" fmla="*/ 820526 w 1317625"/>
              <a:gd name="connsiteY1327" fmla="*/ 408735 h 1344613"/>
              <a:gd name="connsiteX1328" fmla="*/ 819626 w 1317625"/>
              <a:gd name="connsiteY1328" fmla="*/ 414338 h 1344613"/>
              <a:gd name="connsiteX1329" fmla="*/ 818727 w 1317625"/>
              <a:gd name="connsiteY1329" fmla="*/ 418820 h 1344613"/>
              <a:gd name="connsiteX1330" fmla="*/ 817377 w 1317625"/>
              <a:gd name="connsiteY1330" fmla="*/ 423303 h 1344613"/>
              <a:gd name="connsiteX1331" fmla="*/ 815578 w 1317625"/>
              <a:gd name="connsiteY1331" fmla="*/ 426665 h 1344613"/>
              <a:gd name="connsiteX1332" fmla="*/ 813779 w 1317625"/>
              <a:gd name="connsiteY1332" fmla="*/ 430026 h 1344613"/>
              <a:gd name="connsiteX1333" fmla="*/ 811980 w 1317625"/>
              <a:gd name="connsiteY1333" fmla="*/ 432267 h 1344613"/>
              <a:gd name="connsiteX1334" fmla="*/ 809281 w 1317625"/>
              <a:gd name="connsiteY1334" fmla="*/ 433388 h 1344613"/>
              <a:gd name="connsiteX1335" fmla="*/ 807482 w 1317625"/>
              <a:gd name="connsiteY1335" fmla="*/ 433388 h 1344613"/>
              <a:gd name="connsiteX1336" fmla="*/ 804333 w 1317625"/>
              <a:gd name="connsiteY1336" fmla="*/ 432267 h 1344613"/>
              <a:gd name="connsiteX1337" fmla="*/ 802084 w 1317625"/>
              <a:gd name="connsiteY1337" fmla="*/ 428906 h 1344613"/>
              <a:gd name="connsiteX1338" fmla="*/ 798486 w 1317625"/>
              <a:gd name="connsiteY1338" fmla="*/ 424423 h 1344613"/>
              <a:gd name="connsiteX1339" fmla="*/ 795337 w 1317625"/>
              <a:gd name="connsiteY1339" fmla="*/ 417700 h 1344613"/>
              <a:gd name="connsiteX1340" fmla="*/ 798036 w 1317625"/>
              <a:gd name="connsiteY1340" fmla="*/ 409856 h 1344613"/>
              <a:gd name="connsiteX1341" fmla="*/ 802084 w 1317625"/>
              <a:gd name="connsiteY1341" fmla="*/ 397529 h 1344613"/>
              <a:gd name="connsiteX1342" fmla="*/ 804333 w 1317625"/>
              <a:gd name="connsiteY1342" fmla="*/ 390806 h 1344613"/>
              <a:gd name="connsiteX1343" fmla="*/ 807482 w 1317625"/>
              <a:gd name="connsiteY1343" fmla="*/ 385203 h 1344613"/>
              <a:gd name="connsiteX1344" fmla="*/ 810181 w 1317625"/>
              <a:gd name="connsiteY1344" fmla="*/ 380720 h 1344613"/>
              <a:gd name="connsiteX1345" fmla="*/ 923153 w 1317625"/>
              <a:gd name="connsiteY1345" fmla="*/ 328613 h 1344613"/>
              <a:gd name="connsiteX1346" fmla="*/ 930447 w 1317625"/>
              <a:gd name="connsiteY1346" fmla="*/ 328613 h 1344613"/>
              <a:gd name="connsiteX1347" fmla="*/ 937312 w 1317625"/>
              <a:gd name="connsiteY1347" fmla="*/ 328613 h 1344613"/>
              <a:gd name="connsiteX1348" fmla="*/ 944177 w 1317625"/>
              <a:gd name="connsiteY1348" fmla="*/ 328613 h 1344613"/>
              <a:gd name="connsiteX1349" fmla="*/ 952329 w 1317625"/>
              <a:gd name="connsiteY1349" fmla="*/ 329118 h 1344613"/>
              <a:gd name="connsiteX1350" fmla="*/ 959193 w 1317625"/>
              <a:gd name="connsiteY1350" fmla="*/ 330127 h 1344613"/>
              <a:gd name="connsiteX1351" fmla="*/ 964342 w 1317625"/>
              <a:gd name="connsiteY1351" fmla="*/ 331640 h 1344613"/>
              <a:gd name="connsiteX1352" fmla="*/ 968633 w 1317625"/>
              <a:gd name="connsiteY1352" fmla="*/ 333154 h 1344613"/>
              <a:gd name="connsiteX1353" fmla="*/ 971636 w 1317625"/>
              <a:gd name="connsiteY1353" fmla="*/ 334668 h 1344613"/>
              <a:gd name="connsiteX1354" fmla="*/ 975498 w 1317625"/>
              <a:gd name="connsiteY1354" fmla="*/ 336181 h 1344613"/>
              <a:gd name="connsiteX1355" fmla="*/ 979359 w 1317625"/>
              <a:gd name="connsiteY1355" fmla="*/ 337190 h 1344613"/>
              <a:gd name="connsiteX1356" fmla="*/ 984079 w 1317625"/>
              <a:gd name="connsiteY1356" fmla="*/ 337695 h 1344613"/>
              <a:gd name="connsiteX1357" fmla="*/ 989656 w 1317625"/>
              <a:gd name="connsiteY1357" fmla="*/ 338200 h 1344613"/>
              <a:gd name="connsiteX1358" fmla="*/ 999525 w 1317625"/>
              <a:gd name="connsiteY1358" fmla="*/ 338200 h 1344613"/>
              <a:gd name="connsiteX1359" fmla="*/ 1004244 w 1317625"/>
              <a:gd name="connsiteY1359" fmla="*/ 338200 h 1344613"/>
              <a:gd name="connsiteX1360" fmla="*/ 1008535 w 1317625"/>
              <a:gd name="connsiteY1360" fmla="*/ 337695 h 1344613"/>
              <a:gd name="connsiteX1361" fmla="*/ 1010251 w 1317625"/>
              <a:gd name="connsiteY1361" fmla="*/ 337190 h 1344613"/>
              <a:gd name="connsiteX1362" fmla="*/ 1011538 w 1317625"/>
              <a:gd name="connsiteY1362" fmla="*/ 336686 h 1344613"/>
              <a:gd name="connsiteX1363" fmla="*/ 1012396 w 1317625"/>
              <a:gd name="connsiteY1363" fmla="*/ 335677 h 1344613"/>
              <a:gd name="connsiteX1364" fmla="*/ 1012825 w 1317625"/>
              <a:gd name="connsiteY1364" fmla="*/ 334668 h 1344613"/>
              <a:gd name="connsiteX1365" fmla="*/ 1011967 w 1317625"/>
              <a:gd name="connsiteY1365" fmla="*/ 343245 h 1344613"/>
              <a:gd name="connsiteX1366" fmla="*/ 1010251 w 1317625"/>
              <a:gd name="connsiteY1366" fmla="*/ 353841 h 1344613"/>
              <a:gd name="connsiteX1367" fmla="*/ 1009822 w 1317625"/>
              <a:gd name="connsiteY1367" fmla="*/ 360400 h 1344613"/>
              <a:gd name="connsiteX1368" fmla="*/ 1009822 w 1317625"/>
              <a:gd name="connsiteY1368" fmla="*/ 368977 h 1344613"/>
              <a:gd name="connsiteX1369" fmla="*/ 1011109 w 1317625"/>
              <a:gd name="connsiteY1369" fmla="*/ 380077 h 1344613"/>
              <a:gd name="connsiteX1370" fmla="*/ 1012825 w 1317625"/>
              <a:gd name="connsiteY1370" fmla="*/ 393700 h 1344613"/>
              <a:gd name="connsiteX1371" fmla="*/ 1011014 w 1317625"/>
              <a:gd name="connsiteY1371" fmla="*/ 393294 h 1344613"/>
              <a:gd name="connsiteX1372" fmla="*/ 1011795 w 1317625"/>
              <a:gd name="connsiteY1372" fmla="*/ 394955 h 1344613"/>
              <a:gd name="connsiteX1373" fmla="*/ 1016171 w 1317625"/>
              <a:gd name="connsiteY1373" fmla="*/ 405809 h 1344613"/>
              <a:gd name="connsiteX1374" fmla="*/ 1021861 w 1317625"/>
              <a:gd name="connsiteY1374" fmla="*/ 419765 h 1344613"/>
              <a:gd name="connsiteX1375" fmla="*/ 1027112 w 1317625"/>
              <a:gd name="connsiteY1375" fmla="*/ 431136 h 1344613"/>
              <a:gd name="connsiteX1376" fmla="*/ 997791 w 1317625"/>
              <a:gd name="connsiteY1376" fmla="*/ 447675 h 1344613"/>
              <a:gd name="connsiteX1377" fmla="*/ 994290 w 1317625"/>
              <a:gd name="connsiteY1377" fmla="*/ 446641 h 1344613"/>
              <a:gd name="connsiteX1378" fmla="*/ 993202 w 1317625"/>
              <a:gd name="connsiteY1378" fmla="*/ 446356 h 1344613"/>
              <a:gd name="connsiteX1379" fmla="*/ 994518 w 1317625"/>
              <a:gd name="connsiteY1379" fmla="*/ 447624 h 1344613"/>
              <a:gd name="connsiteX1380" fmla="*/ 995362 w 1317625"/>
              <a:gd name="connsiteY1380" fmla="*/ 449795 h 1344613"/>
              <a:gd name="connsiteX1381" fmla="*/ 995362 w 1317625"/>
              <a:gd name="connsiteY1381" fmla="*/ 452509 h 1344613"/>
              <a:gd name="connsiteX1382" fmla="*/ 978470 w 1317625"/>
              <a:gd name="connsiteY1382" fmla="*/ 472594 h 1344613"/>
              <a:gd name="connsiteX1383" fmla="*/ 977203 w 1317625"/>
              <a:gd name="connsiteY1383" fmla="*/ 473137 h 1344613"/>
              <a:gd name="connsiteX1384" fmla="*/ 976358 w 1317625"/>
              <a:gd name="connsiteY1384" fmla="*/ 475308 h 1344613"/>
              <a:gd name="connsiteX1385" fmla="*/ 975091 w 1317625"/>
              <a:gd name="connsiteY1385" fmla="*/ 478022 h 1344613"/>
              <a:gd name="connsiteX1386" fmla="*/ 973402 w 1317625"/>
              <a:gd name="connsiteY1386" fmla="*/ 481279 h 1344613"/>
              <a:gd name="connsiteX1387" fmla="*/ 971290 w 1317625"/>
              <a:gd name="connsiteY1387" fmla="*/ 487793 h 1344613"/>
              <a:gd name="connsiteX1388" fmla="*/ 970446 w 1317625"/>
              <a:gd name="connsiteY1388" fmla="*/ 492136 h 1344613"/>
              <a:gd name="connsiteX1389" fmla="*/ 968394 w 1317625"/>
              <a:gd name="connsiteY1389" fmla="*/ 493191 h 1344613"/>
              <a:gd name="connsiteX1390" fmla="*/ 969030 w 1317625"/>
              <a:gd name="connsiteY1390" fmla="*/ 492987 h 1344613"/>
              <a:gd name="connsiteX1391" fmla="*/ 974215 w 1317625"/>
              <a:gd name="connsiteY1391" fmla="*/ 490914 h 1344613"/>
              <a:gd name="connsiteX1392" fmla="*/ 974215 w 1317625"/>
              <a:gd name="connsiteY1392" fmla="*/ 489878 h 1344613"/>
              <a:gd name="connsiteX1393" fmla="*/ 975079 w 1317625"/>
              <a:gd name="connsiteY1393" fmla="*/ 488323 h 1344613"/>
              <a:gd name="connsiteX1394" fmla="*/ 975943 w 1317625"/>
              <a:gd name="connsiteY1394" fmla="*/ 486768 h 1344613"/>
              <a:gd name="connsiteX1395" fmla="*/ 977239 w 1317625"/>
              <a:gd name="connsiteY1395" fmla="*/ 485213 h 1344613"/>
              <a:gd name="connsiteX1396" fmla="*/ 978967 w 1317625"/>
              <a:gd name="connsiteY1396" fmla="*/ 483659 h 1344613"/>
              <a:gd name="connsiteX1397" fmla="*/ 980263 w 1317625"/>
              <a:gd name="connsiteY1397" fmla="*/ 482622 h 1344613"/>
              <a:gd name="connsiteX1398" fmla="*/ 981128 w 1317625"/>
              <a:gd name="connsiteY1398" fmla="*/ 482104 h 1344613"/>
              <a:gd name="connsiteX1399" fmla="*/ 982424 w 1317625"/>
              <a:gd name="connsiteY1399" fmla="*/ 481586 h 1344613"/>
              <a:gd name="connsiteX1400" fmla="*/ 982424 w 1317625"/>
              <a:gd name="connsiteY1400" fmla="*/ 475367 h 1344613"/>
              <a:gd name="connsiteX1401" fmla="*/ 982424 w 1317625"/>
              <a:gd name="connsiteY1401" fmla="*/ 472775 h 1344613"/>
              <a:gd name="connsiteX1402" fmla="*/ 982856 w 1317625"/>
              <a:gd name="connsiteY1402" fmla="*/ 470702 h 1344613"/>
              <a:gd name="connsiteX1403" fmla="*/ 983720 w 1317625"/>
              <a:gd name="connsiteY1403" fmla="*/ 469666 h 1344613"/>
              <a:gd name="connsiteX1404" fmla="*/ 984152 w 1317625"/>
              <a:gd name="connsiteY1404" fmla="*/ 468629 h 1344613"/>
              <a:gd name="connsiteX1405" fmla="*/ 985448 w 1317625"/>
              <a:gd name="connsiteY1405" fmla="*/ 468111 h 1344613"/>
              <a:gd name="connsiteX1406" fmla="*/ 987176 w 1317625"/>
              <a:gd name="connsiteY1406" fmla="*/ 468629 h 1344613"/>
              <a:gd name="connsiteX1407" fmla="*/ 989337 w 1317625"/>
              <a:gd name="connsiteY1407" fmla="*/ 469148 h 1344613"/>
              <a:gd name="connsiteX1408" fmla="*/ 991065 w 1317625"/>
              <a:gd name="connsiteY1408" fmla="*/ 469148 h 1344613"/>
              <a:gd name="connsiteX1409" fmla="*/ 991929 w 1317625"/>
              <a:gd name="connsiteY1409" fmla="*/ 469148 h 1344613"/>
              <a:gd name="connsiteX1410" fmla="*/ 992361 w 1317625"/>
              <a:gd name="connsiteY1410" fmla="*/ 468629 h 1344613"/>
              <a:gd name="connsiteX1411" fmla="*/ 993657 w 1317625"/>
              <a:gd name="connsiteY1411" fmla="*/ 467593 h 1344613"/>
              <a:gd name="connsiteX1412" fmla="*/ 994089 w 1317625"/>
              <a:gd name="connsiteY1412" fmla="*/ 465520 h 1344613"/>
              <a:gd name="connsiteX1413" fmla="*/ 994522 w 1317625"/>
              <a:gd name="connsiteY1413" fmla="*/ 462410 h 1344613"/>
              <a:gd name="connsiteX1414" fmla="*/ 995818 w 1317625"/>
              <a:gd name="connsiteY1414" fmla="*/ 458264 h 1344613"/>
              <a:gd name="connsiteX1415" fmla="*/ 996682 w 1317625"/>
              <a:gd name="connsiteY1415" fmla="*/ 456191 h 1344613"/>
              <a:gd name="connsiteX1416" fmla="*/ 997978 w 1317625"/>
              <a:gd name="connsiteY1416" fmla="*/ 454636 h 1344613"/>
              <a:gd name="connsiteX1417" fmla="*/ 998842 w 1317625"/>
              <a:gd name="connsiteY1417" fmla="*/ 453600 h 1344613"/>
              <a:gd name="connsiteX1418" fmla="*/ 999706 w 1317625"/>
              <a:gd name="connsiteY1418" fmla="*/ 453082 h 1344613"/>
              <a:gd name="connsiteX1419" fmla="*/ 1028654 w 1317625"/>
              <a:gd name="connsiteY1419" fmla="*/ 433388 h 1344613"/>
              <a:gd name="connsiteX1420" fmla="*/ 1025630 w 1317625"/>
              <a:gd name="connsiteY1420" fmla="*/ 436498 h 1344613"/>
              <a:gd name="connsiteX1421" fmla="*/ 1045505 w 1317625"/>
              <a:gd name="connsiteY1421" fmla="*/ 443753 h 1344613"/>
              <a:gd name="connsiteX1422" fmla="*/ 1062787 w 1317625"/>
              <a:gd name="connsiteY1422" fmla="*/ 443753 h 1344613"/>
              <a:gd name="connsiteX1423" fmla="*/ 1066244 w 1317625"/>
              <a:gd name="connsiteY1423" fmla="*/ 456191 h 1344613"/>
              <a:gd name="connsiteX1424" fmla="*/ 1083094 w 1317625"/>
              <a:gd name="connsiteY1424" fmla="*/ 449972 h 1344613"/>
              <a:gd name="connsiteX1425" fmla="*/ 1097352 w 1317625"/>
              <a:gd name="connsiteY1425" fmla="*/ 456191 h 1344613"/>
              <a:gd name="connsiteX1426" fmla="*/ 1100377 w 1317625"/>
              <a:gd name="connsiteY1426" fmla="*/ 481586 h 1344613"/>
              <a:gd name="connsiteX1427" fmla="*/ 1120252 w 1317625"/>
              <a:gd name="connsiteY1427" fmla="*/ 501279 h 1344613"/>
              <a:gd name="connsiteX1428" fmla="*/ 1134942 w 1317625"/>
              <a:gd name="connsiteY1428" fmla="*/ 510608 h 1344613"/>
              <a:gd name="connsiteX1429" fmla="*/ 1146175 w 1317625"/>
              <a:gd name="connsiteY1429" fmla="*/ 519937 h 1344613"/>
              <a:gd name="connsiteX1430" fmla="*/ 1134942 w 1317625"/>
              <a:gd name="connsiteY1430" fmla="*/ 529783 h 1344613"/>
              <a:gd name="connsiteX1431" fmla="*/ 1114635 w 1317625"/>
              <a:gd name="connsiteY1431" fmla="*/ 523046 h 1344613"/>
              <a:gd name="connsiteX1432" fmla="*/ 1117227 w 1317625"/>
              <a:gd name="connsiteY1432" fmla="*/ 536002 h 1344613"/>
              <a:gd name="connsiteX1433" fmla="*/ 1123708 w 1317625"/>
              <a:gd name="connsiteY1433" fmla="*/ 542221 h 1344613"/>
              <a:gd name="connsiteX1434" fmla="*/ 1123708 w 1317625"/>
              <a:gd name="connsiteY1434" fmla="*/ 557728 h 1344613"/>
              <a:gd name="connsiteX1435" fmla="*/ 1124736 w 1317625"/>
              <a:gd name="connsiteY1435" fmla="*/ 557728 h 1344613"/>
              <a:gd name="connsiteX1436" fmla="*/ 1138638 w 1317625"/>
              <a:gd name="connsiteY1436" fmla="*/ 557728 h 1344613"/>
              <a:gd name="connsiteX1437" fmla="*/ 1147326 w 1317625"/>
              <a:gd name="connsiteY1437" fmla="*/ 550863 h 1344613"/>
              <a:gd name="connsiteX1438" fmla="*/ 1167311 w 1317625"/>
              <a:gd name="connsiteY1438" fmla="*/ 550863 h 1344613"/>
              <a:gd name="connsiteX1439" fmla="*/ 1175999 w 1317625"/>
              <a:gd name="connsiteY1439" fmla="*/ 557728 h 1344613"/>
              <a:gd name="connsiteX1440" fmla="*/ 1188163 w 1317625"/>
              <a:gd name="connsiteY1440" fmla="*/ 570929 h 1344613"/>
              <a:gd name="connsiteX1441" fmla="*/ 1182081 w 1317625"/>
              <a:gd name="connsiteY1441" fmla="*/ 584129 h 1344613"/>
              <a:gd name="connsiteX1442" fmla="*/ 1205106 w 1317625"/>
              <a:gd name="connsiteY1442" fmla="*/ 584129 h 1344613"/>
              <a:gd name="connsiteX1443" fmla="*/ 1213795 w 1317625"/>
              <a:gd name="connsiteY1443" fmla="*/ 609475 h 1344613"/>
              <a:gd name="connsiteX1444" fmla="*/ 1225090 w 1317625"/>
              <a:gd name="connsiteY1444" fmla="*/ 606307 h 1344613"/>
              <a:gd name="connsiteX1445" fmla="*/ 1237255 w 1317625"/>
              <a:gd name="connsiteY1445" fmla="*/ 616340 h 1344613"/>
              <a:gd name="connsiteX1446" fmla="*/ 1251591 w 1317625"/>
              <a:gd name="connsiteY1446" fmla="*/ 609475 h 1344613"/>
              <a:gd name="connsiteX1447" fmla="*/ 1265927 w 1317625"/>
              <a:gd name="connsiteY1447" fmla="*/ 622676 h 1344613"/>
              <a:gd name="connsiteX1448" fmla="*/ 1282870 w 1317625"/>
              <a:gd name="connsiteY1448" fmla="*/ 622676 h 1344613"/>
              <a:gd name="connsiteX1449" fmla="*/ 1300682 w 1317625"/>
              <a:gd name="connsiteY1449" fmla="*/ 632709 h 1344613"/>
              <a:gd name="connsiteX1450" fmla="*/ 1317625 w 1317625"/>
              <a:gd name="connsiteY1450" fmla="*/ 639046 h 1344613"/>
              <a:gd name="connsiteX1451" fmla="*/ 1315019 w 1317625"/>
              <a:gd name="connsiteY1451" fmla="*/ 655415 h 1344613"/>
              <a:gd name="connsiteX1452" fmla="*/ 1311978 w 1317625"/>
              <a:gd name="connsiteY1452" fmla="*/ 674952 h 1344613"/>
              <a:gd name="connsiteX1453" fmla="*/ 1317625 w 1317625"/>
              <a:gd name="connsiteY1453" fmla="*/ 687625 h 1344613"/>
              <a:gd name="connsiteX1454" fmla="*/ 1303289 w 1317625"/>
              <a:gd name="connsiteY1454" fmla="*/ 687625 h 1344613"/>
              <a:gd name="connsiteX1455" fmla="*/ 1285911 w 1317625"/>
              <a:gd name="connsiteY1455" fmla="*/ 694490 h 1344613"/>
              <a:gd name="connsiteX1456" fmla="*/ 1282870 w 1317625"/>
              <a:gd name="connsiteY1456" fmla="*/ 710859 h 1344613"/>
              <a:gd name="connsiteX1457" fmla="*/ 1274182 w 1317625"/>
              <a:gd name="connsiteY1457" fmla="*/ 714027 h 1344613"/>
              <a:gd name="connsiteX1458" fmla="*/ 1264190 w 1317625"/>
              <a:gd name="connsiteY1458" fmla="*/ 716139 h 1344613"/>
              <a:gd name="connsiteX1459" fmla="*/ 1254198 w 1317625"/>
              <a:gd name="connsiteY1459" fmla="*/ 718779 h 1344613"/>
              <a:gd name="connsiteX1460" fmla="*/ 1244640 w 1317625"/>
              <a:gd name="connsiteY1460" fmla="*/ 721948 h 1344613"/>
              <a:gd name="connsiteX1461" fmla="*/ 1235517 w 1317625"/>
              <a:gd name="connsiteY1461" fmla="*/ 725116 h 1344613"/>
              <a:gd name="connsiteX1462" fmla="*/ 1232041 w 1317625"/>
              <a:gd name="connsiteY1462" fmla="*/ 727228 h 1344613"/>
              <a:gd name="connsiteX1463" fmla="*/ 1228132 w 1317625"/>
              <a:gd name="connsiteY1463" fmla="*/ 728812 h 1344613"/>
              <a:gd name="connsiteX1464" fmla="*/ 1224656 w 1317625"/>
              <a:gd name="connsiteY1464" fmla="*/ 731980 h 1344613"/>
              <a:gd name="connsiteX1465" fmla="*/ 1221615 w 1317625"/>
              <a:gd name="connsiteY1465" fmla="*/ 734092 h 1344613"/>
              <a:gd name="connsiteX1466" fmla="*/ 1219877 w 1317625"/>
              <a:gd name="connsiteY1466" fmla="*/ 736733 h 1344613"/>
              <a:gd name="connsiteX1467" fmla="*/ 1218139 w 1317625"/>
              <a:gd name="connsiteY1467" fmla="*/ 739901 h 1344613"/>
              <a:gd name="connsiteX1468" fmla="*/ 1217271 w 1317625"/>
              <a:gd name="connsiteY1468" fmla="*/ 743069 h 1344613"/>
              <a:gd name="connsiteX1469" fmla="*/ 1216402 w 1317625"/>
              <a:gd name="connsiteY1469" fmla="*/ 746237 h 1344613"/>
              <a:gd name="connsiteX1470" fmla="*/ 1217271 w 1317625"/>
              <a:gd name="connsiteY1470" fmla="*/ 748878 h 1344613"/>
              <a:gd name="connsiteX1471" fmla="*/ 1217705 w 1317625"/>
              <a:gd name="connsiteY1471" fmla="*/ 751518 h 1344613"/>
              <a:gd name="connsiteX1472" fmla="*/ 1219008 w 1317625"/>
              <a:gd name="connsiteY1472" fmla="*/ 754158 h 1344613"/>
              <a:gd name="connsiteX1473" fmla="*/ 1220312 w 1317625"/>
              <a:gd name="connsiteY1473" fmla="*/ 756798 h 1344613"/>
              <a:gd name="connsiteX1474" fmla="*/ 1221615 w 1317625"/>
              <a:gd name="connsiteY1474" fmla="*/ 759438 h 1344613"/>
              <a:gd name="connsiteX1475" fmla="*/ 1223787 w 1317625"/>
              <a:gd name="connsiteY1475" fmla="*/ 761550 h 1344613"/>
              <a:gd name="connsiteX1476" fmla="*/ 1225959 w 1317625"/>
              <a:gd name="connsiteY1476" fmla="*/ 762607 h 1344613"/>
              <a:gd name="connsiteX1477" fmla="*/ 1228132 w 1317625"/>
              <a:gd name="connsiteY1477" fmla="*/ 763135 h 1344613"/>
              <a:gd name="connsiteX1478" fmla="*/ 1237255 w 1317625"/>
              <a:gd name="connsiteY1478" fmla="*/ 762078 h 1344613"/>
              <a:gd name="connsiteX1479" fmla="*/ 1245509 w 1317625"/>
              <a:gd name="connsiteY1479" fmla="*/ 759966 h 1344613"/>
              <a:gd name="connsiteX1480" fmla="*/ 1249853 w 1317625"/>
              <a:gd name="connsiteY1480" fmla="*/ 759438 h 1344613"/>
              <a:gd name="connsiteX1481" fmla="*/ 1254198 w 1317625"/>
              <a:gd name="connsiteY1481" fmla="*/ 758910 h 1344613"/>
              <a:gd name="connsiteX1482" fmla="*/ 1258542 w 1317625"/>
              <a:gd name="connsiteY1482" fmla="*/ 758910 h 1344613"/>
              <a:gd name="connsiteX1483" fmla="*/ 1262886 w 1317625"/>
              <a:gd name="connsiteY1483" fmla="*/ 759966 h 1344613"/>
              <a:gd name="connsiteX1484" fmla="*/ 1258976 w 1317625"/>
              <a:gd name="connsiteY1484" fmla="*/ 761550 h 1344613"/>
              <a:gd name="connsiteX1485" fmla="*/ 1255501 w 1317625"/>
              <a:gd name="connsiteY1485" fmla="*/ 763663 h 1344613"/>
              <a:gd name="connsiteX1486" fmla="*/ 1252894 w 1317625"/>
              <a:gd name="connsiteY1486" fmla="*/ 766303 h 1344613"/>
              <a:gd name="connsiteX1487" fmla="*/ 1249853 w 1317625"/>
              <a:gd name="connsiteY1487" fmla="*/ 769471 h 1344613"/>
              <a:gd name="connsiteX1488" fmla="*/ 1247681 w 1317625"/>
              <a:gd name="connsiteY1488" fmla="*/ 773167 h 1344613"/>
              <a:gd name="connsiteX1489" fmla="*/ 1245074 w 1317625"/>
              <a:gd name="connsiteY1489" fmla="*/ 776336 h 1344613"/>
              <a:gd name="connsiteX1490" fmla="*/ 1242902 w 1317625"/>
              <a:gd name="connsiteY1490" fmla="*/ 779504 h 1344613"/>
              <a:gd name="connsiteX1491" fmla="*/ 1239861 w 1317625"/>
              <a:gd name="connsiteY1491" fmla="*/ 782144 h 1344613"/>
              <a:gd name="connsiteX1492" fmla="*/ 1238558 w 1317625"/>
              <a:gd name="connsiteY1492" fmla="*/ 777920 h 1344613"/>
              <a:gd name="connsiteX1493" fmla="*/ 1237689 w 1317625"/>
              <a:gd name="connsiteY1493" fmla="*/ 774751 h 1344613"/>
              <a:gd name="connsiteX1494" fmla="*/ 1235951 w 1317625"/>
              <a:gd name="connsiteY1494" fmla="*/ 772111 h 1344613"/>
              <a:gd name="connsiteX1495" fmla="*/ 1235082 w 1317625"/>
              <a:gd name="connsiteY1495" fmla="*/ 770527 h 1344613"/>
              <a:gd name="connsiteX1496" fmla="*/ 1232041 w 1317625"/>
              <a:gd name="connsiteY1496" fmla="*/ 768415 h 1344613"/>
              <a:gd name="connsiteX1497" fmla="*/ 1228132 w 1317625"/>
              <a:gd name="connsiteY1497" fmla="*/ 766303 h 1344613"/>
              <a:gd name="connsiteX1498" fmla="*/ 1228132 w 1317625"/>
              <a:gd name="connsiteY1498" fmla="*/ 768943 h 1344613"/>
              <a:gd name="connsiteX1499" fmla="*/ 1227263 w 1317625"/>
              <a:gd name="connsiteY1499" fmla="*/ 771583 h 1344613"/>
              <a:gd name="connsiteX1500" fmla="*/ 1225959 w 1317625"/>
              <a:gd name="connsiteY1500" fmla="*/ 774223 h 1344613"/>
              <a:gd name="connsiteX1501" fmla="*/ 1224656 w 1317625"/>
              <a:gd name="connsiteY1501" fmla="*/ 776336 h 1344613"/>
              <a:gd name="connsiteX1502" fmla="*/ 1220746 w 1317625"/>
              <a:gd name="connsiteY1502" fmla="*/ 780560 h 1344613"/>
              <a:gd name="connsiteX1503" fmla="*/ 1215967 w 1317625"/>
              <a:gd name="connsiteY1503" fmla="*/ 784256 h 1344613"/>
              <a:gd name="connsiteX1504" fmla="*/ 1211623 w 1317625"/>
              <a:gd name="connsiteY1504" fmla="*/ 788480 h 1344613"/>
              <a:gd name="connsiteX1505" fmla="*/ 1207713 w 1317625"/>
              <a:gd name="connsiteY1505" fmla="*/ 791649 h 1344613"/>
              <a:gd name="connsiteX1506" fmla="*/ 1205541 w 1317625"/>
              <a:gd name="connsiteY1506" fmla="*/ 793761 h 1344613"/>
              <a:gd name="connsiteX1507" fmla="*/ 1204238 w 1317625"/>
              <a:gd name="connsiteY1507" fmla="*/ 795345 h 1344613"/>
              <a:gd name="connsiteX1508" fmla="*/ 1202934 w 1317625"/>
              <a:gd name="connsiteY1508" fmla="*/ 796929 h 1344613"/>
              <a:gd name="connsiteX1509" fmla="*/ 1202065 w 1317625"/>
              <a:gd name="connsiteY1509" fmla="*/ 798513 h 1344613"/>
              <a:gd name="connsiteX1510" fmla="*/ 1199459 w 1317625"/>
              <a:gd name="connsiteY1510" fmla="*/ 797985 h 1344613"/>
              <a:gd name="connsiteX1511" fmla="*/ 1197287 w 1317625"/>
              <a:gd name="connsiteY1511" fmla="*/ 796929 h 1344613"/>
              <a:gd name="connsiteX1512" fmla="*/ 1195114 w 1317625"/>
              <a:gd name="connsiteY1512" fmla="*/ 795873 h 1344613"/>
              <a:gd name="connsiteX1513" fmla="*/ 1193377 w 1317625"/>
              <a:gd name="connsiteY1513" fmla="*/ 794289 h 1344613"/>
              <a:gd name="connsiteX1514" fmla="*/ 1191639 w 1317625"/>
              <a:gd name="connsiteY1514" fmla="*/ 793233 h 1344613"/>
              <a:gd name="connsiteX1515" fmla="*/ 1190336 w 1317625"/>
              <a:gd name="connsiteY1515" fmla="*/ 791121 h 1344613"/>
              <a:gd name="connsiteX1516" fmla="*/ 1189467 w 1317625"/>
              <a:gd name="connsiteY1516" fmla="*/ 789536 h 1344613"/>
              <a:gd name="connsiteX1517" fmla="*/ 1188163 w 1317625"/>
              <a:gd name="connsiteY1517" fmla="*/ 786896 h 1344613"/>
              <a:gd name="connsiteX1518" fmla="*/ 1186426 w 1317625"/>
              <a:gd name="connsiteY1518" fmla="*/ 782672 h 1344613"/>
              <a:gd name="connsiteX1519" fmla="*/ 1185557 w 1317625"/>
              <a:gd name="connsiteY1519" fmla="*/ 777392 h 1344613"/>
              <a:gd name="connsiteX1520" fmla="*/ 1185122 w 1317625"/>
              <a:gd name="connsiteY1520" fmla="*/ 772111 h 1344613"/>
              <a:gd name="connsiteX1521" fmla="*/ 1185122 w 1317625"/>
              <a:gd name="connsiteY1521" fmla="*/ 766303 h 1344613"/>
              <a:gd name="connsiteX1522" fmla="*/ 1181212 w 1317625"/>
              <a:gd name="connsiteY1522" fmla="*/ 765775 h 1344613"/>
              <a:gd name="connsiteX1523" fmla="*/ 1177737 w 1317625"/>
              <a:gd name="connsiteY1523" fmla="*/ 765247 h 1344613"/>
              <a:gd name="connsiteX1524" fmla="*/ 1174696 w 1317625"/>
              <a:gd name="connsiteY1524" fmla="*/ 764191 h 1344613"/>
              <a:gd name="connsiteX1525" fmla="*/ 1171220 w 1317625"/>
              <a:gd name="connsiteY1525" fmla="*/ 762607 h 1344613"/>
              <a:gd name="connsiteX1526" fmla="*/ 1165573 w 1317625"/>
              <a:gd name="connsiteY1526" fmla="*/ 759438 h 1344613"/>
              <a:gd name="connsiteX1527" fmla="*/ 1161663 w 1317625"/>
              <a:gd name="connsiteY1527" fmla="*/ 756270 h 1344613"/>
              <a:gd name="connsiteX1528" fmla="*/ 1167745 w 1317625"/>
              <a:gd name="connsiteY1528" fmla="*/ 754158 h 1344613"/>
              <a:gd name="connsiteX1529" fmla="*/ 1174262 w 1317625"/>
              <a:gd name="connsiteY1529" fmla="*/ 752046 h 1344613"/>
              <a:gd name="connsiteX1530" fmla="*/ 1179475 w 1317625"/>
              <a:gd name="connsiteY1530" fmla="*/ 750990 h 1344613"/>
              <a:gd name="connsiteX1531" fmla="*/ 1185122 w 1317625"/>
              <a:gd name="connsiteY1531" fmla="*/ 749934 h 1344613"/>
              <a:gd name="connsiteX1532" fmla="*/ 1195983 w 1317625"/>
              <a:gd name="connsiteY1532" fmla="*/ 748349 h 1344613"/>
              <a:gd name="connsiteX1533" fmla="*/ 1208147 w 1317625"/>
              <a:gd name="connsiteY1533" fmla="*/ 746237 h 1344613"/>
              <a:gd name="connsiteX1534" fmla="*/ 1159056 w 1317625"/>
              <a:gd name="connsiteY1534" fmla="*/ 746237 h 1344613"/>
              <a:gd name="connsiteX1535" fmla="*/ 1155146 w 1317625"/>
              <a:gd name="connsiteY1535" fmla="*/ 742013 h 1344613"/>
              <a:gd name="connsiteX1536" fmla="*/ 1150802 w 1317625"/>
              <a:gd name="connsiteY1536" fmla="*/ 737789 h 1344613"/>
              <a:gd name="connsiteX1537" fmla="*/ 1145589 w 1317625"/>
              <a:gd name="connsiteY1537" fmla="*/ 734620 h 1344613"/>
              <a:gd name="connsiteX1538" fmla="*/ 1140376 w 1317625"/>
              <a:gd name="connsiteY1538" fmla="*/ 731452 h 1344613"/>
              <a:gd name="connsiteX1539" fmla="*/ 1129949 w 1317625"/>
              <a:gd name="connsiteY1539" fmla="*/ 726700 h 1344613"/>
              <a:gd name="connsiteX1540" fmla="*/ 1121260 w 1317625"/>
              <a:gd name="connsiteY1540" fmla="*/ 723532 h 1344613"/>
              <a:gd name="connsiteX1541" fmla="*/ 1115613 w 1317625"/>
              <a:gd name="connsiteY1541" fmla="*/ 735677 h 1344613"/>
              <a:gd name="connsiteX1542" fmla="*/ 1109531 w 1317625"/>
              <a:gd name="connsiteY1542" fmla="*/ 745709 h 1344613"/>
              <a:gd name="connsiteX1543" fmla="*/ 1107358 w 1317625"/>
              <a:gd name="connsiteY1543" fmla="*/ 750462 h 1344613"/>
              <a:gd name="connsiteX1544" fmla="*/ 1104317 w 1317625"/>
              <a:gd name="connsiteY1544" fmla="*/ 754686 h 1344613"/>
              <a:gd name="connsiteX1545" fmla="*/ 1101711 w 1317625"/>
              <a:gd name="connsiteY1545" fmla="*/ 759438 h 1344613"/>
              <a:gd name="connsiteX1546" fmla="*/ 1098235 w 1317625"/>
              <a:gd name="connsiteY1546" fmla="*/ 763135 h 1344613"/>
              <a:gd name="connsiteX1547" fmla="*/ 1093891 w 1317625"/>
              <a:gd name="connsiteY1547" fmla="*/ 762607 h 1344613"/>
              <a:gd name="connsiteX1548" fmla="*/ 1092780 w 1317625"/>
              <a:gd name="connsiteY1548" fmla="*/ 762457 h 1344613"/>
              <a:gd name="connsiteX1549" fmla="*/ 1090833 w 1317625"/>
              <a:gd name="connsiteY1549" fmla="*/ 765572 h 1344613"/>
              <a:gd name="connsiteX1550" fmla="*/ 1087034 w 1317625"/>
              <a:gd name="connsiteY1550" fmla="*/ 770299 h 1344613"/>
              <a:gd name="connsiteX1551" fmla="*/ 1082391 w 1317625"/>
              <a:gd name="connsiteY1551" fmla="*/ 775027 h 1344613"/>
              <a:gd name="connsiteX1552" fmla="*/ 1076904 w 1317625"/>
              <a:gd name="connsiteY1552" fmla="*/ 779754 h 1344613"/>
              <a:gd name="connsiteX1553" fmla="*/ 1076060 w 1317625"/>
              <a:gd name="connsiteY1553" fmla="*/ 784482 h 1344613"/>
              <a:gd name="connsiteX1554" fmla="*/ 1076060 w 1317625"/>
              <a:gd name="connsiteY1554" fmla="*/ 788684 h 1344613"/>
              <a:gd name="connsiteX1555" fmla="*/ 1076482 w 1317625"/>
              <a:gd name="connsiteY1555" fmla="*/ 792361 h 1344613"/>
              <a:gd name="connsiteX1556" fmla="*/ 1076904 w 1317625"/>
              <a:gd name="connsiteY1556" fmla="*/ 795513 h 1344613"/>
              <a:gd name="connsiteX1557" fmla="*/ 1078592 w 1317625"/>
              <a:gd name="connsiteY1557" fmla="*/ 800765 h 1344613"/>
              <a:gd name="connsiteX1558" fmla="*/ 1079858 w 1317625"/>
              <a:gd name="connsiteY1558" fmla="*/ 805493 h 1344613"/>
              <a:gd name="connsiteX1559" fmla="*/ 1072683 w 1317625"/>
              <a:gd name="connsiteY1559" fmla="*/ 804442 h 1344613"/>
              <a:gd name="connsiteX1560" fmla="*/ 1064663 w 1317625"/>
              <a:gd name="connsiteY1560" fmla="*/ 802341 h 1344613"/>
              <a:gd name="connsiteX1561" fmla="*/ 1060864 w 1317625"/>
              <a:gd name="connsiteY1561" fmla="*/ 801291 h 1344613"/>
              <a:gd name="connsiteX1562" fmla="*/ 1056221 w 1317625"/>
              <a:gd name="connsiteY1562" fmla="*/ 800240 h 1344613"/>
              <a:gd name="connsiteX1563" fmla="*/ 1051156 w 1317625"/>
              <a:gd name="connsiteY1563" fmla="*/ 799715 h 1344613"/>
              <a:gd name="connsiteX1564" fmla="*/ 1045669 w 1317625"/>
              <a:gd name="connsiteY1564" fmla="*/ 799190 h 1344613"/>
              <a:gd name="connsiteX1565" fmla="*/ 1038916 w 1317625"/>
              <a:gd name="connsiteY1565" fmla="*/ 799715 h 1344613"/>
              <a:gd name="connsiteX1566" fmla="*/ 1031740 w 1317625"/>
              <a:gd name="connsiteY1566" fmla="*/ 801291 h 1344613"/>
              <a:gd name="connsiteX1567" fmla="*/ 1030055 w 1317625"/>
              <a:gd name="connsiteY1567" fmla="*/ 801990 h 1344613"/>
              <a:gd name="connsiteX1568" fmla="*/ 1036112 w 1317625"/>
              <a:gd name="connsiteY1568" fmla="*/ 800641 h 1344613"/>
              <a:gd name="connsiteX1569" fmla="*/ 1042972 w 1317625"/>
              <a:gd name="connsiteY1569" fmla="*/ 800100 h 1344613"/>
              <a:gd name="connsiteX1570" fmla="*/ 1048547 w 1317625"/>
              <a:gd name="connsiteY1570" fmla="*/ 800641 h 1344613"/>
              <a:gd name="connsiteX1571" fmla="*/ 1053692 w 1317625"/>
              <a:gd name="connsiteY1571" fmla="*/ 801182 h 1344613"/>
              <a:gd name="connsiteX1572" fmla="*/ 1058408 w 1317625"/>
              <a:gd name="connsiteY1572" fmla="*/ 802264 h 1344613"/>
              <a:gd name="connsiteX1573" fmla="*/ 1062267 w 1317625"/>
              <a:gd name="connsiteY1573" fmla="*/ 803346 h 1344613"/>
              <a:gd name="connsiteX1574" fmla="*/ 1070414 w 1317625"/>
              <a:gd name="connsiteY1574" fmla="*/ 805510 h 1344613"/>
              <a:gd name="connsiteX1575" fmla="*/ 1077703 w 1317625"/>
              <a:gd name="connsiteY1575" fmla="*/ 806592 h 1344613"/>
              <a:gd name="connsiteX1576" fmla="*/ 1076846 w 1317625"/>
              <a:gd name="connsiteY1576" fmla="*/ 811461 h 1344613"/>
              <a:gd name="connsiteX1577" fmla="*/ 1075560 w 1317625"/>
              <a:gd name="connsiteY1577" fmla="*/ 815248 h 1344613"/>
              <a:gd name="connsiteX1578" fmla="*/ 1073844 w 1317625"/>
              <a:gd name="connsiteY1578" fmla="*/ 819576 h 1344613"/>
              <a:gd name="connsiteX1579" fmla="*/ 1071701 w 1317625"/>
              <a:gd name="connsiteY1579" fmla="*/ 822822 h 1344613"/>
              <a:gd name="connsiteX1580" fmla="*/ 1069557 w 1317625"/>
              <a:gd name="connsiteY1580" fmla="*/ 826068 h 1344613"/>
              <a:gd name="connsiteX1581" fmla="*/ 1067842 w 1317625"/>
              <a:gd name="connsiteY1581" fmla="*/ 828773 h 1344613"/>
              <a:gd name="connsiteX1582" fmla="*/ 1066555 w 1317625"/>
              <a:gd name="connsiteY1582" fmla="*/ 830937 h 1344613"/>
              <a:gd name="connsiteX1583" fmla="*/ 1066126 w 1317625"/>
              <a:gd name="connsiteY1583" fmla="*/ 833642 h 1344613"/>
              <a:gd name="connsiteX1584" fmla="*/ 1066126 w 1317625"/>
              <a:gd name="connsiteY1584" fmla="*/ 834724 h 1344613"/>
              <a:gd name="connsiteX1585" fmla="*/ 1066555 w 1317625"/>
              <a:gd name="connsiteY1585" fmla="*/ 835806 h 1344613"/>
              <a:gd name="connsiteX1586" fmla="*/ 1067842 w 1317625"/>
              <a:gd name="connsiteY1586" fmla="*/ 837429 h 1344613"/>
              <a:gd name="connsiteX1587" fmla="*/ 1068699 w 1317625"/>
              <a:gd name="connsiteY1587" fmla="*/ 838511 h 1344613"/>
              <a:gd name="connsiteX1588" fmla="*/ 1071272 w 1317625"/>
              <a:gd name="connsiteY1588" fmla="*/ 840675 h 1344613"/>
              <a:gd name="connsiteX1589" fmla="*/ 1074702 w 1317625"/>
              <a:gd name="connsiteY1589" fmla="*/ 842839 h 1344613"/>
              <a:gd name="connsiteX1590" fmla="*/ 1081562 w 1317625"/>
              <a:gd name="connsiteY1590" fmla="*/ 847167 h 1344613"/>
              <a:gd name="connsiteX1591" fmla="*/ 1085850 w 1317625"/>
              <a:gd name="connsiteY1591" fmla="*/ 850413 h 1344613"/>
              <a:gd name="connsiteX1592" fmla="*/ 1080276 w 1317625"/>
              <a:gd name="connsiteY1592" fmla="*/ 854200 h 1344613"/>
              <a:gd name="connsiteX1593" fmla="*/ 1075560 w 1317625"/>
              <a:gd name="connsiteY1593" fmla="*/ 857987 h 1344613"/>
              <a:gd name="connsiteX1594" fmla="*/ 1073844 w 1317625"/>
              <a:gd name="connsiteY1594" fmla="*/ 859610 h 1344613"/>
              <a:gd name="connsiteX1595" fmla="*/ 1072987 w 1317625"/>
              <a:gd name="connsiteY1595" fmla="*/ 862314 h 1344613"/>
              <a:gd name="connsiteX1596" fmla="*/ 1071701 w 1317625"/>
              <a:gd name="connsiteY1596" fmla="*/ 865560 h 1344613"/>
              <a:gd name="connsiteX1597" fmla="*/ 1071701 w 1317625"/>
              <a:gd name="connsiteY1597" fmla="*/ 869888 h 1344613"/>
              <a:gd name="connsiteX1598" fmla="*/ 1068699 w 1317625"/>
              <a:gd name="connsiteY1598" fmla="*/ 870970 h 1344613"/>
              <a:gd name="connsiteX1599" fmla="*/ 1060552 w 1317625"/>
              <a:gd name="connsiteY1599" fmla="*/ 873675 h 1344613"/>
              <a:gd name="connsiteX1600" fmla="*/ 1051119 w 1317625"/>
              <a:gd name="connsiteY1600" fmla="*/ 877462 h 1344613"/>
              <a:gd name="connsiteX1601" fmla="*/ 1043620 w 1317625"/>
              <a:gd name="connsiteY1601" fmla="*/ 879952 h 1344613"/>
              <a:gd name="connsiteX1602" fmla="*/ 1044378 w 1317625"/>
              <a:gd name="connsiteY1602" fmla="*/ 882650 h 1344613"/>
              <a:gd name="connsiteX1603" fmla="*/ 1045270 w 1317625"/>
              <a:gd name="connsiteY1603" fmla="*/ 886883 h 1344613"/>
              <a:gd name="connsiteX1604" fmla="*/ 1045716 w 1317625"/>
              <a:gd name="connsiteY1604" fmla="*/ 891646 h 1344613"/>
              <a:gd name="connsiteX1605" fmla="*/ 1045716 w 1317625"/>
              <a:gd name="connsiteY1605" fmla="*/ 896409 h 1344613"/>
              <a:gd name="connsiteX1606" fmla="*/ 1046162 w 1317625"/>
              <a:gd name="connsiteY1606" fmla="*/ 905404 h 1344613"/>
              <a:gd name="connsiteX1607" fmla="*/ 1046162 w 1317625"/>
              <a:gd name="connsiteY1607" fmla="*/ 909109 h 1344613"/>
              <a:gd name="connsiteX1608" fmla="*/ 1007803 w 1317625"/>
              <a:gd name="connsiteY1608" fmla="*/ 899054 h 1344613"/>
              <a:gd name="connsiteX1609" fmla="*/ 1001113 w 1317625"/>
              <a:gd name="connsiteY1609" fmla="*/ 900642 h 1344613"/>
              <a:gd name="connsiteX1610" fmla="*/ 994868 w 1317625"/>
              <a:gd name="connsiteY1610" fmla="*/ 902759 h 1344613"/>
              <a:gd name="connsiteX1611" fmla="*/ 989516 w 1317625"/>
              <a:gd name="connsiteY1611" fmla="*/ 905934 h 1344613"/>
              <a:gd name="connsiteX1612" fmla="*/ 984610 w 1317625"/>
              <a:gd name="connsiteY1612" fmla="*/ 909109 h 1344613"/>
              <a:gd name="connsiteX1613" fmla="*/ 982826 w 1317625"/>
              <a:gd name="connsiteY1613" fmla="*/ 910696 h 1344613"/>
              <a:gd name="connsiteX1614" fmla="*/ 981041 w 1317625"/>
              <a:gd name="connsiteY1614" fmla="*/ 912813 h 1344613"/>
              <a:gd name="connsiteX1615" fmla="*/ 979703 w 1317625"/>
              <a:gd name="connsiteY1615" fmla="*/ 914929 h 1344613"/>
              <a:gd name="connsiteX1616" fmla="*/ 979257 w 1317625"/>
              <a:gd name="connsiteY1616" fmla="*/ 917575 h 1344613"/>
              <a:gd name="connsiteX1617" fmla="*/ 978811 w 1317625"/>
              <a:gd name="connsiteY1617" fmla="*/ 920221 h 1344613"/>
              <a:gd name="connsiteX1618" fmla="*/ 979257 w 1317625"/>
              <a:gd name="connsiteY1618" fmla="*/ 922338 h 1344613"/>
              <a:gd name="connsiteX1619" fmla="*/ 979703 w 1317625"/>
              <a:gd name="connsiteY1619" fmla="*/ 925513 h 1344613"/>
              <a:gd name="connsiteX1620" fmla="*/ 981041 w 1317625"/>
              <a:gd name="connsiteY1620" fmla="*/ 928159 h 1344613"/>
              <a:gd name="connsiteX1621" fmla="*/ 980595 w 1317625"/>
              <a:gd name="connsiteY1621" fmla="*/ 929217 h 1344613"/>
              <a:gd name="connsiteX1622" fmla="*/ 979257 w 1317625"/>
              <a:gd name="connsiteY1622" fmla="*/ 931334 h 1344613"/>
              <a:gd name="connsiteX1623" fmla="*/ 978365 w 1317625"/>
              <a:gd name="connsiteY1623" fmla="*/ 932921 h 1344613"/>
              <a:gd name="connsiteX1624" fmla="*/ 977473 w 1317625"/>
              <a:gd name="connsiteY1624" fmla="*/ 933450 h 1344613"/>
              <a:gd name="connsiteX1625" fmla="*/ 976135 w 1317625"/>
              <a:gd name="connsiteY1625" fmla="*/ 935038 h 1344613"/>
              <a:gd name="connsiteX1626" fmla="*/ 975243 w 1317625"/>
              <a:gd name="connsiteY1626" fmla="*/ 935038 h 1344613"/>
              <a:gd name="connsiteX1627" fmla="*/ 973459 w 1317625"/>
              <a:gd name="connsiteY1627" fmla="*/ 935038 h 1344613"/>
              <a:gd name="connsiteX1628" fmla="*/ 972121 w 1317625"/>
              <a:gd name="connsiteY1628" fmla="*/ 933450 h 1344613"/>
              <a:gd name="connsiteX1629" fmla="*/ 970783 w 1317625"/>
              <a:gd name="connsiteY1629" fmla="*/ 932392 h 1344613"/>
              <a:gd name="connsiteX1630" fmla="*/ 969891 w 1317625"/>
              <a:gd name="connsiteY1630" fmla="*/ 931334 h 1344613"/>
              <a:gd name="connsiteX1631" fmla="*/ 969445 w 1317625"/>
              <a:gd name="connsiteY1631" fmla="*/ 928159 h 1344613"/>
              <a:gd name="connsiteX1632" fmla="*/ 969445 w 1317625"/>
              <a:gd name="connsiteY1632" fmla="*/ 924984 h 1344613"/>
              <a:gd name="connsiteX1633" fmla="*/ 964984 w 1317625"/>
              <a:gd name="connsiteY1633" fmla="*/ 924454 h 1344613"/>
              <a:gd name="connsiteX1634" fmla="*/ 960524 w 1317625"/>
              <a:gd name="connsiteY1634" fmla="*/ 922867 h 1344613"/>
              <a:gd name="connsiteX1635" fmla="*/ 957402 w 1317625"/>
              <a:gd name="connsiteY1635" fmla="*/ 921279 h 1344613"/>
              <a:gd name="connsiteX1636" fmla="*/ 954725 w 1317625"/>
              <a:gd name="connsiteY1636" fmla="*/ 918634 h 1344613"/>
              <a:gd name="connsiteX1637" fmla="*/ 954725 w 1317625"/>
              <a:gd name="connsiteY1637" fmla="*/ 923396 h 1344613"/>
              <a:gd name="connsiteX1638" fmla="*/ 954725 w 1317625"/>
              <a:gd name="connsiteY1638" fmla="*/ 928159 h 1344613"/>
              <a:gd name="connsiteX1639" fmla="*/ 955171 w 1317625"/>
              <a:gd name="connsiteY1639" fmla="*/ 930275 h 1344613"/>
              <a:gd name="connsiteX1640" fmla="*/ 956064 w 1317625"/>
              <a:gd name="connsiteY1640" fmla="*/ 932921 h 1344613"/>
              <a:gd name="connsiteX1641" fmla="*/ 958740 w 1317625"/>
              <a:gd name="connsiteY1641" fmla="*/ 937154 h 1344613"/>
              <a:gd name="connsiteX1642" fmla="*/ 960524 w 1317625"/>
              <a:gd name="connsiteY1642" fmla="*/ 940859 h 1344613"/>
              <a:gd name="connsiteX1643" fmla="*/ 963646 w 1317625"/>
              <a:gd name="connsiteY1643" fmla="*/ 944034 h 1344613"/>
              <a:gd name="connsiteX1644" fmla="*/ 965876 w 1317625"/>
              <a:gd name="connsiteY1644" fmla="*/ 946679 h 1344613"/>
              <a:gd name="connsiteX1645" fmla="*/ 967214 w 1317625"/>
              <a:gd name="connsiteY1645" fmla="*/ 947738 h 1344613"/>
              <a:gd name="connsiteX1646" fmla="*/ 968106 w 1317625"/>
              <a:gd name="connsiteY1646" fmla="*/ 948267 h 1344613"/>
              <a:gd name="connsiteX1647" fmla="*/ 968552 w 1317625"/>
              <a:gd name="connsiteY1647" fmla="*/ 948267 h 1344613"/>
              <a:gd name="connsiteX1648" fmla="*/ 969445 w 1317625"/>
              <a:gd name="connsiteY1648" fmla="*/ 948267 h 1344613"/>
              <a:gd name="connsiteX1649" fmla="*/ 969445 w 1317625"/>
              <a:gd name="connsiteY1649" fmla="*/ 957263 h 1344613"/>
              <a:gd name="connsiteX1650" fmla="*/ 969445 w 1317625"/>
              <a:gd name="connsiteY1650" fmla="*/ 965730 h 1344613"/>
              <a:gd name="connsiteX1651" fmla="*/ 969445 w 1317625"/>
              <a:gd name="connsiteY1651" fmla="*/ 973138 h 1344613"/>
              <a:gd name="connsiteX1652" fmla="*/ 969445 w 1317625"/>
              <a:gd name="connsiteY1652" fmla="*/ 980546 h 1344613"/>
              <a:gd name="connsiteX1653" fmla="*/ 969445 w 1317625"/>
              <a:gd name="connsiteY1653" fmla="*/ 992188 h 1344613"/>
              <a:gd name="connsiteX1654" fmla="*/ 969445 w 1317625"/>
              <a:gd name="connsiteY1654" fmla="*/ 1004888 h 1344613"/>
              <a:gd name="connsiteX1655" fmla="*/ 968998 w 1317625"/>
              <a:gd name="connsiteY1655" fmla="*/ 1007534 h 1344613"/>
              <a:gd name="connsiteX1656" fmla="*/ 968552 w 1317625"/>
              <a:gd name="connsiteY1656" fmla="*/ 1010180 h 1344613"/>
              <a:gd name="connsiteX1657" fmla="*/ 968106 w 1317625"/>
              <a:gd name="connsiteY1657" fmla="*/ 1012296 h 1344613"/>
              <a:gd name="connsiteX1658" fmla="*/ 967214 w 1317625"/>
              <a:gd name="connsiteY1658" fmla="*/ 1013884 h 1344613"/>
              <a:gd name="connsiteX1659" fmla="*/ 965430 w 1317625"/>
              <a:gd name="connsiteY1659" fmla="*/ 1015471 h 1344613"/>
              <a:gd name="connsiteX1660" fmla="*/ 964092 w 1317625"/>
              <a:gd name="connsiteY1660" fmla="*/ 1016530 h 1344613"/>
              <a:gd name="connsiteX1661" fmla="*/ 962754 w 1317625"/>
              <a:gd name="connsiteY1661" fmla="*/ 1016530 h 1344613"/>
              <a:gd name="connsiteX1662" fmla="*/ 960524 w 1317625"/>
              <a:gd name="connsiteY1662" fmla="*/ 1016530 h 1344613"/>
              <a:gd name="connsiteX1663" fmla="*/ 963200 w 1317625"/>
              <a:gd name="connsiteY1663" fmla="*/ 1019176 h 1344613"/>
              <a:gd name="connsiteX1664" fmla="*/ 967214 w 1317625"/>
              <a:gd name="connsiteY1664" fmla="*/ 1022351 h 1344613"/>
              <a:gd name="connsiteX1665" fmla="*/ 968998 w 1317625"/>
              <a:gd name="connsiteY1665" fmla="*/ 1024467 h 1344613"/>
              <a:gd name="connsiteX1666" fmla="*/ 970783 w 1317625"/>
              <a:gd name="connsiteY1666" fmla="*/ 1025526 h 1344613"/>
              <a:gd name="connsiteX1667" fmla="*/ 973013 w 1317625"/>
              <a:gd name="connsiteY1667" fmla="*/ 1026055 h 1344613"/>
              <a:gd name="connsiteX1668" fmla="*/ 975243 w 1317625"/>
              <a:gd name="connsiteY1668" fmla="*/ 1026584 h 1344613"/>
              <a:gd name="connsiteX1669" fmla="*/ 973013 w 1317625"/>
              <a:gd name="connsiteY1669" fmla="*/ 1030817 h 1344613"/>
              <a:gd name="connsiteX1670" fmla="*/ 970337 w 1317625"/>
              <a:gd name="connsiteY1670" fmla="*/ 1033463 h 1344613"/>
              <a:gd name="connsiteX1671" fmla="*/ 968998 w 1317625"/>
              <a:gd name="connsiteY1671" fmla="*/ 1034521 h 1344613"/>
              <a:gd name="connsiteX1672" fmla="*/ 967660 w 1317625"/>
              <a:gd name="connsiteY1672" fmla="*/ 1035580 h 1344613"/>
              <a:gd name="connsiteX1673" fmla="*/ 965430 w 1317625"/>
              <a:gd name="connsiteY1673" fmla="*/ 1036109 h 1344613"/>
              <a:gd name="connsiteX1674" fmla="*/ 963646 w 1317625"/>
              <a:gd name="connsiteY1674" fmla="*/ 1036109 h 1344613"/>
              <a:gd name="connsiteX1675" fmla="*/ 960970 w 1317625"/>
              <a:gd name="connsiteY1675" fmla="*/ 1036638 h 1344613"/>
              <a:gd name="connsiteX1676" fmla="*/ 959632 w 1317625"/>
              <a:gd name="connsiteY1676" fmla="*/ 1037696 h 1344613"/>
              <a:gd name="connsiteX1677" fmla="*/ 958294 w 1317625"/>
              <a:gd name="connsiteY1677" fmla="*/ 1039284 h 1344613"/>
              <a:gd name="connsiteX1678" fmla="*/ 956510 w 1317625"/>
              <a:gd name="connsiteY1678" fmla="*/ 1041930 h 1344613"/>
              <a:gd name="connsiteX1679" fmla="*/ 955618 w 1317625"/>
              <a:gd name="connsiteY1679" fmla="*/ 1044046 h 1344613"/>
              <a:gd name="connsiteX1680" fmla="*/ 955171 w 1317625"/>
              <a:gd name="connsiteY1680" fmla="*/ 1046692 h 1344613"/>
              <a:gd name="connsiteX1681" fmla="*/ 954725 w 1317625"/>
              <a:gd name="connsiteY1681" fmla="*/ 1049338 h 1344613"/>
              <a:gd name="connsiteX1682" fmla="*/ 954725 w 1317625"/>
              <a:gd name="connsiteY1682" fmla="*/ 1052513 h 1344613"/>
              <a:gd name="connsiteX1683" fmla="*/ 952941 w 1317625"/>
              <a:gd name="connsiteY1683" fmla="*/ 1044046 h 1344613"/>
              <a:gd name="connsiteX1684" fmla="*/ 952495 w 1317625"/>
              <a:gd name="connsiteY1684" fmla="*/ 1038226 h 1344613"/>
              <a:gd name="connsiteX1685" fmla="*/ 952495 w 1317625"/>
              <a:gd name="connsiteY1685" fmla="*/ 1036109 h 1344613"/>
              <a:gd name="connsiteX1686" fmla="*/ 952941 w 1317625"/>
              <a:gd name="connsiteY1686" fmla="*/ 1033992 h 1344613"/>
              <a:gd name="connsiteX1687" fmla="*/ 953833 w 1317625"/>
              <a:gd name="connsiteY1687" fmla="*/ 1031876 h 1344613"/>
              <a:gd name="connsiteX1688" fmla="*/ 954725 w 1317625"/>
              <a:gd name="connsiteY1688" fmla="*/ 1029759 h 1344613"/>
              <a:gd name="connsiteX1689" fmla="*/ 950265 w 1317625"/>
              <a:gd name="connsiteY1689" fmla="*/ 1029759 h 1344613"/>
              <a:gd name="connsiteX1690" fmla="*/ 947143 w 1317625"/>
              <a:gd name="connsiteY1690" fmla="*/ 1030817 h 1344613"/>
              <a:gd name="connsiteX1691" fmla="*/ 944467 w 1317625"/>
              <a:gd name="connsiteY1691" fmla="*/ 1031876 h 1344613"/>
              <a:gd name="connsiteX1692" fmla="*/ 942237 w 1317625"/>
              <a:gd name="connsiteY1692" fmla="*/ 1032934 h 1344613"/>
              <a:gd name="connsiteX1693" fmla="*/ 940006 w 1317625"/>
              <a:gd name="connsiteY1693" fmla="*/ 1033992 h 1344613"/>
              <a:gd name="connsiteX1694" fmla="*/ 938222 w 1317625"/>
              <a:gd name="connsiteY1694" fmla="*/ 1035051 h 1344613"/>
              <a:gd name="connsiteX1695" fmla="*/ 935546 w 1317625"/>
              <a:gd name="connsiteY1695" fmla="*/ 1035580 h 1344613"/>
              <a:gd name="connsiteX1696" fmla="*/ 933762 w 1317625"/>
              <a:gd name="connsiteY1696" fmla="*/ 1036109 h 1344613"/>
              <a:gd name="connsiteX1697" fmla="*/ 933316 w 1317625"/>
              <a:gd name="connsiteY1697" fmla="*/ 1023409 h 1344613"/>
              <a:gd name="connsiteX1698" fmla="*/ 931532 w 1317625"/>
              <a:gd name="connsiteY1698" fmla="*/ 1012296 h 1344613"/>
              <a:gd name="connsiteX1699" fmla="*/ 931086 w 1317625"/>
              <a:gd name="connsiteY1699" fmla="*/ 1007534 h 1344613"/>
              <a:gd name="connsiteX1700" fmla="*/ 931086 w 1317625"/>
              <a:gd name="connsiteY1700" fmla="*/ 1003300 h 1344613"/>
              <a:gd name="connsiteX1701" fmla="*/ 932424 w 1317625"/>
              <a:gd name="connsiteY1701" fmla="*/ 998538 h 1344613"/>
              <a:gd name="connsiteX1702" fmla="*/ 933762 w 1317625"/>
              <a:gd name="connsiteY1702" fmla="*/ 993775 h 1344613"/>
              <a:gd name="connsiteX1703" fmla="*/ 928856 w 1317625"/>
              <a:gd name="connsiteY1703" fmla="*/ 993775 h 1344613"/>
              <a:gd name="connsiteX1704" fmla="*/ 923949 w 1317625"/>
              <a:gd name="connsiteY1704" fmla="*/ 992188 h 1344613"/>
              <a:gd name="connsiteX1705" fmla="*/ 919935 w 1317625"/>
              <a:gd name="connsiteY1705" fmla="*/ 991130 h 1344613"/>
              <a:gd name="connsiteX1706" fmla="*/ 916367 w 1317625"/>
              <a:gd name="connsiteY1706" fmla="*/ 989013 h 1344613"/>
              <a:gd name="connsiteX1707" fmla="*/ 913690 w 1317625"/>
              <a:gd name="connsiteY1707" fmla="*/ 986896 h 1344613"/>
              <a:gd name="connsiteX1708" fmla="*/ 911014 w 1317625"/>
              <a:gd name="connsiteY1708" fmla="*/ 984250 h 1344613"/>
              <a:gd name="connsiteX1709" fmla="*/ 908784 w 1317625"/>
              <a:gd name="connsiteY1709" fmla="*/ 981605 h 1344613"/>
              <a:gd name="connsiteX1710" fmla="*/ 907446 w 1317625"/>
              <a:gd name="connsiteY1710" fmla="*/ 978430 h 1344613"/>
              <a:gd name="connsiteX1711" fmla="*/ 904324 w 1317625"/>
              <a:gd name="connsiteY1711" fmla="*/ 971021 h 1344613"/>
              <a:gd name="connsiteX1712" fmla="*/ 902540 w 1317625"/>
              <a:gd name="connsiteY1712" fmla="*/ 963084 h 1344613"/>
              <a:gd name="connsiteX1713" fmla="*/ 900309 w 1317625"/>
              <a:gd name="connsiteY1713" fmla="*/ 955675 h 1344613"/>
              <a:gd name="connsiteX1714" fmla="*/ 898525 w 1317625"/>
              <a:gd name="connsiteY1714" fmla="*/ 948267 h 1344613"/>
              <a:gd name="connsiteX1715" fmla="*/ 902986 w 1317625"/>
              <a:gd name="connsiteY1715" fmla="*/ 945092 h 1344613"/>
              <a:gd name="connsiteX1716" fmla="*/ 907000 w 1317625"/>
              <a:gd name="connsiteY1716" fmla="*/ 941917 h 1344613"/>
              <a:gd name="connsiteX1717" fmla="*/ 911014 w 1317625"/>
              <a:gd name="connsiteY1717" fmla="*/ 938213 h 1344613"/>
              <a:gd name="connsiteX1718" fmla="*/ 915028 w 1317625"/>
              <a:gd name="connsiteY1718" fmla="*/ 932921 h 1344613"/>
              <a:gd name="connsiteX1719" fmla="*/ 918597 w 1317625"/>
              <a:gd name="connsiteY1719" fmla="*/ 928159 h 1344613"/>
              <a:gd name="connsiteX1720" fmla="*/ 920827 w 1317625"/>
              <a:gd name="connsiteY1720" fmla="*/ 922338 h 1344613"/>
              <a:gd name="connsiteX1721" fmla="*/ 923503 w 1317625"/>
              <a:gd name="connsiteY1721" fmla="*/ 915988 h 1344613"/>
              <a:gd name="connsiteX1722" fmla="*/ 924841 w 1317625"/>
              <a:gd name="connsiteY1722" fmla="*/ 909109 h 1344613"/>
              <a:gd name="connsiteX1723" fmla="*/ 931086 w 1317625"/>
              <a:gd name="connsiteY1723" fmla="*/ 908579 h 1344613"/>
              <a:gd name="connsiteX1724" fmla="*/ 937776 w 1317625"/>
              <a:gd name="connsiteY1724" fmla="*/ 906992 h 1344613"/>
              <a:gd name="connsiteX1725" fmla="*/ 944021 w 1317625"/>
              <a:gd name="connsiteY1725" fmla="*/ 904346 h 1344613"/>
              <a:gd name="connsiteX1726" fmla="*/ 949819 w 1317625"/>
              <a:gd name="connsiteY1726" fmla="*/ 901171 h 1344613"/>
              <a:gd name="connsiteX1727" fmla="*/ 960970 w 1317625"/>
              <a:gd name="connsiteY1727" fmla="*/ 894821 h 1344613"/>
              <a:gd name="connsiteX1728" fmla="*/ 972567 w 1317625"/>
              <a:gd name="connsiteY1728" fmla="*/ 889529 h 1344613"/>
              <a:gd name="connsiteX1729" fmla="*/ 978811 w 1317625"/>
              <a:gd name="connsiteY1729" fmla="*/ 886883 h 1344613"/>
              <a:gd name="connsiteX1730" fmla="*/ 984164 w 1317625"/>
              <a:gd name="connsiteY1730" fmla="*/ 884767 h 1344613"/>
              <a:gd name="connsiteX1731" fmla="*/ 988615 w 1317625"/>
              <a:gd name="connsiteY1731" fmla="*/ 883954 h 1344613"/>
              <a:gd name="connsiteX1732" fmla="*/ 988089 w 1317625"/>
              <a:gd name="connsiteY1732" fmla="*/ 883954 h 1344613"/>
              <a:gd name="connsiteX1733" fmla="*/ 980800 w 1317625"/>
              <a:gd name="connsiteY1733" fmla="*/ 883954 h 1344613"/>
              <a:gd name="connsiteX1734" fmla="*/ 977798 w 1317625"/>
              <a:gd name="connsiteY1734" fmla="*/ 884495 h 1344613"/>
              <a:gd name="connsiteX1735" fmla="*/ 974368 w 1317625"/>
              <a:gd name="connsiteY1735" fmla="*/ 885036 h 1344613"/>
              <a:gd name="connsiteX1736" fmla="*/ 971795 w 1317625"/>
              <a:gd name="connsiteY1736" fmla="*/ 886118 h 1344613"/>
              <a:gd name="connsiteX1737" fmla="*/ 969891 w 1317625"/>
              <a:gd name="connsiteY1737" fmla="*/ 886919 h 1344613"/>
              <a:gd name="connsiteX1738" fmla="*/ 960031 w 1317625"/>
              <a:gd name="connsiteY1738" fmla="*/ 893098 h 1344613"/>
              <a:gd name="connsiteX1739" fmla="*/ 948511 w 1317625"/>
              <a:gd name="connsiteY1739" fmla="*/ 900316 h 1344613"/>
              <a:gd name="connsiteX1740" fmla="*/ 942538 w 1317625"/>
              <a:gd name="connsiteY1740" fmla="*/ 902894 h 1344613"/>
              <a:gd name="connsiteX1741" fmla="*/ 935712 w 1317625"/>
              <a:gd name="connsiteY1741" fmla="*/ 905988 h 1344613"/>
              <a:gd name="connsiteX1742" fmla="*/ 929739 w 1317625"/>
              <a:gd name="connsiteY1742" fmla="*/ 907535 h 1344613"/>
              <a:gd name="connsiteX1743" fmla="*/ 923340 w 1317625"/>
              <a:gd name="connsiteY1743" fmla="*/ 908050 h 1344613"/>
              <a:gd name="connsiteX1744" fmla="*/ 919738 w 1317625"/>
              <a:gd name="connsiteY1744" fmla="*/ 902827 h 1344613"/>
              <a:gd name="connsiteX1745" fmla="*/ 922337 w 1317625"/>
              <a:gd name="connsiteY1745" fmla="*/ 907445 h 1344613"/>
              <a:gd name="connsiteX1746" fmla="*/ 920697 w 1317625"/>
              <a:gd name="connsiteY1746" fmla="*/ 913198 h 1344613"/>
              <a:gd name="connsiteX1747" fmla="*/ 919056 w 1317625"/>
              <a:gd name="connsiteY1747" fmla="*/ 918952 h 1344613"/>
              <a:gd name="connsiteX1748" fmla="*/ 916596 w 1317625"/>
              <a:gd name="connsiteY1748" fmla="*/ 924705 h 1344613"/>
              <a:gd name="connsiteX1749" fmla="*/ 914545 w 1317625"/>
              <a:gd name="connsiteY1749" fmla="*/ 929936 h 1344613"/>
              <a:gd name="connsiteX1750" fmla="*/ 911265 w 1317625"/>
              <a:gd name="connsiteY1750" fmla="*/ 935166 h 1344613"/>
              <a:gd name="connsiteX1751" fmla="*/ 908394 w 1317625"/>
              <a:gd name="connsiteY1751" fmla="*/ 939351 h 1344613"/>
              <a:gd name="connsiteX1752" fmla="*/ 904293 w 1317625"/>
              <a:gd name="connsiteY1752" fmla="*/ 943012 h 1344613"/>
              <a:gd name="connsiteX1753" fmla="*/ 900602 w 1317625"/>
              <a:gd name="connsiteY1753" fmla="*/ 946150 h 1344613"/>
              <a:gd name="connsiteX1754" fmla="*/ 900192 w 1317625"/>
              <a:gd name="connsiteY1754" fmla="*/ 944581 h 1344613"/>
              <a:gd name="connsiteX1755" fmla="*/ 899782 w 1317625"/>
              <a:gd name="connsiteY1755" fmla="*/ 943535 h 1344613"/>
              <a:gd name="connsiteX1756" fmla="*/ 898551 w 1317625"/>
              <a:gd name="connsiteY1756" fmla="*/ 941966 h 1344613"/>
              <a:gd name="connsiteX1757" fmla="*/ 897731 w 1317625"/>
              <a:gd name="connsiteY1757" fmla="*/ 940920 h 1344613"/>
              <a:gd name="connsiteX1758" fmla="*/ 895271 w 1317625"/>
              <a:gd name="connsiteY1758" fmla="*/ 937781 h 1344613"/>
              <a:gd name="connsiteX1759" fmla="*/ 891990 w 1317625"/>
              <a:gd name="connsiteY1759" fmla="*/ 934643 h 1344613"/>
              <a:gd name="connsiteX1760" fmla="*/ 888299 w 1317625"/>
              <a:gd name="connsiteY1760" fmla="*/ 931505 h 1344613"/>
              <a:gd name="connsiteX1761" fmla="*/ 885428 w 1317625"/>
              <a:gd name="connsiteY1761" fmla="*/ 928367 h 1344613"/>
              <a:gd name="connsiteX1762" fmla="*/ 882968 w 1317625"/>
              <a:gd name="connsiteY1762" fmla="*/ 925751 h 1344613"/>
              <a:gd name="connsiteX1763" fmla="*/ 881327 w 1317625"/>
              <a:gd name="connsiteY1763" fmla="*/ 923136 h 1344613"/>
              <a:gd name="connsiteX1764" fmla="*/ 879277 w 1317625"/>
              <a:gd name="connsiteY1764" fmla="*/ 915813 h 1344613"/>
              <a:gd name="connsiteX1765" fmla="*/ 877226 w 1317625"/>
              <a:gd name="connsiteY1765" fmla="*/ 907445 h 1344613"/>
              <a:gd name="connsiteX1766" fmla="*/ 875176 w 1317625"/>
              <a:gd name="connsiteY1766" fmla="*/ 898553 h 1344613"/>
              <a:gd name="connsiteX1767" fmla="*/ 873125 w 1317625"/>
              <a:gd name="connsiteY1767" fmla="*/ 891230 h 1344613"/>
              <a:gd name="connsiteX1768" fmla="*/ 874766 w 1317625"/>
              <a:gd name="connsiteY1768" fmla="*/ 887569 h 1344613"/>
              <a:gd name="connsiteX1769" fmla="*/ 876406 w 1317625"/>
              <a:gd name="connsiteY1769" fmla="*/ 883908 h 1344613"/>
              <a:gd name="connsiteX1770" fmla="*/ 877226 w 1317625"/>
              <a:gd name="connsiteY1770" fmla="*/ 880769 h 1344613"/>
              <a:gd name="connsiteX1771" fmla="*/ 878046 w 1317625"/>
              <a:gd name="connsiteY1771" fmla="*/ 877631 h 1344613"/>
              <a:gd name="connsiteX1772" fmla="*/ 878867 w 1317625"/>
              <a:gd name="connsiteY1772" fmla="*/ 871355 h 1344613"/>
              <a:gd name="connsiteX1773" fmla="*/ 879277 w 1317625"/>
              <a:gd name="connsiteY1773" fmla="*/ 866124 h 1344613"/>
              <a:gd name="connsiteX1774" fmla="*/ 879277 w 1317625"/>
              <a:gd name="connsiteY1774" fmla="*/ 863509 h 1344613"/>
              <a:gd name="connsiteX1775" fmla="*/ 879687 w 1317625"/>
              <a:gd name="connsiteY1775" fmla="*/ 861940 h 1344613"/>
              <a:gd name="connsiteX1776" fmla="*/ 880917 w 1317625"/>
              <a:gd name="connsiteY1776" fmla="*/ 859847 h 1344613"/>
              <a:gd name="connsiteX1777" fmla="*/ 881737 w 1317625"/>
              <a:gd name="connsiteY1777" fmla="*/ 858278 h 1344613"/>
              <a:gd name="connsiteX1778" fmla="*/ 882968 w 1317625"/>
              <a:gd name="connsiteY1778" fmla="*/ 857232 h 1344613"/>
              <a:gd name="connsiteX1779" fmla="*/ 884198 w 1317625"/>
              <a:gd name="connsiteY1779" fmla="*/ 856186 h 1344613"/>
              <a:gd name="connsiteX1780" fmla="*/ 886659 w 1317625"/>
              <a:gd name="connsiteY1780" fmla="*/ 855663 h 1344613"/>
              <a:gd name="connsiteX1781" fmla="*/ 889119 w 1317625"/>
              <a:gd name="connsiteY1781" fmla="*/ 855663 h 1344613"/>
              <a:gd name="connsiteX1782" fmla="*/ 890760 w 1317625"/>
              <a:gd name="connsiteY1782" fmla="*/ 856186 h 1344613"/>
              <a:gd name="connsiteX1783" fmla="*/ 890957 w 1317625"/>
              <a:gd name="connsiteY1783" fmla="*/ 856312 h 1344613"/>
              <a:gd name="connsiteX1784" fmla="*/ 890329 w 1317625"/>
              <a:gd name="connsiteY1784" fmla="*/ 855372 h 1344613"/>
              <a:gd name="connsiteX1785" fmla="*/ 889013 w 1317625"/>
              <a:gd name="connsiteY1785" fmla="*/ 853796 h 1344613"/>
              <a:gd name="connsiteX1786" fmla="*/ 887257 w 1317625"/>
              <a:gd name="connsiteY1786" fmla="*/ 853270 h 1344613"/>
              <a:gd name="connsiteX1787" fmla="*/ 884624 w 1317625"/>
              <a:gd name="connsiteY1787" fmla="*/ 853270 h 1344613"/>
              <a:gd name="connsiteX1788" fmla="*/ 881992 w 1317625"/>
              <a:gd name="connsiteY1788" fmla="*/ 853796 h 1344613"/>
              <a:gd name="connsiteX1789" fmla="*/ 880675 w 1317625"/>
              <a:gd name="connsiteY1789" fmla="*/ 854847 h 1344613"/>
              <a:gd name="connsiteX1790" fmla="*/ 879359 w 1317625"/>
              <a:gd name="connsiteY1790" fmla="*/ 855897 h 1344613"/>
              <a:gd name="connsiteX1791" fmla="*/ 878481 w 1317625"/>
              <a:gd name="connsiteY1791" fmla="*/ 857474 h 1344613"/>
              <a:gd name="connsiteX1792" fmla="*/ 877164 w 1317625"/>
              <a:gd name="connsiteY1792" fmla="*/ 859575 h 1344613"/>
              <a:gd name="connsiteX1793" fmla="*/ 876726 w 1317625"/>
              <a:gd name="connsiteY1793" fmla="*/ 861152 h 1344613"/>
              <a:gd name="connsiteX1794" fmla="*/ 876726 w 1317625"/>
              <a:gd name="connsiteY1794" fmla="*/ 863779 h 1344613"/>
              <a:gd name="connsiteX1795" fmla="*/ 876287 w 1317625"/>
              <a:gd name="connsiteY1795" fmla="*/ 869033 h 1344613"/>
              <a:gd name="connsiteX1796" fmla="*/ 875409 w 1317625"/>
              <a:gd name="connsiteY1796" fmla="*/ 874813 h 1344613"/>
              <a:gd name="connsiteX1797" fmla="*/ 874532 w 1317625"/>
              <a:gd name="connsiteY1797" fmla="*/ 878491 h 1344613"/>
              <a:gd name="connsiteX1798" fmla="*/ 873654 w 1317625"/>
              <a:gd name="connsiteY1798" fmla="*/ 881644 h 1344613"/>
              <a:gd name="connsiteX1799" fmla="*/ 871899 w 1317625"/>
              <a:gd name="connsiteY1799" fmla="*/ 885322 h 1344613"/>
              <a:gd name="connsiteX1800" fmla="*/ 870143 w 1317625"/>
              <a:gd name="connsiteY1800" fmla="*/ 889000 h 1344613"/>
              <a:gd name="connsiteX1801" fmla="*/ 868827 w 1317625"/>
              <a:gd name="connsiteY1801" fmla="*/ 877440 h 1344613"/>
              <a:gd name="connsiteX1802" fmla="*/ 867072 w 1317625"/>
              <a:gd name="connsiteY1802" fmla="*/ 867457 h 1344613"/>
              <a:gd name="connsiteX1803" fmla="*/ 865755 w 1317625"/>
              <a:gd name="connsiteY1803" fmla="*/ 862728 h 1344613"/>
              <a:gd name="connsiteX1804" fmla="*/ 863122 w 1317625"/>
              <a:gd name="connsiteY1804" fmla="*/ 859050 h 1344613"/>
              <a:gd name="connsiteX1805" fmla="*/ 861806 w 1317625"/>
              <a:gd name="connsiteY1805" fmla="*/ 857474 h 1344613"/>
              <a:gd name="connsiteX1806" fmla="*/ 860489 w 1317625"/>
              <a:gd name="connsiteY1806" fmla="*/ 855897 h 1344613"/>
              <a:gd name="connsiteX1807" fmla="*/ 857856 w 1317625"/>
              <a:gd name="connsiteY1807" fmla="*/ 854321 h 1344613"/>
              <a:gd name="connsiteX1808" fmla="*/ 855662 w 1317625"/>
              <a:gd name="connsiteY1808" fmla="*/ 853270 h 1344613"/>
              <a:gd name="connsiteX1809" fmla="*/ 855662 w 1317625"/>
              <a:gd name="connsiteY1809" fmla="*/ 852395 h 1344613"/>
              <a:gd name="connsiteX1810" fmla="*/ 832397 w 1317625"/>
              <a:gd name="connsiteY1810" fmla="*/ 842694 h 1344613"/>
              <a:gd name="connsiteX1811" fmla="*/ 829197 w 1317625"/>
              <a:gd name="connsiteY1811" fmla="*/ 842963 h 1344613"/>
              <a:gd name="connsiteX1812" fmla="*/ 822238 w 1317625"/>
              <a:gd name="connsiteY1812" fmla="*/ 842963 h 1344613"/>
              <a:gd name="connsiteX1813" fmla="*/ 819194 w 1317625"/>
              <a:gd name="connsiteY1813" fmla="*/ 842963 h 1344613"/>
              <a:gd name="connsiteX1814" fmla="*/ 816149 w 1317625"/>
              <a:gd name="connsiteY1814" fmla="*/ 842451 h 1344613"/>
              <a:gd name="connsiteX1815" fmla="*/ 813105 w 1317625"/>
              <a:gd name="connsiteY1815" fmla="*/ 841425 h 1344613"/>
              <a:gd name="connsiteX1816" fmla="*/ 809625 w 1317625"/>
              <a:gd name="connsiteY1816" fmla="*/ 839375 h 1344613"/>
              <a:gd name="connsiteX1817" fmla="*/ 806581 w 1317625"/>
              <a:gd name="connsiteY1817" fmla="*/ 837838 h 1344613"/>
              <a:gd name="connsiteX1818" fmla="*/ 804406 w 1317625"/>
              <a:gd name="connsiteY1818" fmla="*/ 835787 h 1344613"/>
              <a:gd name="connsiteX1819" fmla="*/ 802666 w 1317625"/>
              <a:gd name="connsiteY1819" fmla="*/ 832712 h 1344613"/>
              <a:gd name="connsiteX1820" fmla="*/ 801362 w 1317625"/>
              <a:gd name="connsiteY1820" fmla="*/ 830149 h 1344613"/>
              <a:gd name="connsiteX1821" fmla="*/ 800057 w 1317625"/>
              <a:gd name="connsiteY1821" fmla="*/ 827074 h 1344613"/>
              <a:gd name="connsiteX1822" fmla="*/ 798752 w 1317625"/>
              <a:gd name="connsiteY1822" fmla="*/ 824511 h 1344613"/>
              <a:gd name="connsiteX1823" fmla="*/ 797012 w 1317625"/>
              <a:gd name="connsiteY1823" fmla="*/ 822461 h 1344613"/>
              <a:gd name="connsiteX1824" fmla="*/ 795273 w 1317625"/>
              <a:gd name="connsiteY1824" fmla="*/ 820923 h 1344613"/>
              <a:gd name="connsiteX1825" fmla="*/ 790488 w 1317625"/>
              <a:gd name="connsiteY1825" fmla="*/ 811697 h 1344613"/>
              <a:gd name="connsiteX1826" fmla="*/ 785704 w 1317625"/>
              <a:gd name="connsiteY1826" fmla="*/ 802984 h 1344613"/>
              <a:gd name="connsiteX1827" fmla="*/ 780920 w 1317625"/>
              <a:gd name="connsiteY1827" fmla="*/ 794783 h 1344613"/>
              <a:gd name="connsiteX1828" fmla="*/ 775701 w 1317625"/>
              <a:gd name="connsiteY1828" fmla="*/ 786582 h 1344613"/>
              <a:gd name="connsiteX1829" fmla="*/ 772656 w 1317625"/>
              <a:gd name="connsiteY1829" fmla="*/ 782482 h 1344613"/>
              <a:gd name="connsiteX1830" fmla="*/ 770046 w 1317625"/>
              <a:gd name="connsiteY1830" fmla="*/ 779406 h 1344613"/>
              <a:gd name="connsiteX1831" fmla="*/ 767002 w 1317625"/>
              <a:gd name="connsiteY1831" fmla="*/ 776331 h 1344613"/>
              <a:gd name="connsiteX1832" fmla="*/ 765897 w 1317625"/>
              <a:gd name="connsiteY1832" fmla="*/ 775028 h 1344613"/>
              <a:gd name="connsiteX1833" fmla="*/ 760695 w 1317625"/>
              <a:gd name="connsiteY1833" fmla="*/ 773466 h 1344613"/>
              <a:gd name="connsiteX1834" fmla="*/ 752475 w 1317625"/>
              <a:gd name="connsiteY1834" fmla="*/ 771349 h 1344613"/>
              <a:gd name="connsiteX1835" fmla="*/ 752475 w 1317625"/>
              <a:gd name="connsiteY1835" fmla="*/ 767207 h 1344613"/>
              <a:gd name="connsiteX1836" fmla="*/ 751779 w 1317625"/>
              <a:gd name="connsiteY1836" fmla="*/ 767105 h 1344613"/>
              <a:gd name="connsiteX1837" fmla="*/ 750040 w 1317625"/>
              <a:gd name="connsiteY1837" fmla="*/ 764542 h 1344613"/>
              <a:gd name="connsiteX1838" fmla="*/ 747865 w 1317625"/>
              <a:gd name="connsiteY1838" fmla="*/ 761979 h 1344613"/>
              <a:gd name="connsiteX1839" fmla="*/ 746995 w 1317625"/>
              <a:gd name="connsiteY1839" fmla="*/ 760442 h 1344613"/>
              <a:gd name="connsiteX1840" fmla="*/ 746560 w 1317625"/>
              <a:gd name="connsiteY1840" fmla="*/ 758391 h 1344613"/>
              <a:gd name="connsiteX1841" fmla="*/ 746125 w 1317625"/>
              <a:gd name="connsiteY1841" fmla="*/ 756341 h 1344613"/>
              <a:gd name="connsiteX1842" fmla="*/ 746125 w 1317625"/>
              <a:gd name="connsiteY1842" fmla="*/ 753778 h 1344613"/>
              <a:gd name="connsiteX1843" fmla="*/ 752475 w 1317625"/>
              <a:gd name="connsiteY1843" fmla="*/ 755139 h 1344613"/>
              <a:gd name="connsiteX1844" fmla="*/ 752475 w 1317625"/>
              <a:gd name="connsiteY1844" fmla="*/ 753710 h 1344613"/>
              <a:gd name="connsiteX1845" fmla="*/ 752475 w 1317625"/>
              <a:gd name="connsiteY1845" fmla="*/ 743127 h 1344613"/>
              <a:gd name="connsiteX1846" fmla="*/ 752475 w 1317625"/>
              <a:gd name="connsiteY1846" fmla="*/ 731838 h 1344613"/>
              <a:gd name="connsiteX1847" fmla="*/ 757955 w 1317625"/>
              <a:gd name="connsiteY1847" fmla="*/ 731838 h 1344613"/>
              <a:gd name="connsiteX1848" fmla="*/ 761087 w 1317625"/>
              <a:gd name="connsiteY1848" fmla="*/ 731838 h 1344613"/>
              <a:gd name="connsiteX1849" fmla="*/ 764610 w 1317625"/>
              <a:gd name="connsiteY1849" fmla="*/ 731838 h 1344613"/>
              <a:gd name="connsiteX1850" fmla="*/ 768133 w 1317625"/>
              <a:gd name="connsiteY1850" fmla="*/ 731838 h 1344613"/>
              <a:gd name="connsiteX1851" fmla="*/ 772830 w 1317625"/>
              <a:gd name="connsiteY1851" fmla="*/ 731838 h 1344613"/>
              <a:gd name="connsiteX1852" fmla="*/ 777136 w 1317625"/>
              <a:gd name="connsiteY1852" fmla="*/ 730427 h 1344613"/>
              <a:gd name="connsiteX1853" fmla="*/ 781050 w 1317625"/>
              <a:gd name="connsiteY1853" fmla="*/ 729016 h 1344613"/>
              <a:gd name="connsiteX1854" fmla="*/ 784965 w 1317625"/>
              <a:gd name="connsiteY1854" fmla="*/ 726899 h 1344613"/>
              <a:gd name="connsiteX1855" fmla="*/ 791630 w 1317625"/>
              <a:gd name="connsiteY1855" fmla="*/ 722894 h 1344613"/>
              <a:gd name="connsiteX1856" fmla="*/ 791069 w 1317625"/>
              <a:gd name="connsiteY1856" fmla="*/ 723042 h 1344613"/>
              <a:gd name="connsiteX1857" fmla="*/ 783510 w 1317625"/>
              <a:gd name="connsiteY1857" fmla="*/ 726131 h 1344613"/>
              <a:gd name="connsiteX1858" fmla="*/ 779508 w 1317625"/>
              <a:gd name="connsiteY1858" fmla="*/ 727676 h 1344613"/>
              <a:gd name="connsiteX1859" fmla="*/ 775061 w 1317625"/>
              <a:gd name="connsiteY1859" fmla="*/ 728706 h 1344613"/>
              <a:gd name="connsiteX1860" fmla="*/ 770615 w 1317625"/>
              <a:gd name="connsiteY1860" fmla="*/ 730250 h 1344613"/>
              <a:gd name="connsiteX1861" fmla="*/ 765279 w 1317625"/>
              <a:gd name="connsiteY1861" fmla="*/ 730250 h 1344613"/>
              <a:gd name="connsiteX1862" fmla="*/ 760832 w 1317625"/>
              <a:gd name="connsiteY1862" fmla="*/ 730250 h 1344613"/>
              <a:gd name="connsiteX1863" fmla="*/ 755941 w 1317625"/>
              <a:gd name="connsiteY1863" fmla="*/ 730250 h 1344613"/>
              <a:gd name="connsiteX1864" fmla="*/ 750605 w 1317625"/>
              <a:gd name="connsiteY1864" fmla="*/ 730250 h 1344613"/>
              <a:gd name="connsiteX1865" fmla="*/ 747259 w 1317625"/>
              <a:gd name="connsiteY1865" fmla="*/ 730250 h 1344613"/>
              <a:gd name="connsiteX1866" fmla="*/ 746889 w 1317625"/>
              <a:gd name="connsiteY1866" fmla="*/ 736958 h 1344613"/>
              <a:gd name="connsiteX1867" fmla="*/ 746021 w 1317625"/>
              <a:gd name="connsiteY1867" fmla="*/ 743247 h 1344613"/>
              <a:gd name="connsiteX1868" fmla="*/ 744285 w 1317625"/>
              <a:gd name="connsiteY1868" fmla="*/ 748489 h 1344613"/>
              <a:gd name="connsiteX1869" fmla="*/ 742983 w 1317625"/>
              <a:gd name="connsiteY1869" fmla="*/ 753206 h 1344613"/>
              <a:gd name="connsiteX1870" fmla="*/ 742115 w 1317625"/>
              <a:gd name="connsiteY1870" fmla="*/ 757923 h 1344613"/>
              <a:gd name="connsiteX1871" fmla="*/ 742549 w 1317625"/>
              <a:gd name="connsiteY1871" fmla="*/ 762116 h 1344613"/>
              <a:gd name="connsiteX1872" fmla="*/ 742915 w 1317625"/>
              <a:gd name="connsiteY1872" fmla="*/ 763881 h 1344613"/>
              <a:gd name="connsiteX1873" fmla="*/ 742115 w 1317625"/>
              <a:gd name="connsiteY1873" fmla="*/ 763688 h 1344613"/>
              <a:gd name="connsiteX1874" fmla="*/ 739946 w 1317625"/>
              <a:gd name="connsiteY1874" fmla="*/ 763688 h 1344613"/>
              <a:gd name="connsiteX1875" fmla="*/ 738644 w 1317625"/>
              <a:gd name="connsiteY1875" fmla="*/ 763688 h 1344613"/>
              <a:gd name="connsiteX1876" fmla="*/ 737342 w 1317625"/>
              <a:gd name="connsiteY1876" fmla="*/ 763688 h 1344613"/>
              <a:gd name="connsiteX1877" fmla="*/ 736040 w 1317625"/>
              <a:gd name="connsiteY1877" fmla="*/ 763164 h 1344613"/>
              <a:gd name="connsiteX1878" fmla="*/ 735172 w 1317625"/>
              <a:gd name="connsiteY1878" fmla="*/ 762116 h 1344613"/>
              <a:gd name="connsiteX1879" fmla="*/ 733870 w 1317625"/>
              <a:gd name="connsiteY1879" fmla="*/ 760543 h 1344613"/>
              <a:gd name="connsiteX1880" fmla="*/ 732134 w 1317625"/>
              <a:gd name="connsiteY1880" fmla="*/ 758447 h 1344613"/>
              <a:gd name="connsiteX1881" fmla="*/ 731266 w 1317625"/>
              <a:gd name="connsiteY1881" fmla="*/ 755302 h 1344613"/>
              <a:gd name="connsiteX1882" fmla="*/ 730399 w 1317625"/>
              <a:gd name="connsiteY1882" fmla="*/ 751109 h 1344613"/>
              <a:gd name="connsiteX1883" fmla="*/ 722587 w 1317625"/>
              <a:gd name="connsiteY1883" fmla="*/ 753730 h 1344613"/>
              <a:gd name="connsiteX1884" fmla="*/ 717380 w 1317625"/>
              <a:gd name="connsiteY1884" fmla="*/ 755826 h 1344613"/>
              <a:gd name="connsiteX1885" fmla="*/ 715210 w 1317625"/>
              <a:gd name="connsiteY1885" fmla="*/ 757399 h 1344613"/>
              <a:gd name="connsiteX1886" fmla="*/ 713474 w 1317625"/>
              <a:gd name="connsiteY1886" fmla="*/ 758971 h 1344613"/>
              <a:gd name="connsiteX1887" fmla="*/ 712173 w 1317625"/>
              <a:gd name="connsiteY1887" fmla="*/ 760019 h 1344613"/>
              <a:gd name="connsiteX1888" fmla="*/ 711305 w 1317625"/>
              <a:gd name="connsiteY1888" fmla="*/ 761592 h 1344613"/>
              <a:gd name="connsiteX1889" fmla="*/ 710437 w 1317625"/>
              <a:gd name="connsiteY1889" fmla="*/ 764736 h 1344613"/>
              <a:gd name="connsiteX1890" fmla="*/ 710003 w 1317625"/>
              <a:gd name="connsiteY1890" fmla="*/ 768929 h 1344613"/>
              <a:gd name="connsiteX1891" fmla="*/ 710003 w 1317625"/>
              <a:gd name="connsiteY1891" fmla="*/ 774170 h 1344613"/>
              <a:gd name="connsiteX1892" fmla="*/ 710003 w 1317625"/>
              <a:gd name="connsiteY1892" fmla="*/ 780460 h 1344613"/>
              <a:gd name="connsiteX1893" fmla="*/ 710437 w 1317625"/>
              <a:gd name="connsiteY1893" fmla="*/ 787797 h 1344613"/>
              <a:gd name="connsiteX1894" fmla="*/ 711305 w 1317625"/>
              <a:gd name="connsiteY1894" fmla="*/ 794087 h 1344613"/>
              <a:gd name="connsiteX1895" fmla="*/ 713040 w 1317625"/>
              <a:gd name="connsiteY1895" fmla="*/ 799328 h 1344613"/>
              <a:gd name="connsiteX1896" fmla="*/ 715644 w 1317625"/>
              <a:gd name="connsiteY1896" fmla="*/ 804045 h 1344613"/>
              <a:gd name="connsiteX1897" fmla="*/ 716946 w 1317625"/>
              <a:gd name="connsiteY1897" fmla="*/ 806141 h 1344613"/>
              <a:gd name="connsiteX1898" fmla="*/ 718682 w 1317625"/>
              <a:gd name="connsiteY1898" fmla="*/ 807714 h 1344613"/>
              <a:gd name="connsiteX1899" fmla="*/ 720418 w 1317625"/>
              <a:gd name="connsiteY1899" fmla="*/ 809286 h 1344613"/>
              <a:gd name="connsiteX1900" fmla="*/ 722153 w 1317625"/>
              <a:gd name="connsiteY1900" fmla="*/ 810334 h 1344613"/>
              <a:gd name="connsiteX1901" fmla="*/ 724323 w 1317625"/>
              <a:gd name="connsiteY1901" fmla="*/ 811383 h 1344613"/>
              <a:gd name="connsiteX1902" fmla="*/ 726059 w 1317625"/>
              <a:gd name="connsiteY1902" fmla="*/ 811907 h 1344613"/>
              <a:gd name="connsiteX1903" fmla="*/ 727795 w 1317625"/>
              <a:gd name="connsiteY1903" fmla="*/ 812431 h 1344613"/>
              <a:gd name="connsiteX1904" fmla="*/ 730399 w 1317625"/>
              <a:gd name="connsiteY1904" fmla="*/ 812431 h 1344613"/>
              <a:gd name="connsiteX1905" fmla="*/ 730399 w 1317625"/>
              <a:gd name="connsiteY1905" fmla="*/ 814527 h 1344613"/>
              <a:gd name="connsiteX1906" fmla="*/ 731266 w 1317625"/>
              <a:gd name="connsiteY1906" fmla="*/ 817148 h 1344613"/>
              <a:gd name="connsiteX1907" fmla="*/ 732568 w 1317625"/>
              <a:gd name="connsiteY1907" fmla="*/ 819244 h 1344613"/>
              <a:gd name="connsiteX1908" fmla="*/ 734738 w 1317625"/>
              <a:gd name="connsiteY1908" fmla="*/ 821341 h 1344613"/>
              <a:gd name="connsiteX1909" fmla="*/ 739512 w 1317625"/>
              <a:gd name="connsiteY1909" fmla="*/ 825534 h 1344613"/>
              <a:gd name="connsiteX1910" fmla="*/ 745153 w 1317625"/>
              <a:gd name="connsiteY1910" fmla="*/ 829727 h 1344613"/>
              <a:gd name="connsiteX1911" fmla="*/ 755568 w 1317625"/>
              <a:gd name="connsiteY1911" fmla="*/ 837064 h 1344613"/>
              <a:gd name="connsiteX1912" fmla="*/ 761643 w 1317625"/>
              <a:gd name="connsiteY1912" fmla="*/ 841781 h 1344613"/>
              <a:gd name="connsiteX1913" fmla="*/ 793756 w 1317625"/>
              <a:gd name="connsiteY1913" fmla="*/ 874277 h 1344613"/>
              <a:gd name="connsiteX1914" fmla="*/ 795492 w 1317625"/>
              <a:gd name="connsiteY1914" fmla="*/ 877945 h 1344613"/>
              <a:gd name="connsiteX1915" fmla="*/ 798095 w 1317625"/>
              <a:gd name="connsiteY1915" fmla="*/ 881090 h 1344613"/>
              <a:gd name="connsiteX1916" fmla="*/ 800265 w 1317625"/>
              <a:gd name="connsiteY1916" fmla="*/ 883711 h 1344613"/>
              <a:gd name="connsiteX1917" fmla="*/ 803303 w 1317625"/>
              <a:gd name="connsiteY1917" fmla="*/ 885807 h 1344613"/>
              <a:gd name="connsiteX1918" fmla="*/ 806774 w 1317625"/>
              <a:gd name="connsiteY1918" fmla="*/ 886855 h 1344613"/>
              <a:gd name="connsiteX1919" fmla="*/ 810246 w 1317625"/>
              <a:gd name="connsiteY1919" fmla="*/ 887904 h 1344613"/>
              <a:gd name="connsiteX1920" fmla="*/ 814585 w 1317625"/>
              <a:gd name="connsiteY1920" fmla="*/ 887904 h 1344613"/>
              <a:gd name="connsiteX1921" fmla="*/ 819359 w 1317625"/>
              <a:gd name="connsiteY1921" fmla="*/ 887380 h 1344613"/>
              <a:gd name="connsiteX1922" fmla="*/ 820227 w 1317625"/>
              <a:gd name="connsiteY1922" fmla="*/ 888952 h 1344613"/>
              <a:gd name="connsiteX1923" fmla="*/ 821963 w 1317625"/>
              <a:gd name="connsiteY1923" fmla="*/ 891048 h 1344613"/>
              <a:gd name="connsiteX1924" fmla="*/ 823265 w 1317625"/>
              <a:gd name="connsiteY1924" fmla="*/ 893145 h 1344613"/>
              <a:gd name="connsiteX1925" fmla="*/ 825000 w 1317625"/>
              <a:gd name="connsiteY1925" fmla="*/ 895765 h 1344613"/>
              <a:gd name="connsiteX1926" fmla="*/ 830208 w 1317625"/>
              <a:gd name="connsiteY1926" fmla="*/ 900482 h 1344613"/>
              <a:gd name="connsiteX1927" fmla="*/ 835849 w 1317625"/>
              <a:gd name="connsiteY1927" fmla="*/ 905724 h 1344613"/>
              <a:gd name="connsiteX1928" fmla="*/ 841491 w 1317625"/>
              <a:gd name="connsiteY1928" fmla="*/ 909917 h 1344613"/>
              <a:gd name="connsiteX1929" fmla="*/ 846698 w 1317625"/>
              <a:gd name="connsiteY1929" fmla="*/ 913061 h 1344613"/>
              <a:gd name="connsiteX1930" fmla="*/ 851038 w 1317625"/>
              <a:gd name="connsiteY1930" fmla="*/ 915158 h 1344613"/>
              <a:gd name="connsiteX1931" fmla="*/ 854075 w 1317625"/>
              <a:gd name="connsiteY1931" fmla="*/ 916206 h 1344613"/>
              <a:gd name="connsiteX1932" fmla="*/ 853641 w 1317625"/>
              <a:gd name="connsiteY1932" fmla="*/ 919875 h 1344613"/>
              <a:gd name="connsiteX1933" fmla="*/ 852339 w 1317625"/>
              <a:gd name="connsiteY1933" fmla="*/ 924068 h 1344613"/>
              <a:gd name="connsiteX1934" fmla="*/ 850604 w 1317625"/>
              <a:gd name="connsiteY1934" fmla="*/ 928785 h 1344613"/>
              <a:gd name="connsiteX1935" fmla="*/ 848434 w 1317625"/>
              <a:gd name="connsiteY1935" fmla="*/ 932454 h 1344613"/>
              <a:gd name="connsiteX1936" fmla="*/ 842792 w 1317625"/>
              <a:gd name="connsiteY1936" fmla="*/ 922495 h 1344613"/>
              <a:gd name="connsiteX1937" fmla="*/ 838019 w 1317625"/>
              <a:gd name="connsiteY1937" fmla="*/ 921971 h 1344613"/>
              <a:gd name="connsiteX1938" fmla="*/ 833245 w 1317625"/>
              <a:gd name="connsiteY1938" fmla="*/ 920399 h 1344613"/>
              <a:gd name="connsiteX1939" fmla="*/ 831510 w 1317625"/>
              <a:gd name="connsiteY1939" fmla="*/ 919875 h 1344613"/>
              <a:gd name="connsiteX1940" fmla="*/ 829340 w 1317625"/>
              <a:gd name="connsiteY1940" fmla="*/ 918826 h 1344613"/>
              <a:gd name="connsiteX1941" fmla="*/ 828472 w 1317625"/>
              <a:gd name="connsiteY1941" fmla="*/ 917254 h 1344613"/>
              <a:gd name="connsiteX1942" fmla="*/ 828038 w 1317625"/>
              <a:gd name="connsiteY1942" fmla="*/ 916206 h 1344613"/>
              <a:gd name="connsiteX1943" fmla="*/ 823699 w 1317625"/>
              <a:gd name="connsiteY1943" fmla="*/ 916206 h 1344613"/>
              <a:gd name="connsiteX1944" fmla="*/ 819359 w 1317625"/>
              <a:gd name="connsiteY1944" fmla="*/ 916206 h 1344613"/>
              <a:gd name="connsiteX1945" fmla="*/ 819359 w 1317625"/>
              <a:gd name="connsiteY1945" fmla="*/ 919351 h 1344613"/>
              <a:gd name="connsiteX1946" fmla="*/ 819359 w 1317625"/>
              <a:gd name="connsiteY1946" fmla="*/ 923019 h 1344613"/>
              <a:gd name="connsiteX1947" fmla="*/ 819359 w 1317625"/>
              <a:gd name="connsiteY1947" fmla="*/ 927212 h 1344613"/>
              <a:gd name="connsiteX1948" fmla="*/ 819359 w 1317625"/>
              <a:gd name="connsiteY1948" fmla="*/ 932454 h 1344613"/>
              <a:gd name="connsiteX1949" fmla="*/ 819793 w 1317625"/>
              <a:gd name="connsiteY1949" fmla="*/ 936122 h 1344613"/>
              <a:gd name="connsiteX1950" fmla="*/ 821963 w 1317625"/>
              <a:gd name="connsiteY1950" fmla="*/ 940315 h 1344613"/>
              <a:gd name="connsiteX1951" fmla="*/ 822831 w 1317625"/>
              <a:gd name="connsiteY1951" fmla="*/ 942412 h 1344613"/>
              <a:gd name="connsiteX1952" fmla="*/ 824132 w 1317625"/>
              <a:gd name="connsiteY1952" fmla="*/ 943984 h 1344613"/>
              <a:gd name="connsiteX1953" fmla="*/ 826302 w 1317625"/>
              <a:gd name="connsiteY1953" fmla="*/ 945032 h 1344613"/>
              <a:gd name="connsiteX1954" fmla="*/ 828038 w 1317625"/>
              <a:gd name="connsiteY1954" fmla="*/ 945556 h 1344613"/>
              <a:gd name="connsiteX1955" fmla="*/ 826302 w 1317625"/>
              <a:gd name="connsiteY1955" fmla="*/ 950798 h 1344613"/>
              <a:gd name="connsiteX1956" fmla="*/ 823699 w 1317625"/>
              <a:gd name="connsiteY1956" fmla="*/ 957087 h 1344613"/>
              <a:gd name="connsiteX1957" fmla="*/ 822831 w 1317625"/>
              <a:gd name="connsiteY1957" fmla="*/ 960232 h 1344613"/>
              <a:gd name="connsiteX1958" fmla="*/ 821963 w 1317625"/>
              <a:gd name="connsiteY1958" fmla="*/ 962852 h 1344613"/>
              <a:gd name="connsiteX1959" fmla="*/ 820227 w 1317625"/>
              <a:gd name="connsiteY1959" fmla="*/ 964425 h 1344613"/>
              <a:gd name="connsiteX1960" fmla="*/ 819359 w 1317625"/>
              <a:gd name="connsiteY1960" fmla="*/ 964949 h 1344613"/>
              <a:gd name="connsiteX1961" fmla="*/ 817189 w 1317625"/>
              <a:gd name="connsiteY1961" fmla="*/ 973335 h 1344613"/>
              <a:gd name="connsiteX1962" fmla="*/ 814152 w 1317625"/>
              <a:gd name="connsiteY1962" fmla="*/ 980148 h 1344613"/>
              <a:gd name="connsiteX1963" fmla="*/ 812850 w 1317625"/>
              <a:gd name="connsiteY1963" fmla="*/ 983817 h 1344613"/>
              <a:gd name="connsiteX1964" fmla="*/ 811982 w 1317625"/>
              <a:gd name="connsiteY1964" fmla="*/ 986962 h 1344613"/>
              <a:gd name="connsiteX1965" fmla="*/ 811548 w 1317625"/>
              <a:gd name="connsiteY1965" fmla="*/ 990630 h 1344613"/>
              <a:gd name="connsiteX1966" fmla="*/ 810680 w 1317625"/>
              <a:gd name="connsiteY1966" fmla="*/ 993775 h 1344613"/>
              <a:gd name="connsiteX1967" fmla="*/ 805039 w 1317625"/>
              <a:gd name="connsiteY1967" fmla="*/ 992727 h 1344613"/>
              <a:gd name="connsiteX1968" fmla="*/ 798529 w 1317625"/>
              <a:gd name="connsiteY1968" fmla="*/ 990630 h 1344613"/>
              <a:gd name="connsiteX1969" fmla="*/ 793322 w 1317625"/>
              <a:gd name="connsiteY1969" fmla="*/ 988010 h 1344613"/>
              <a:gd name="connsiteX1970" fmla="*/ 790718 w 1317625"/>
              <a:gd name="connsiteY1970" fmla="*/ 986962 h 1344613"/>
              <a:gd name="connsiteX1971" fmla="*/ 792454 w 1317625"/>
              <a:gd name="connsiteY1971" fmla="*/ 983817 h 1344613"/>
              <a:gd name="connsiteX1972" fmla="*/ 794190 w 1317625"/>
              <a:gd name="connsiteY1972" fmla="*/ 980672 h 1344613"/>
              <a:gd name="connsiteX1973" fmla="*/ 796359 w 1317625"/>
              <a:gd name="connsiteY1973" fmla="*/ 978052 h 1344613"/>
              <a:gd name="connsiteX1974" fmla="*/ 798963 w 1317625"/>
              <a:gd name="connsiteY1974" fmla="*/ 975431 h 1344613"/>
              <a:gd name="connsiteX1975" fmla="*/ 801133 w 1317625"/>
              <a:gd name="connsiteY1975" fmla="*/ 972810 h 1344613"/>
              <a:gd name="connsiteX1976" fmla="*/ 803303 w 1317625"/>
              <a:gd name="connsiteY1976" fmla="*/ 969666 h 1344613"/>
              <a:gd name="connsiteX1977" fmla="*/ 804171 w 1317625"/>
              <a:gd name="connsiteY1977" fmla="*/ 968093 h 1344613"/>
              <a:gd name="connsiteX1978" fmla="*/ 804605 w 1317625"/>
              <a:gd name="connsiteY1978" fmla="*/ 965997 h 1344613"/>
              <a:gd name="connsiteX1979" fmla="*/ 805039 w 1317625"/>
              <a:gd name="connsiteY1979" fmla="*/ 963900 h 1344613"/>
              <a:gd name="connsiteX1980" fmla="*/ 805039 w 1317625"/>
              <a:gd name="connsiteY1980" fmla="*/ 961804 h 1344613"/>
              <a:gd name="connsiteX1981" fmla="*/ 804605 w 1317625"/>
              <a:gd name="connsiteY1981" fmla="*/ 957611 h 1344613"/>
              <a:gd name="connsiteX1982" fmla="*/ 804171 w 1317625"/>
              <a:gd name="connsiteY1982" fmla="*/ 953942 h 1344613"/>
              <a:gd name="connsiteX1983" fmla="*/ 803303 w 1317625"/>
              <a:gd name="connsiteY1983" fmla="*/ 950273 h 1344613"/>
              <a:gd name="connsiteX1984" fmla="*/ 802001 w 1317625"/>
              <a:gd name="connsiteY1984" fmla="*/ 946605 h 1344613"/>
              <a:gd name="connsiteX1985" fmla="*/ 798095 w 1317625"/>
              <a:gd name="connsiteY1985" fmla="*/ 939267 h 1344613"/>
              <a:gd name="connsiteX1986" fmla="*/ 793756 w 1317625"/>
              <a:gd name="connsiteY1986" fmla="*/ 932454 h 1344613"/>
              <a:gd name="connsiteX1987" fmla="*/ 788548 w 1317625"/>
              <a:gd name="connsiteY1987" fmla="*/ 926164 h 1344613"/>
              <a:gd name="connsiteX1988" fmla="*/ 783341 w 1317625"/>
              <a:gd name="connsiteY1988" fmla="*/ 920399 h 1344613"/>
              <a:gd name="connsiteX1989" fmla="*/ 778133 w 1317625"/>
              <a:gd name="connsiteY1989" fmla="*/ 916206 h 1344613"/>
              <a:gd name="connsiteX1990" fmla="*/ 773360 w 1317625"/>
              <a:gd name="connsiteY1990" fmla="*/ 913061 h 1344613"/>
              <a:gd name="connsiteX1991" fmla="*/ 770322 w 1317625"/>
              <a:gd name="connsiteY1991" fmla="*/ 912537 h 1344613"/>
              <a:gd name="connsiteX1992" fmla="*/ 767285 w 1317625"/>
              <a:gd name="connsiteY1992" fmla="*/ 911489 h 1344613"/>
              <a:gd name="connsiteX1993" fmla="*/ 764681 w 1317625"/>
              <a:gd name="connsiteY1993" fmla="*/ 909917 h 1344613"/>
              <a:gd name="connsiteX1994" fmla="*/ 762077 w 1317625"/>
              <a:gd name="connsiteY1994" fmla="*/ 908868 h 1344613"/>
              <a:gd name="connsiteX1995" fmla="*/ 757304 w 1317625"/>
              <a:gd name="connsiteY1995" fmla="*/ 905724 h 1344613"/>
              <a:gd name="connsiteX1996" fmla="*/ 754266 w 1317625"/>
              <a:gd name="connsiteY1996" fmla="*/ 902055 h 1344613"/>
              <a:gd name="connsiteX1997" fmla="*/ 749059 w 1317625"/>
              <a:gd name="connsiteY1997" fmla="*/ 896289 h 1344613"/>
              <a:gd name="connsiteX1998" fmla="*/ 747323 w 1317625"/>
              <a:gd name="connsiteY1998" fmla="*/ 893669 h 1344613"/>
              <a:gd name="connsiteX1999" fmla="*/ 741247 w 1317625"/>
              <a:gd name="connsiteY1999" fmla="*/ 892097 h 1344613"/>
              <a:gd name="connsiteX2000" fmla="*/ 735606 w 1317625"/>
              <a:gd name="connsiteY2000" fmla="*/ 890524 h 1344613"/>
              <a:gd name="connsiteX2001" fmla="*/ 729965 w 1317625"/>
              <a:gd name="connsiteY2001" fmla="*/ 888428 h 1344613"/>
              <a:gd name="connsiteX2002" fmla="*/ 724757 w 1317625"/>
              <a:gd name="connsiteY2002" fmla="*/ 886331 h 1344613"/>
              <a:gd name="connsiteX2003" fmla="*/ 719550 w 1317625"/>
              <a:gd name="connsiteY2003" fmla="*/ 884235 h 1344613"/>
              <a:gd name="connsiteX2004" fmla="*/ 714776 w 1317625"/>
              <a:gd name="connsiteY2004" fmla="*/ 881614 h 1344613"/>
              <a:gd name="connsiteX2005" fmla="*/ 710437 w 1317625"/>
              <a:gd name="connsiteY2005" fmla="*/ 878470 h 1344613"/>
              <a:gd name="connsiteX2006" fmla="*/ 706097 w 1317625"/>
              <a:gd name="connsiteY2006" fmla="*/ 875849 h 1344613"/>
              <a:gd name="connsiteX2007" fmla="*/ 697852 w 1317625"/>
              <a:gd name="connsiteY2007" fmla="*/ 868511 h 1344613"/>
              <a:gd name="connsiteX2008" fmla="*/ 690909 w 1317625"/>
              <a:gd name="connsiteY2008" fmla="*/ 861698 h 1344613"/>
              <a:gd name="connsiteX2009" fmla="*/ 683966 w 1317625"/>
              <a:gd name="connsiteY2009" fmla="*/ 854360 h 1344613"/>
              <a:gd name="connsiteX2010" fmla="*/ 678324 w 1317625"/>
              <a:gd name="connsiteY2010" fmla="*/ 847023 h 1344613"/>
              <a:gd name="connsiteX2011" fmla="*/ 673551 w 1317625"/>
              <a:gd name="connsiteY2011" fmla="*/ 839161 h 1344613"/>
              <a:gd name="connsiteX2012" fmla="*/ 669211 w 1317625"/>
              <a:gd name="connsiteY2012" fmla="*/ 831823 h 1344613"/>
              <a:gd name="connsiteX2013" fmla="*/ 665740 w 1317625"/>
              <a:gd name="connsiteY2013" fmla="*/ 825010 h 1344613"/>
              <a:gd name="connsiteX2014" fmla="*/ 662702 w 1317625"/>
              <a:gd name="connsiteY2014" fmla="*/ 818196 h 1344613"/>
              <a:gd name="connsiteX2015" fmla="*/ 657928 w 1317625"/>
              <a:gd name="connsiteY2015" fmla="*/ 807190 h 1344613"/>
              <a:gd name="connsiteX2016" fmla="*/ 654891 w 1317625"/>
              <a:gd name="connsiteY2016" fmla="*/ 799852 h 1344613"/>
              <a:gd name="connsiteX2017" fmla="*/ 647513 w 1317625"/>
              <a:gd name="connsiteY2017" fmla="*/ 799852 h 1344613"/>
              <a:gd name="connsiteX2018" fmla="*/ 641872 w 1317625"/>
              <a:gd name="connsiteY2018" fmla="*/ 799852 h 1344613"/>
              <a:gd name="connsiteX2019" fmla="*/ 636665 w 1317625"/>
              <a:gd name="connsiteY2019" fmla="*/ 799852 h 1344613"/>
              <a:gd name="connsiteX2020" fmla="*/ 632325 w 1317625"/>
              <a:gd name="connsiteY2020" fmla="*/ 799852 h 1344613"/>
              <a:gd name="connsiteX2021" fmla="*/ 629721 w 1317625"/>
              <a:gd name="connsiteY2021" fmla="*/ 800376 h 1344613"/>
              <a:gd name="connsiteX2022" fmla="*/ 627986 w 1317625"/>
              <a:gd name="connsiteY2022" fmla="*/ 800376 h 1344613"/>
              <a:gd name="connsiteX2023" fmla="*/ 625382 w 1317625"/>
              <a:gd name="connsiteY2023" fmla="*/ 801424 h 1344613"/>
              <a:gd name="connsiteX2024" fmla="*/ 623212 w 1317625"/>
              <a:gd name="connsiteY2024" fmla="*/ 802473 h 1344613"/>
              <a:gd name="connsiteX2025" fmla="*/ 618005 w 1317625"/>
              <a:gd name="connsiteY2025" fmla="*/ 805093 h 1344613"/>
              <a:gd name="connsiteX2026" fmla="*/ 612363 w 1317625"/>
              <a:gd name="connsiteY2026" fmla="*/ 809286 h 1344613"/>
              <a:gd name="connsiteX2027" fmla="*/ 609759 w 1317625"/>
              <a:gd name="connsiteY2027" fmla="*/ 805617 h 1344613"/>
              <a:gd name="connsiteX2028" fmla="*/ 608458 w 1317625"/>
              <a:gd name="connsiteY2028" fmla="*/ 801949 h 1344613"/>
              <a:gd name="connsiteX2029" fmla="*/ 606288 w 1317625"/>
              <a:gd name="connsiteY2029" fmla="*/ 797756 h 1344613"/>
              <a:gd name="connsiteX2030" fmla="*/ 605420 w 1317625"/>
              <a:gd name="connsiteY2030" fmla="*/ 793039 h 1344613"/>
              <a:gd name="connsiteX2031" fmla="*/ 604552 w 1317625"/>
              <a:gd name="connsiteY2031" fmla="*/ 788846 h 1344613"/>
              <a:gd name="connsiteX2032" fmla="*/ 603684 w 1317625"/>
              <a:gd name="connsiteY2032" fmla="*/ 783604 h 1344613"/>
              <a:gd name="connsiteX2033" fmla="*/ 603684 w 1317625"/>
              <a:gd name="connsiteY2033" fmla="*/ 778887 h 1344613"/>
              <a:gd name="connsiteX2034" fmla="*/ 603250 w 1317625"/>
              <a:gd name="connsiteY2034" fmla="*/ 774170 h 1344613"/>
              <a:gd name="connsiteX2035" fmla="*/ 603684 w 1317625"/>
              <a:gd name="connsiteY2035" fmla="*/ 767881 h 1344613"/>
              <a:gd name="connsiteX2036" fmla="*/ 604552 w 1317625"/>
              <a:gd name="connsiteY2036" fmla="*/ 762640 h 1344613"/>
              <a:gd name="connsiteX2037" fmla="*/ 605420 w 1317625"/>
              <a:gd name="connsiteY2037" fmla="*/ 756350 h 1344613"/>
              <a:gd name="connsiteX2038" fmla="*/ 605538 w 1317625"/>
              <a:gd name="connsiteY2038" fmla="*/ 754063 h 1344613"/>
              <a:gd name="connsiteX2039" fmla="*/ 597432 w 1317625"/>
              <a:gd name="connsiteY2039" fmla="*/ 754063 h 1344613"/>
              <a:gd name="connsiteX2040" fmla="*/ 595328 w 1317625"/>
              <a:gd name="connsiteY2040" fmla="*/ 754063 h 1344613"/>
              <a:gd name="connsiteX2041" fmla="*/ 592804 w 1317625"/>
              <a:gd name="connsiteY2041" fmla="*/ 752265 h 1344613"/>
              <a:gd name="connsiteX2042" fmla="*/ 590280 w 1317625"/>
              <a:gd name="connsiteY2042" fmla="*/ 750467 h 1344613"/>
              <a:gd name="connsiteX2043" fmla="*/ 587335 w 1317625"/>
              <a:gd name="connsiteY2043" fmla="*/ 748669 h 1344613"/>
              <a:gd name="connsiteX2044" fmla="*/ 584811 w 1317625"/>
              <a:gd name="connsiteY2044" fmla="*/ 746271 h 1344613"/>
              <a:gd name="connsiteX2045" fmla="*/ 582708 w 1317625"/>
              <a:gd name="connsiteY2045" fmla="*/ 743874 h 1344613"/>
              <a:gd name="connsiteX2046" fmla="*/ 581446 w 1317625"/>
              <a:gd name="connsiteY2046" fmla="*/ 741476 h 1344613"/>
              <a:gd name="connsiteX2047" fmla="*/ 581025 w 1317625"/>
              <a:gd name="connsiteY2047" fmla="*/ 739678 h 1344613"/>
              <a:gd name="connsiteX2048" fmla="*/ 583129 w 1317625"/>
              <a:gd name="connsiteY2048" fmla="*/ 737880 h 1344613"/>
              <a:gd name="connsiteX2049" fmla="*/ 585232 w 1317625"/>
              <a:gd name="connsiteY2049" fmla="*/ 735483 h 1344613"/>
              <a:gd name="connsiteX2050" fmla="*/ 586915 w 1317625"/>
              <a:gd name="connsiteY2050" fmla="*/ 731287 h 1344613"/>
              <a:gd name="connsiteX2051" fmla="*/ 589439 w 1317625"/>
              <a:gd name="connsiteY2051" fmla="*/ 727092 h 1344613"/>
              <a:gd name="connsiteX2052" fmla="*/ 590701 w 1317625"/>
              <a:gd name="connsiteY2052" fmla="*/ 722297 h 1344613"/>
              <a:gd name="connsiteX2053" fmla="*/ 592384 w 1317625"/>
              <a:gd name="connsiteY2053" fmla="*/ 717502 h 1344613"/>
              <a:gd name="connsiteX2054" fmla="*/ 593646 w 1317625"/>
              <a:gd name="connsiteY2054" fmla="*/ 712107 h 1344613"/>
              <a:gd name="connsiteX2055" fmla="*/ 594908 w 1317625"/>
              <a:gd name="connsiteY2055" fmla="*/ 706713 h 1344613"/>
              <a:gd name="connsiteX2056" fmla="*/ 608790 w 1317625"/>
              <a:gd name="connsiteY2056" fmla="*/ 703716 h 1344613"/>
              <a:gd name="connsiteX2057" fmla="*/ 624356 w 1317625"/>
              <a:gd name="connsiteY2057" fmla="*/ 700719 h 1344613"/>
              <a:gd name="connsiteX2058" fmla="*/ 640530 w 1317625"/>
              <a:gd name="connsiteY2058" fmla="*/ 697976 h 1344613"/>
              <a:gd name="connsiteX2059" fmla="*/ 634953 w 1317625"/>
              <a:gd name="connsiteY2059" fmla="*/ 697976 h 1344613"/>
              <a:gd name="connsiteX2060" fmla="*/ 629118 w 1317625"/>
              <a:gd name="connsiteY2060" fmla="*/ 697976 h 1344613"/>
              <a:gd name="connsiteX2061" fmla="*/ 623282 w 1317625"/>
              <a:gd name="connsiteY2061" fmla="*/ 697976 h 1344613"/>
              <a:gd name="connsiteX2062" fmla="*/ 617030 w 1317625"/>
              <a:gd name="connsiteY2062" fmla="*/ 699032 h 1344613"/>
              <a:gd name="connsiteX2063" fmla="*/ 610778 w 1317625"/>
              <a:gd name="connsiteY2063" fmla="*/ 700088 h 1344613"/>
              <a:gd name="connsiteX2064" fmla="*/ 614946 w 1317625"/>
              <a:gd name="connsiteY2064" fmla="*/ 686360 h 1344613"/>
              <a:gd name="connsiteX2065" fmla="*/ 617864 w 1317625"/>
              <a:gd name="connsiteY2065" fmla="*/ 673160 h 1344613"/>
              <a:gd name="connsiteX2066" fmla="*/ 619531 w 1317625"/>
              <a:gd name="connsiteY2066" fmla="*/ 666297 h 1344613"/>
              <a:gd name="connsiteX2067" fmla="*/ 621198 w 1317625"/>
              <a:gd name="connsiteY2067" fmla="*/ 660489 h 1344613"/>
              <a:gd name="connsiteX2068" fmla="*/ 622449 w 1317625"/>
              <a:gd name="connsiteY2068" fmla="*/ 655209 h 1344613"/>
              <a:gd name="connsiteX2069" fmla="*/ 624950 w 1317625"/>
              <a:gd name="connsiteY2069" fmla="*/ 650985 h 1344613"/>
              <a:gd name="connsiteX2070" fmla="*/ 616613 w 1317625"/>
              <a:gd name="connsiteY2070" fmla="*/ 648345 h 1344613"/>
              <a:gd name="connsiteX2071" fmla="*/ 607860 w 1317625"/>
              <a:gd name="connsiteY2071" fmla="*/ 646761 h 1344613"/>
              <a:gd name="connsiteX2072" fmla="*/ 599941 w 1317625"/>
              <a:gd name="connsiteY2072" fmla="*/ 645177 h 1344613"/>
              <a:gd name="connsiteX2073" fmla="*/ 591605 w 1317625"/>
              <a:gd name="connsiteY2073" fmla="*/ 644649 h 1344613"/>
              <a:gd name="connsiteX2074" fmla="*/ 591605 w 1317625"/>
              <a:gd name="connsiteY2074" fmla="*/ 624585 h 1344613"/>
              <a:gd name="connsiteX2075" fmla="*/ 594106 w 1317625"/>
              <a:gd name="connsiteY2075" fmla="*/ 608217 h 1344613"/>
              <a:gd name="connsiteX2076" fmla="*/ 588687 w 1317625"/>
              <a:gd name="connsiteY2076" fmla="*/ 592377 h 1344613"/>
              <a:gd name="connsiteX2077" fmla="*/ 587020 w 1317625"/>
              <a:gd name="connsiteY2077" fmla="*/ 592905 h 1344613"/>
              <a:gd name="connsiteX2078" fmla="*/ 585353 w 1317625"/>
              <a:gd name="connsiteY2078" fmla="*/ 592905 h 1344613"/>
              <a:gd name="connsiteX2079" fmla="*/ 584102 w 1317625"/>
              <a:gd name="connsiteY2079" fmla="*/ 591849 h 1344613"/>
              <a:gd name="connsiteX2080" fmla="*/ 583269 w 1317625"/>
              <a:gd name="connsiteY2080" fmla="*/ 590265 h 1344613"/>
              <a:gd name="connsiteX2081" fmla="*/ 582435 w 1317625"/>
              <a:gd name="connsiteY2081" fmla="*/ 588681 h 1344613"/>
              <a:gd name="connsiteX2082" fmla="*/ 580768 w 1317625"/>
              <a:gd name="connsiteY2082" fmla="*/ 587625 h 1344613"/>
              <a:gd name="connsiteX2083" fmla="*/ 579517 w 1317625"/>
              <a:gd name="connsiteY2083" fmla="*/ 586569 h 1344613"/>
              <a:gd name="connsiteX2084" fmla="*/ 577850 w 1317625"/>
              <a:gd name="connsiteY2084" fmla="*/ 586042 h 1344613"/>
              <a:gd name="connsiteX2085" fmla="*/ 591605 w 1317625"/>
              <a:gd name="connsiteY2085" fmla="*/ 556474 h 1344613"/>
              <a:gd name="connsiteX2086" fmla="*/ 591605 w 1317625"/>
              <a:gd name="connsiteY2086" fmla="*/ 551194 h 1344613"/>
              <a:gd name="connsiteX2087" fmla="*/ 592022 w 1317625"/>
              <a:gd name="connsiteY2087" fmla="*/ 547498 h 1344613"/>
              <a:gd name="connsiteX2088" fmla="*/ 592438 w 1317625"/>
              <a:gd name="connsiteY2088" fmla="*/ 544330 h 1344613"/>
              <a:gd name="connsiteX2089" fmla="*/ 592855 w 1317625"/>
              <a:gd name="connsiteY2089" fmla="*/ 541690 h 1344613"/>
              <a:gd name="connsiteX2090" fmla="*/ 594106 w 1317625"/>
              <a:gd name="connsiteY2090" fmla="*/ 537994 h 1344613"/>
              <a:gd name="connsiteX2091" fmla="*/ 596606 w 1317625"/>
              <a:gd name="connsiteY2091" fmla="*/ 534826 h 1344613"/>
              <a:gd name="connsiteX2092" fmla="*/ 598274 w 1317625"/>
              <a:gd name="connsiteY2092" fmla="*/ 532186 h 1344613"/>
              <a:gd name="connsiteX2093" fmla="*/ 601191 w 1317625"/>
              <a:gd name="connsiteY2093" fmla="*/ 527962 h 1344613"/>
              <a:gd name="connsiteX2094" fmla="*/ 602025 w 1317625"/>
              <a:gd name="connsiteY2094" fmla="*/ 524794 h 1344613"/>
              <a:gd name="connsiteX2095" fmla="*/ 603275 w 1317625"/>
              <a:gd name="connsiteY2095" fmla="*/ 521098 h 1344613"/>
              <a:gd name="connsiteX2096" fmla="*/ 604109 w 1317625"/>
              <a:gd name="connsiteY2096" fmla="*/ 516346 h 1344613"/>
              <a:gd name="connsiteX2097" fmla="*/ 605359 w 1317625"/>
              <a:gd name="connsiteY2097" fmla="*/ 511066 h 1344613"/>
              <a:gd name="connsiteX2098" fmla="*/ 611195 w 1317625"/>
              <a:gd name="connsiteY2098" fmla="*/ 506315 h 1344613"/>
              <a:gd name="connsiteX2099" fmla="*/ 616613 w 1317625"/>
              <a:gd name="connsiteY2099" fmla="*/ 502091 h 1344613"/>
              <a:gd name="connsiteX2100" fmla="*/ 619114 w 1317625"/>
              <a:gd name="connsiteY2100" fmla="*/ 500507 h 1344613"/>
              <a:gd name="connsiteX2101" fmla="*/ 621615 w 1317625"/>
              <a:gd name="connsiteY2101" fmla="*/ 499451 h 1344613"/>
              <a:gd name="connsiteX2102" fmla="*/ 624533 w 1317625"/>
              <a:gd name="connsiteY2102" fmla="*/ 498395 h 1344613"/>
              <a:gd name="connsiteX2103" fmla="*/ 627450 w 1317625"/>
              <a:gd name="connsiteY2103" fmla="*/ 498395 h 1344613"/>
              <a:gd name="connsiteX2104" fmla="*/ 623699 w 1317625"/>
              <a:gd name="connsiteY2104" fmla="*/ 495227 h 1344613"/>
              <a:gd name="connsiteX2105" fmla="*/ 619948 w 1317625"/>
              <a:gd name="connsiteY2105" fmla="*/ 491003 h 1344613"/>
              <a:gd name="connsiteX2106" fmla="*/ 618697 w 1317625"/>
              <a:gd name="connsiteY2106" fmla="*/ 489419 h 1344613"/>
              <a:gd name="connsiteX2107" fmla="*/ 617447 w 1317625"/>
              <a:gd name="connsiteY2107" fmla="*/ 487835 h 1344613"/>
              <a:gd name="connsiteX2108" fmla="*/ 616613 w 1317625"/>
              <a:gd name="connsiteY2108" fmla="*/ 486251 h 1344613"/>
              <a:gd name="connsiteX2109" fmla="*/ 616613 w 1317625"/>
              <a:gd name="connsiteY2109" fmla="*/ 484667 h 1344613"/>
              <a:gd name="connsiteX2110" fmla="*/ 616613 w 1317625"/>
              <a:gd name="connsiteY2110" fmla="*/ 480443 h 1344613"/>
              <a:gd name="connsiteX2111" fmla="*/ 617030 w 1317625"/>
              <a:gd name="connsiteY2111" fmla="*/ 476747 h 1344613"/>
              <a:gd name="connsiteX2112" fmla="*/ 617447 w 1317625"/>
              <a:gd name="connsiteY2112" fmla="*/ 474107 h 1344613"/>
              <a:gd name="connsiteX2113" fmla="*/ 618697 w 1317625"/>
              <a:gd name="connsiteY2113" fmla="*/ 471467 h 1344613"/>
              <a:gd name="connsiteX2114" fmla="*/ 621198 w 1317625"/>
              <a:gd name="connsiteY2114" fmla="*/ 466715 h 1344613"/>
              <a:gd name="connsiteX2115" fmla="*/ 624245 w 1317625"/>
              <a:gd name="connsiteY2115" fmla="*/ 462856 h 1344613"/>
              <a:gd name="connsiteX2116" fmla="*/ 623490 w 1317625"/>
              <a:gd name="connsiteY2116" fmla="*/ 462553 h 1344613"/>
              <a:gd name="connsiteX2117" fmla="*/ 622181 w 1317625"/>
              <a:gd name="connsiteY2117" fmla="*/ 461502 h 1344613"/>
              <a:gd name="connsiteX2118" fmla="*/ 619561 w 1317625"/>
              <a:gd name="connsiteY2118" fmla="*/ 460976 h 1344613"/>
              <a:gd name="connsiteX2119" fmla="*/ 616505 w 1317625"/>
              <a:gd name="connsiteY2119" fmla="*/ 459399 h 1344613"/>
              <a:gd name="connsiteX2120" fmla="*/ 613013 w 1317625"/>
              <a:gd name="connsiteY2120" fmla="*/ 456771 h 1344613"/>
              <a:gd name="connsiteX2121" fmla="*/ 609957 w 1317625"/>
              <a:gd name="connsiteY2121" fmla="*/ 454143 h 1344613"/>
              <a:gd name="connsiteX2122" fmla="*/ 606464 w 1317625"/>
              <a:gd name="connsiteY2122" fmla="*/ 450464 h 1344613"/>
              <a:gd name="connsiteX2123" fmla="*/ 604282 w 1317625"/>
              <a:gd name="connsiteY2123" fmla="*/ 446785 h 1344613"/>
              <a:gd name="connsiteX2124" fmla="*/ 602972 w 1317625"/>
              <a:gd name="connsiteY2124" fmla="*/ 444683 h 1344613"/>
              <a:gd name="connsiteX2125" fmla="*/ 602535 w 1317625"/>
              <a:gd name="connsiteY2125" fmla="*/ 443106 h 1344613"/>
              <a:gd name="connsiteX2126" fmla="*/ 602099 w 1317625"/>
              <a:gd name="connsiteY2126" fmla="*/ 441004 h 1344613"/>
              <a:gd name="connsiteX2127" fmla="*/ 601662 w 1317625"/>
              <a:gd name="connsiteY2127" fmla="*/ 439427 h 1344613"/>
              <a:gd name="connsiteX2128" fmla="*/ 602535 w 1317625"/>
              <a:gd name="connsiteY2128" fmla="*/ 432068 h 1344613"/>
              <a:gd name="connsiteX2129" fmla="*/ 605155 w 1317625"/>
              <a:gd name="connsiteY2129" fmla="*/ 422608 h 1344613"/>
              <a:gd name="connsiteX2130" fmla="*/ 607774 w 1317625"/>
              <a:gd name="connsiteY2130" fmla="*/ 412096 h 1344613"/>
              <a:gd name="connsiteX2131" fmla="*/ 610393 w 1317625"/>
              <a:gd name="connsiteY2131" fmla="*/ 403161 h 1344613"/>
              <a:gd name="connsiteX2132" fmla="*/ 615632 w 1317625"/>
              <a:gd name="connsiteY2132" fmla="*/ 402635 h 1344613"/>
              <a:gd name="connsiteX2133" fmla="*/ 619998 w 1317625"/>
              <a:gd name="connsiteY2133" fmla="*/ 402110 h 1344613"/>
              <a:gd name="connsiteX2134" fmla="*/ 623927 w 1317625"/>
              <a:gd name="connsiteY2134" fmla="*/ 401058 h 1344613"/>
              <a:gd name="connsiteX2135" fmla="*/ 626983 w 1317625"/>
              <a:gd name="connsiteY2135" fmla="*/ 399482 h 1344613"/>
              <a:gd name="connsiteX2136" fmla="*/ 632222 w 1317625"/>
              <a:gd name="connsiteY2136" fmla="*/ 396328 h 1344613"/>
              <a:gd name="connsiteX2137" fmla="*/ 636588 w 1317625"/>
              <a:gd name="connsiteY2137" fmla="*/ 393700 h 1344613"/>
              <a:gd name="connsiteX2138" fmla="*/ 638770 w 1317625"/>
              <a:gd name="connsiteY2138" fmla="*/ 394751 h 1344613"/>
              <a:gd name="connsiteX2139" fmla="*/ 642263 w 1317625"/>
              <a:gd name="connsiteY2139" fmla="*/ 397379 h 1344613"/>
              <a:gd name="connsiteX2140" fmla="*/ 644446 w 1317625"/>
              <a:gd name="connsiteY2140" fmla="*/ 398956 h 1344613"/>
              <a:gd name="connsiteX2141" fmla="*/ 646192 w 1317625"/>
              <a:gd name="connsiteY2141" fmla="*/ 400533 h 1344613"/>
              <a:gd name="connsiteX2142" fmla="*/ 647938 w 1317625"/>
              <a:gd name="connsiteY2142" fmla="*/ 402110 h 1344613"/>
              <a:gd name="connsiteX2143" fmla="*/ 648375 w 1317625"/>
              <a:gd name="connsiteY2143" fmla="*/ 403161 h 1344613"/>
              <a:gd name="connsiteX2144" fmla="*/ 645319 w 1317625"/>
              <a:gd name="connsiteY2144" fmla="*/ 408417 h 1344613"/>
              <a:gd name="connsiteX2145" fmla="*/ 642263 w 1317625"/>
              <a:gd name="connsiteY2145" fmla="*/ 413147 h 1344613"/>
              <a:gd name="connsiteX2146" fmla="*/ 643136 w 1317625"/>
              <a:gd name="connsiteY2146" fmla="*/ 415775 h 1344613"/>
              <a:gd name="connsiteX2147" fmla="*/ 644446 w 1317625"/>
              <a:gd name="connsiteY2147" fmla="*/ 419454 h 1344613"/>
              <a:gd name="connsiteX2148" fmla="*/ 646192 w 1317625"/>
              <a:gd name="connsiteY2148" fmla="*/ 423133 h 1344613"/>
              <a:gd name="connsiteX2149" fmla="*/ 648375 w 1317625"/>
              <a:gd name="connsiteY2149" fmla="*/ 426813 h 1344613"/>
              <a:gd name="connsiteX2150" fmla="*/ 651867 w 1317625"/>
              <a:gd name="connsiteY2150" fmla="*/ 433120 h 1344613"/>
              <a:gd name="connsiteX2151" fmla="*/ 654050 w 1317625"/>
              <a:gd name="connsiteY2151" fmla="*/ 435222 h 1344613"/>
              <a:gd name="connsiteX2152" fmla="*/ 650994 w 1317625"/>
              <a:gd name="connsiteY2152" fmla="*/ 436273 h 1344613"/>
              <a:gd name="connsiteX2153" fmla="*/ 648375 w 1317625"/>
              <a:gd name="connsiteY2153" fmla="*/ 437850 h 1344613"/>
              <a:gd name="connsiteX2154" fmla="*/ 645319 w 1317625"/>
              <a:gd name="connsiteY2154" fmla="*/ 439427 h 1344613"/>
              <a:gd name="connsiteX2155" fmla="*/ 643573 w 1317625"/>
              <a:gd name="connsiteY2155" fmla="*/ 441529 h 1344613"/>
              <a:gd name="connsiteX2156" fmla="*/ 640953 w 1317625"/>
              <a:gd name="connsiteY2156" fmla="*/ 443632 h 1344613"/>
              <a:gd name="connsiteX2157" fmla="*/ 639644 w 1317625"/>
              <a:gd name="connsiteY2157" fmla="*/ 445734 h 1344613"/>
              <a:gd name="connsiteX2158" fmla="*/ 637461 w 1317625"/>
              <a:gd name="connsiteY2158" fmla="*/ 448362 h 1344613"/>
              <a:gd name="connsiteX2159" fmla="*/ 636588 w 1317625"/>
              <a:gd name="connsiteY2159" fmla="*/ 450990 h 1344613"/>
              <a:gd name="connsiteX2160" fmla="*/ 636213 w 1317625"/>
              <a:gd name="connsiteY2160" fmla="*/ 452116 h 1344613"/>
              <a:gd name="connsiteX2161" fmla="*/ 638175 w 1317625"/>
              <a:gd name="connsiteY2161" fmla="*/ 450879 h 1344613"/>
              <a:gd name="connsiteX2162" fmla="*/ 641562 w 1317625"/>
              <a:gd name="connsiteY2162" fmla="*/ 448743 h 1344613"/>
              <a:gd name="connsiteX2163" fmla="*/ 645795 w 1317625"/>
              <a:gd name="connsiteY2163" fmla="*/ 447675 h 1344613"/>
              <a:gd name="connsiteX2164" fmla="*/ 646219 w 1317625"/>
              <a:gd name="connsiteY2164" fmla="*/ 454083 h 1344613"/>
              <a:gd name="connsiteX2165" fmla="*/ 646642 w 1317625"/>
              <a:gd name="connsiteY2165" fmla="*/ 460491 h 1344613"/>
              <a:gd name="connsiteX2166" fmla="*/ 648335 w 1317625"/>
              <a:gd name="connsiteY2166" fmla="*/ 465830 h 1344613"/>
              <a:gd name="connsiteX2167" fmla="*/ 649605 w 1317625"/>
              <a:gd name="connsiteY2167" fmla="*/ 471170 h 1344613"/>
              <a:gd name="connsiteX2168" fmla="*/ 652920 w 1317625"/>
              <a:gd name="connsiteY2168" fmla="*/ 483716 h 1344613"/>
              <a:gd name="connsiteX2169" fmla="*/ 657044 w 1317625"/>
              <a:gd name="connsiteY2169" fmla="*/ 487307 h 1344613"/>
              <a:gd name="connsiteX2170" fmla="*/ 663296 w 1317625"/>
              <a:gd name="connsiteY2170" fmla="*/ 492587 h 1344613"/>
              <a:gd name="connsiteX2171" fmla="*/ 668051 w 1317625"/>
              <a:gd name="connsiteY2171" fmla="*/ 496602 h 1344613"/>
              <a:gd name="connsiteX2172" fmla="*/ 666334 w 1317625"/>
              <a:gd name="connsiteY2172" fmla="*/ 492434 h 1344613"/>
              <a:gd name="connsiteX2173" fmla="*/ 663367 w 1317625"/>
              <a:gd name="connsiteY2173" fmla="*/ 480729 h 1344613"/>
              <a:gd name="connsiteX2174" fmla="*/ 661884 w 1317625"/>
              <a:gd name="connsiteY2174" fmla="*/ 475326 h 1344613"/>
              <a:gd name="connsiteX2175" fmla="*/ 661389 w 1317625"/>
              <a:gd name="connsiteY2175" fmla="*/ 469924 h 1344613"/>
              <a:gd name="connsiteX2176" fmla="*/ 660895 w 1317625"/>
              <a:gd name="connsiteY2176" fmla="*/ 464522 h 1344613"/>
              <a:gd name="connsiteX2177" fmla="*/ 660400 w 1317625"/>
              <a:gd name="connsiteY2177" fmla="*/ 459120 h 1344613"/>
              <a:gd name="connsiteX2178" fmla="*/ 660400 w 1317625"/>
              <a:gd name="connsiteY2178" fmla="*/ 451016 h 1344613"/>
              <a:gd name="connsiteX2179" fmla="*/ 660400 w 1317625"/>
              <a:gd name="connsiteY2179" fmla="*/ 442913 h 1344613"/>
              <a:gd name="connsiteX2180" fmla="*/ 663367 w 1317625"/>
              <a:gd name="connsiteY2180" fmla="*/ 444714 h 1344613"/>
              <a:gd name="connsiteX2181" fmla="*/ 665345 w 1317625"/>
              <a:gd name="connsiteY2181" fmla="*/ 445614 h 1344613"/>
              <a:gd name="connsiteX2182" fmla="*/ 666828 w 1317625"/>
              <a:gd name="connsiteY2182" fmla="*/ 446515 h 1344613"/>
              <a:gd name="connsiteX2183" fmla="*/ 669301 w 1317625"/>
              <a:gd name="connsiteY2183" fmla="*/ 446515 h 1344613"/>
              <a:gd name="connsiteX2184" fmla="*/ 674245 w 1317625"/>
              <a:gd name="connsiteY2184" fmla="*/ 445614 h 1344613"/>
              <a:gd name="connsiteX2185" fmla="*/ 680673 w 1317625"/>
              <a:gd name="connsiteY2185" fmla="*/ 442913 h 1344613"/>
              <a:gd name="connsiteX2186" fmla="*/ 686607 w 1317625"/>
              <a:gd name="connsiteY2186" fmla="*/ 455518 h 1344613"/>
              <a:gd name="connsiteX2187" fmla="*/ 690562 w 1317625"/>
              <a:gd name="connsiteY2187" fmla="*/ 464522 h 1344613"/>
              <a:gd name="connsiteX2188" fmla="*/ 689573 w 1317625"/>
              <a:gd name="connsiteY2188" fmla="*/ 471725 h 1344613"/>
              <a:gd name="connsiteX2189" fmla="*/ 688584 w 1317625"/>
              <a:gd name="connsiteY2189" fmla="*/ 478928 h 1344613"/>
              <a:gd name="connsiteX2190" fmla="*/ 686607 w 1317625"/>
              <a:gd name="connsiteY2190" fmla="*/ 485231 h 1344613"/>
              <a:gd name="connsiteX2191" fmla="*/ 684134 w 1317625"/>
              <a:gd name="connsiteY2191" fmla="*/ 490633 h 1344613"/>
              <a:gd name="connsiteX2192" fmla="*/ 683320 w 1317625"/>
              <a:gd name="connsiteY2192" fmla="*/ 491868 h 1344613"/>
              <a:gd name="connsiteX2193" fmla="*/ 686220 w 1317625"/>
              <a:gd name="connsiteY2193" fmla="*/ 489419 h 1344613"/>
              <a:gd name="connsiteX2194" fmla="*/ 689555 w 1317625"/>
              <a:gd name="connsiteY2194" fmla="*/ 486779 h 1344613"/>
              <a:gd name="connsiteX2195" fmla="*/ 692889 w 1317625"/>
              <a:gd name="connsiteY2195" fmla="*/ 484139 h 1344613"/>
              <a:gd name="connsiteX2196" fmla="*/ 695390 w 1317625"/>
              <a:gd name="connsiteY2196" fmla="*/ 483083 h 1344613"/>
              <a:gd name="connsiteX2197" fmla="*/ 697474 w 1317625"/>
              <a:gd name="connsiteY2197" fmla="*/ 482555 h 1344613"/>
              <a:gd name="connsiteX2198" fmla="*/ 699975 w 1317625"/>
              <a:gd name="connsiteY2198" fmla="*/ 482027 h 1344613"/>
              <a:gd name="connsiteX2199" fmla="*/ 702059 w 1317625"/>
              <a:gd name="connsiteY2199" fmla="*/ 481499 h 1344613"/>
              <a:gd name="connsiteX2200" fmla="*/ 705810 w 1317625"/>
              <a:gd name="connsiteY2200" fmla="*/ 482027 h 1344613"/>
              <a:gd name="connsiteX2201" fmla="*/ 708728 w 1317625"/>
              <a:gd name="connsiteY2201" fmla="*/ 482027 h 1344613"/>
              <a:gd name="connsiteX2202" fmla="*/ 711229 w 1317625"/>
              <a:gd name="connsiteY2202" fmla="*/ 483083 h 1344613"/>
              <a:gd name="connsiteX2203" fmla="*/ 713730 w 1317625"/>
              <a:gd name="connsiteY2203" fmla="*/ 483611 h 1344613"/>
              <a:gd name="connsiteX2204" fmla="*/ 717481 w 1317625"/>
              <a:gd name="connsiteY2204" fmla="*/ 485723 h 1344613"/>
              <a:gd name="connsiteX2205" fmla="*/ 720399 w 1317625"/>
              <a:gd name="connsiteY2205" fmla="*/ 487835 h 1344613"/>
              <a:gd name="connsiteX2206" fmla="*/ 723316 w 1317625"/>
              <a:gd name="connsiteY2206" fmla="*/ 490475 h 1344613"/>
              <a:gd name="connsiteX2207" fmla="*/ 726234 w 1317625"/>
              <a:gd name="connsiteY2207" fmla="*/ 492587 h 1344613"/>
              <a:gd name="connsiteX2208" fmla="*/ 727484 w 1317625"/>
              <a:gd name="connsiteY2208" fmla="*/ 493643 h 1344613"/>
              <a:gd name="connsiteX2209" fmla="*/ 729152 w 1317625"/>
              <a:gd name="connsiteY2209" fmla="*/ 494171 h 1344613"/>
              <a:gd name="connsiteX2210" fmla="*/ 730819 w 1317625"/>
              <a:gd name="connsiteY2210" fmla="*/ 494699 h 1344613"/>
              <a:gd name="connsiteX2211" fmla="*/ 732903 w 1317625"/>
              <a:gd name="connsiteY2211" fmla="*/ 494699 h 1344613"/>
              <a:gd name="connsiteX2212" fmla="*/ 736237 w 1317625"/>
              <a:gd name="connsiteY2212" fmla="*/ 501035 h 1344613"/>
              <a:gd name="connsiteX2213" fmla="*/ 739155 w 1317625"/>
              <a:gd name="connsiteY2213" fmla="*/ 506842 h 1344613"/>
              <a:gd name="connsiteX2214" fmla="*/ 741656 w 1317625"/>
              <a:gd name="connsiteY2214" fmla="*/ 512122 h 1344613"/>
              <a:gd name="connsiteX2215" fmla="*/ 743740 w 1317625"/>
              <a:gd name="connsiteY2215" fmla="*/ 517930 h 1344613"/>
              <a:gd name="connsiteX2216" fmla="*/ 747908 w 1317625"/>
              <a:gd name="connsiteY2216" fmla="*/ 529546 h 1344613"/>
              <a:gd name="connsiteX2217" fmla="*/ 750826 w 1317625"/>
              <a:gd name="connsiteY2217" fmla="*/ 540106 h 1344613"/>
              <a:gd name="connsiteX2218" fmla="*/ 752910 w 1317625"/>
              <a:gd name="connsiteY2218" fmla="*/ 551194 h 1344613"/>
              <a:gd name="connsiteX2219" fmla="*/ 755411 w 1317625"/>
              <a:gd name="connsiteY2219" fmla="*/ 562282 h 1344613"/>
              <a:gd name="connsiteX2220" fmla="*/ 757495 w 1317625"/>
              <a:gd name="connsiteY2220" fmla="*/ 573898 h 1344613"/>
              <a:gd name="connsiteX2221" fmla="*/ 760412 w 1317625"/>
              <a:gd name="connsiteY2221" fmla="*/ 586042 h 1344613"/>
              <a:gd name="connsiteX2222" fmla="*/ 755827 w 1317625"/>
              <a:gd name="connsiteY2222" fmla="*/ 586569 h 1344613"/>
              <a:gd name="connsiteX2223" fmla="*/ 751242 w 1317625"/>
              <a:gd name="connsiteY2223" fmla="*/ 587097 h 1344613"/>
              <a:gd name="connsiteX2224" fmla="*/ 747491 w 1317625"/>
              <a:gd name="connsiteY2224" fmla="*/ 588681 h 1344613"/>
              <a:gd name="connsiteX2225" fmla="*/ 743740 w 1317625"/>
              <a:gd name="connsiteY2225" fmla="*/ 590265 h 1344613"/>
              <a:gd name="connsiteX2226" fmla="*/ 737488 w 1317625"/>
              <a:gd name="connsiteY2226" fmla="*/ 594489 h 1344613"/>
              <a:gd name="connsiteX2227" fmla="*/ 731652 w 1317625"/>
              <a:gd name="connsiteY2227" fmla="*/ 599241 h 1344613"/>
              <a:gd name="connsiteX2228" fmla="*/ 728735 w 1317625"/>
              <a:gd name="connsiteY2228" fmla="*/ 601353 h 1344613"/>
              <a:gd name="connsiteX2229" fmla="*/ 725400 w 1317625"/>
              <a:gd name="connsiteY2229" fmla="*/ 603465 h 1344613"/>
              <a:gd name="connsiteX2230" fmla="*/ 722066 w 1317625"/>
              <a:gd name="connsiteY2230" fmla="*/ 605049 h 1344613"/>
              <a:gd name="connsiteX2231" fmla="*/ 717898 w 1317625"/>
              <a:gd name="connsiteY2231" fmla="*/ 606105 h 1344613"/>
              <a:gd name="connsiteX2232" fmla="*/ 713730 w 1317625"/>
              <a:gd name="connsiteY2232" fmla="*/ 607161 h 1344613"/>
              <a:gd name="connsiteX2233" fmla="*/ 708728 w 1317625"/>
              <a:gd name="connsiteY2233" fmla="*/ 607161 h 1344613"/>
              <a:gd name="connsiteX2234" fmla="*/ 703310 w 1317625"/>
              <a:gd name="connsiteY2234" fmla="*/ 606633 h 1344613"/>
              <a:gd name="connsiteX2235" fmla="*/ 696641 w 1317625"/>
              <a:gd name="connsiteY2235" fmla="*/ 605049 h 1344613"/>
              <a:gd name="connsiteX2236" fmla="*/ 698758 w 1317625"/>
              <a:gd name="connsiteY2236" fmla="*/ 606838 h 1344613"/>
              <a:gd name="connsiteX2237" fmla="*/ 704016 w 1317625"/>
              <a:gd name="connsiteY2237" fmla="*/ 608013 h 1344613"/>
              <a:gd name="connsiteX2238" fmla="*/ 709788 w 1317625"/>
              <a:gd name="connsiteY2238" fmla="*/ 608542 h 1344613"/>
              <a:gd name="connsiteX2239" fmla="*/ 715116 w 1317625"/>
              <a:gd name="connsiteY2239" fmla="*/ 608542 h 1344613"/>
              <a:gd name="connsiteX2240" fmla="*/ 720000 w 1317625"/>
              <a:gd name="connsiteY2240" fmla="*/ 607484 h 1344613"/>
              <a:gd name="connsiteX2241" fmla="*/ 724440 w 1317625"/>
              <a:gd name="connsiteY2241" fmla="*/ 606425 h 1344613"/>
              <a:gd name="connsiteX2242" fmla="*/ 728880 w 1317625"/>
              <a:gd name="connsiteY2242" fmla="*/ 604838 h 1344613"/>
              <a:gd name="connsiteX2243" fmla="*/ 731988 w 1317625"/>
              <a:gd name="connsiteY2243" fmla="*/ 602721 h 1344613"/>
              <a:gd name="connsiteX2244" fmla="*/ 735540 w 1317625"/>
              <a:gd name="connsiteY2244" fmla="*/ 600604 h 1344613"/>
              <a:gd name="connsiteX2245" fmla="*/ 742200 w 1317625"/>
              <a:gd name="connsiteY2245" fmla="*/ 595842 h 1344613"/>
              <a:gd name="connsiteX2246" fmla="*/ 749748 w 1317625"/>
              <a:gd name="connsiteY2246" fmla="*/ 591608 h 1344613"/>
              <a:gd name="connsiteX2247" fmla="*/ 753744 w 1317625"/>
              <a:gd name="connsiteY2247" fmla="*/ 590021 h 1344613"/>
              <a:gd name="connsiteX2248" fmla="*/ 758184 w 1317625"/>
              <a:gd name="connsiteY2248" fmla="*/ 588433 h 1344613"/>
              <a:gd name="connsiteX2249" fmla="*/ 763068 w 1317625"/>
              <a:gd name="connsiteY2249" fmla="*/ 587904 h 1344613"/>
              <a:gd name="connsiteX2250" fmla="*/ 766543 w 1317625"/>
              <a:gd name="connsiteY2250" fmla="*/ 587490 h 1344613"/>
              <a:gd name="connsiteX2251" fmla="*/ 765279 w 1317625"/>
              <a:gd name="connsiteY2251" fmla="*/ 576357 h 1344613"/>
              <a:gd name="connsiteX2252" fmla="*/ 763094 w 1317625"/>
              <a:gd name="connsiteY2252" fmla="*/ 566392 h 1344613"/>
              <a:gd name="connsiteX2253" fmla="*/ 760909 w 1317625"/>
              <a:gd name="connsiteY2253" fmla="*/ 556951 h 1344613"/>
              <a:gd name="connsiteX2254" fmla="*/ 758724 w 1317625"/>
              <a:gd name="connsiteY2254" fmla="*/ 548035 h 1344613"/>
              <a:gd name="connsiteX2255" fmla="*/ 753918 w 1317625"/>
              <a:gd name="connsiteY2255" fmla="*/ 533349 h 1344613"/>
              <a:gd name="connsiteX2256" fmla="*/ 749111 w 1317625"/>
              <a:gd name="connsiteY2256" fmla="*/ 520761 h 1344613"/>
              <a:gd name="connsiteX2257" fmla="*/ 744742 w 1317625"/>
              <a:gd name="connsiteY2257" fmla="*/ 511845 h 1344613"/>
              <a:gd name="connsiteX2258" fmla="*/ 741246 w 1317625"/>
              <a:gd name="connsiteY2258" fmla="*/ 505551 h 1344613"/>
              <a:gd name="connsiteX2259" fmla="*/ 739061 w 1317625"/>
              <a:gd name="connsiteY2259" fmla="*/ 501880 h 1344613"/>
              <a:gd name="connsiteX2260" fmla="*/ 738187 w 1317625"/>
              <a:gd name="connsiteY2260" fmla="*/ 500831 h 1344613"/>
              <a:gd name="connsiteX2261" fmla="*/ 740372 w 1317625"/>
              <a:gd name="connsiteY2261" fmla="*/ 500307 h 1344613"/>
              <a:gd name="connsiteX2262" fmla="*/ 741683 w 1317625"/>
              <a:gd name="connsiteY2262" fmla="*/ 499258 h 1344613"/>
              <a:gd name="connsiteX2263" fmla="*/ 742994 w 1317625"/>
              <a:gd name="connsiteY2263" fmla="*/ 497684 h 1344613"/>
              <a:gd name="connsiteX2264" fmla="*/ 742994 w 1317625"/>
              <a:gd name="connsiteY2264" fmla="*/ 495062 h 1344613"/>
              <a:gd name="connsiteX2265" fmla="*/ 742994 w 1317625"/>
              <a:gd name="connsiteY2265" fmla="*/ 493488 h 1344613"/>
              <a:gd name="connsiteX2266" fmla="*/ 742994 w 1317625"/>
              <a:gd name="connsiteY2266" fmla="*/ 491915 h 1344613"/>
              <a:gd name="connsiteX2267" fmla="*/ 742994 w 1317625"/>
              <a:gd name="connsiteY2267" fmla="*/ 490866 h 1344613"/>
              <a:gd name="connsiteX2268" fmla="*/ 743868 w 1317625"/>
              <a:gd name="connsiteY2268" fmla="*/ 490341 h 1344613"/>
              <a:gd name="connsiteX2269" fmla="*/ 753044 w 1317625"/>
              <a:gd name="connsiteY2269" fmla="*/ 486146 h 1344613"/>
              <a:gd name="connsiteX2270" fmla="*/ 762220 w 1317625"/>
              <a:gd name="connsiteY2270" fmla="*/ 482474 h 1344613"/>
              <a:gd name="connsiteX2271" fmla="*/ 770085 w 1317625"/>
              <a:gd name="connsiteY2271" fmla="*/ 479852 h 1344613"/>
              <a:gd name="connsiteX2272" fmla="*/ 778387 w 1317625"/>
              <a:gd name="connsiteY2272" fmla="*/ 477229 h 1344613"/>
              <a:gd name="connsiteX2273" fmla="*/ 794118 w 1317625"/>
              <a:gd name="connsiteY2273" fmla="*/ 472509 h 1344613"/>
              <a:gd name="connsiteX2274" fmla="*/ 810285 w 1317625"/>
              <a:gd name="connsiteY2274" fmla="*/ 468313 h 1344613"/>
              <a:gd name="connsiteX2275" fmla="*/ 813781 w 1317625"/>
              <a:gd name="connsiteY2275" fmla="*/ 474082 h 1344613"/>
              <a:gd name="connsiteX2276" fmla="*/ 818150 w 1317625"/>
              <a:gd name="connsiteY2276" fmla="*/ 480376 h 1344613"/>
              <a:gd name="connsiteX2277" fmla="*/ 820335 w 1317625"/>
              <a:gd name="connsiteY2277" fmla="*/ 482999 h 1344613"/>
              <a:gd name="connsiteX2278" fmla="*/ 822957 w 1317625"/>
              <a:gd name="connsiteY2278" fmla="*/ 485097 h 1344613"/>
              <a:gd name="connsiteX2279" fmla="*/ 826015 w 1317625"/>
              <a:gd name="connsiteY2279" fmla="*/ 486670 h 1344613"/>
              <a:gd name="connsiteX2280" fmla="*/ 827763 w 1317625"/>
              <a:gd name="connsiteY2280" fmla="*/ 487194 h 1344613"/>
              <a:gd name="connsiteX2281" fmla="*/ 833881 w 1317625"/>
              <a:gd name="connsiteY2281" fmla="*/ 487194 h 1344613"/>
              <a:gd name="connsiteX2282" fmla="*/ 838687 w 1317625"/>
              <a:gd name="connsiteY2282" fmla="*/ 487194 h 1344613"/>
              <a:gd name="connsiteX2283" fmla="*/ 842620 w 1317625"/>
              <a:gd name="connsiteY2283" fmla="*/ 487194 h 1344613"/>
              <a:gd name="connsiteX2284" fmla="*/ 845679 w 1317625"/>
              <a:gd name="connsiteY2284" fmla="*/ 487194 h 1344613"/>
              <a:gd name="connsiteX2285" fmla="*/ 851359 w 1317625"/>
              <a:gd name="connsiteY2285" fmla="*/ 480901 h 1344613"/>
              <a:gd name="connsiteX2286" fmla="*/ 854072 w 1317625"/>
              <a:gd name="connsiteY2286" fmla="*/ 483907 h 1344613"/>
              <a:gd name="connsiteX2287" fmla="*/ 854075 w 1317625"/>
              <a:gd name="connsiteY2287" fmla="*/ 483899 h 1344613"/>
              <a:gd name="connsiteX2288" fmla="*/ 856932 w 1317625"/>
              <a:gd name="connsiteY2288" fmla="*/ 476423 h 1344613"/>
              <a:gd name="connsiteX2289" fmla="*/ 862171 w 1317625"/>
              <a:gd name="connsiteY2289" fmla="*/ 462540 h 1344613"/>
              <a:gd name="connsiteX2290" fmla="*/ 865028 w 1317625"/>
              <a:gd name="connsiteY2290" fmla="*/ 457200 h 1344613"/>
              <a:gd name="connsiteX2291" fmla="*/ 895797 w 1317625"/>
              <a:gd name="connsiteY2291" fmla="*/ 469558 h 1344613"/>
              <a:gd name="connsiteX2292" fmla="*/ 894851 w 1317625"/>
              <a:gd name="connsiteY2292" fmla="*/ 465537 h 1344613"/>
              <a:gd name="connsiteX2293" fmla="*/ 863600 w 1317625"/>
              <a:gd name="connsiteY2293" fmla="*/ 455766 h 1344613"/>
              <a:gd name="connsiteX2294" fmla="*/ 865290 w 1317625"/>
              <a:gd name="connsiteY2294" fmla="*/ 455224 h 1344613"/>
              <a:gd name="connsiteX2295" fmla="*/ 867401 w 1317625"/>
              <a:gd name="connsiteY2295" fmla="*/ 454681 h 1344613"/>
              <a:gd name="connsiteX2296" fmla="*/ 868668 w 1317625"/>
              <a:gd name="connsiteY2296" fmla="*/ 453052 h 1344613"/>
              <a:gd name="connsiteX2297" fmla="*/ 869935 w 1317625"/>
              <a:gd name="connsiteY2297" fmla="*/ 451424 h 1344613"/>
              <a:gd name="connsiteX2298" fmla="*/ 871202 w 1317625"/>
              <a:gd name="connsiteY2298" fmla="*/ 449795 h 1344613"/>
              <a:gd name="connsiteX2299" fmla="*/ 871624 w 1317625"/>
              <a:gd name="connsiteY2299" fmla="*/ 447624 h 1344613"/>
              <a:gd name="connsiteX2300" fmla="*/ 872047 w 1317625"/>
              <a:gd name="connsiteY2300" fmla="*/ 444910 h 1344613"/>
              <a:gd name="connsiteX2301" fmla="*/ 872047 w 1317625"/>
              <a:gd name="connsiteY2301" fmla="*/ 442739 h 1344613"/>
              <a:gd name="connsiteX2302" fmla="*/ 872047 w 1317625"/>
              <a:gd name="connsiteY2302" fmla="*/ 440567 h 1344613"/>
              <a:gd name="connsiteX2303" fmla="*/ 871624 w 1317625"/>
              <a:gd name="connsiteY2303" fmla="*/ 439482 h 1344613"/>
              <a:gd name="connsiteX2304" fmla="*/ 871202 w 1317625"/>
              <a:gd name="connsiteY2304" fmla="*/ 439482 h 1344613"/>
              <a:gd name="connsiteX2305" fmla="*/ 869935 w 1317625"/>
              <a:gd name="connsiteY2305" fmla="*/ 439482 h 1344613"/>
              <a:gd name="connsiteX2306" fmla="*/ 869090 w 1317625"/>
              <a:gd name="connsiteY2306" fmla="*/ 438939 h 1344613"/>
              <a:gd name="connsiteX2307" fmla="*/ 868246 w 1317625"/>
              <a:gd name="connsiteY2307" fmla="*/ 438939 h 1344613"/>
              <a:gd name="connsiteX2308" fmla="*/ 867401 w 1317625"/>
              <a:gd name="connsiteY2308" fmla="*/ 437853 h 1344613"/>
              <a:gd name="connsiteX2309" fmla="*/ 866556 w 1317625"/>
              <a:gd name="connsiteY2309" fmla="*/ 435139 h 1344613"/>
              <a:gd name="connsiteX2310" fmla="*/ 871202 w 1317625"/>
              <a:gd name="connsiteY2310" fmla="*/ 434053 h 1344613"/>
              <a:gd name="connsiteX2311" fmla="*/ 877959 w 1317625"/>
              <a:gd name="connsiteY2311" fmla="*/ 432968 h 1344613"/>
              <a:gd name="connsiteX2312" fmla="*/ 885983 w 1317625"/>
              <a:gd name="connsiteY2312" fmla="*/ 431882 h 1344613"/>
              <a:gd name="connsiteX2313" fmla="*/ 894851 w 1317625"/>
              <a:gd name="connsiteY2313" fmla="*/ 430796 h 1344613"/>
              <a:gd name="connsiteX2314" fmla="*/ 910055 w 1317625"/>
              <a:gd name="connsiteY2314" fmla="*/ 429168 h 1344613"/>
              <a:gd name="connsiteX2315" fmla="*/ 916812 w 1317625"/>
              <a:gd name="connsiteY2315" fmla="*/ 428625 h 1344613"/>
              <a:gd name="connsiteX2316" fmla="*/ 925258 w 1317625"/>
              <a:gd name="connsiteY2316" fmla="*/ 429168 h 1344613"/>
              <a:gd name="connsiteX2317" fmla="*/ 932437 w 1317625"/>
              <a:gd name="connsiteY2317" fmla="*/ 430254 h 1344613"/>
              <a:gd name="connsiteX2318" fmla="*/ 938350 w 1317625"/>
              <a:gd name="connsiteY2318" fmla="*/ 431882 h 1344613"/>
              <a:gd name="connsiteX2319" fmla="*/ 943418 w 1317625"/>
              <a:gd name="connsiteY2319" fmla="*/ 433510 h 1344613"/>
              <a:gd name="connsiteX2320" fmla="*/ 948908 w 1317625"/>
              <a:gd name="connsiteY2320" fmla="*/ 435682 h 1344613"/>
              <a:gd name="connsiteX2321" fmla="*/ 954820 w 1317625"/>
              <a:gd name="connsiteY2321" fmla="*/ 437853 h 1344613"/>
              <a:gd name="connsiteX2322" fmla="*/ 961577 w 1317625"/>
              <a:gd name="connsiteY2322" fmla="*/ 438939 h 1344613"/>
              <a:gd name="connsiteX2323" fmla="*/ 968907 w 1317625"/>
              <a:gd name="connsiteY2323" fmla="*/ 439387 h 1344613"/>
              <a:gd name="connsiteX2324" fmla="*/ 968907 w 1317625"/>
              <a:gd name="connsiteY2324" fmla="*/ 438372 h 1344613"/>
              <a:gd name="connsiteX2325" fmla="*/ 960154 w 1317625"/>
              <a:gd name="connsiteY2325" fmla="*/ 437855 h 1344613"/>
              <a:gd name="connsiteX2326" fmla="*/ 953152 w 1317625"/>
              <a:gd name="connsiteY2326" fmla="*/ 436821 h 1344613"/>
              <a:gd name="connsiteX2327" fmla="*/ 947900 w 1317625"/>
              <a:gd name="connsiteY2327" fmla="*/ 434754 h 1344613"/>
              <a:gd name="connsiteX2328" fmla="*/ 942649 w 1317625"/>
              <a:gd name="connsiteY2328" fmla="*/ 432686 h 1344613"/>
              <a:gd name="connsiteX2329" fmla="*/ 937835 w 1317625"/>
              <a:gd name="connsiteY2329" fmla="*/ 431136 h 1344613"/>
              <a:gd name="connsiteX2330" fmla="*/ 931708 w 1317625"/>
              <a:gd name="connsiteY2330" fmla="*/ 429585 h 1344613"/>
              <a:gd name="connsiteX2331" fmla="*/ 925143 w 1317625"/>
              <a:gd name="connsiteY2331" fmla="*/ 428551 h 1344613"/>
              <a:gd name="connsiteX2332" fmla="*/ 916391 w 1317625"/>
              <a:gd name="connsiteY2332" fmla="*/ 428034 h 1344613"/>
              <a:gd name="connsiteX2333" fmla="*/ 909826 w 1317625"/>
              <a:gd name="connsiteY2333" fmla="*/ 428551 h 1344613"/>
              <a:gd name="connsiteX2334" fmla="*/ 895384 w 1317625"/>
              <a:gd name="connsiteY2334" fmla="*/ 430102 h 1344613"/>
              <a:gd name="connsiteX2335" fmla="*/ 887069 w 1317625"/>
              <a:gd name="connsiteY2335" fmla="*/ 431136 h 1344613"/>
              <a:gd name="connsiteX2336" fmla="*/ 879629 w 1317625"/>
              <a:gd name="connsiteY2336" fmla="*/ 432169 h 1344613"/>
              <a:gd name="connsiteX2337" fmla="*/ 873940 w 1317625"/>
              <a:gd name="connsiteY2337" fmla="*/ 433203 h 1344613"/>
              <a:gd name="connsiteX2338" fmla="*/ 870001 w 1317625"/>
              <a:gd name="connsiteY2338" fmla="*/ 434237 h 1344613"/>
              <a:gd name="connsiteX2339" fmla="*/ 867813 w 1317625"/>
              <a:gd name="connsiteY2339" fmla="*/ 430619 h 1344613"/>
              <a:gd name="connsiteX2340" fmla="*/ 866500 w 1317625"/>
              <a:gd name="connsiteY2340" fmla="*/ 426484 h 1344613"/>
              <a:gd name="connsiteX2341" fmla="*/ 865625 w 1317625"/>
              <a:gd name="connsiteY2341" fmla="*/ 423383 h 1344613"/>
              <a:gd name="connsiteX2342" fmla="*/ 865187 w 1317625"/>
              <a:gd name="connsiteY2342" fmla="*/ 419765 h 1344613"/>
              <a:gd name="connsiteX2343" fmla="*/ 865187 w 1317625"/>
              <a:gd name="connsiteY2343" fmla="*/ 416663 h 1344613"/>
              <a:gd name="connsiteX2344" fmla="*/ 865625 w 1317625"/>
              <a:gd name="connsiteY2344" fmla="*/ 413562 h 1344613"/>
              <a:gd name="connsiteX2345" fmla="*/ 866500 w 1317625"/>
              <a:gd name="connsiteY2345" fmla="*/ 410461 h 1344613"/>
              <a:gd name="connsiteX2346" fmla="*/ 867375 w 1317625"/>
              <a:gd name="connsiteY2346" fmla="*/ 407877 h 1344613"/>
              <a:gd name="connsiteX2347" fmla="*/ 869126 w 1317625"/>
              <a:gd name="connsiteY2347" fmla="*/ 404776 h 1344613"/>
              <a:gd name="connsiteX2348" fmla="*/ 870439 w 1317625"/>
              <a:gd name="connsiteY2348" fmla="*/ 402191 h 1344613"/>
              <a:gd name="connsiteX2349" fmla="*/ 872189 w 1317625"/>
              <a:gd name="connsiteY2349" fmla="*/ 400124 h 1344613"/>
              <a:gd name="connsiteX2350" fmla="*/ 874378 w 1317625"/>
              <a:gd name="connsiteY2350" fmla="*/ 398056 h 1344613"/>
              <a:gd name="connsiteX2351" fmla="*/ 879192 w 1317625"/>
              <a:gd name="connsiteY2351" fmla="*/ 393922 h 1344613"/>
              <a:gd name="connsiteX2352" fmla="*/ 884443 w 1317625"/>
              <a:gd name="connsiteY2352" fmla="*/ 390304 h 1344613"/>
              <a:gd name="connsiteX2353" fmla="*/ 891445 w 1317625"/>
              <a:gd name="connsiteY2353" fmla="*/ 394438 h 1344613"/>
              <a:gd name="connsiteX2354" fmla="*/ 901949 w 1317625"/>
              <a:gd name="connsiteY2354" fmla="*/ 400641 h 1344613"/>
              <a:gd name="connsiteX2355" fmla="*/ 908075 w 1317625"/>
              <a:gd name="connsiteY2355" fmla="*/ 403742 h 1344613"/>
              <a:gd name="connsiteX2356" fmla="*/ 913765 w 1317625"/>
              <a:gd name="connsiteY2356" fmla="*/ 406326 h 1344613"/>
              <a:gd name="connsiteX2357" fmla="*/ 918579 w 1317625"/>
              <a:gd name="connsiteY2357" fmla="*/ 408911 h 1344613"/>
              <a:gd name="connsiteX2358" fmla="*/ 922517 w 1317625"/>
              <a:gd name="connsiteY2358" fmla="*/ 409427 h 1344613"/>
              <a:gd name="connsiteX2359" fmla="*/ 923830 w 1317625"/>
              <a:gd name="connsiteY2359" fmla="*/ 405809 h 1344613"/>
              <a:gd name="connsiteX2360" fmla="*/ 926456 w 1317625"/>
              <a:gd name="connsiteY2360" fmla="*/ 399090 h 1344613"/>
              <a:gd name="connsiteX2361" fmla="*/ 929520 w 1317625"/>
              <a:gd name="connsiteY2361" fmla="*/ 391854 h 1344613"/>
              <a:gd name="connsiteX2362" fmla="*/ 930833 w 1317625"/>
              <a:gd name="connsiteY2362" fmla="*/ 387202 h 1344613"/>
              <a:gd name="connsiteX2363" fmla="*/ 936084 w 1317625"/>
              <a:gd name="connsiteY2363" fmla="*/ 384618 h 1344613"/>
              <a:gd name="connsiteX2364" fmla="*/ 937260 w 1317625"/>
              <a:gd name="connsiteY2364" fmla="*/ 383924 h 1344613"/>
              <a:gd name="connsiteX2365" fmla="*/ 936454 w 1317625"/>
              <a:gd name="connsiteY2365" fmla="*/ 384114 h 1344613"/>
              <a:gd name="connsiteX2366" fmla="*/ 930018 w 1317625"/>
              <a:gd name="connsiteY2366" fmla="*/ 384618 h 1344613"/>
              <a:gd name="connsiteX2367" fmla="*/ 930447 w 1317625"/>
              <a:gd name="connsiteY2367" fmla="*/ 381591 h 1344613"/>
              <a:gd name="connsiteX2368" fmla="*/ 930447 w 1317625"/>
              <a:gd name="connsiteY2368" fmla="*/ 378564 h 1344613"/>
              <a:gd name="connsiteX2369" fmla="*/ 929589 w 1317625"/>
              <a:gd name="connsiteY2369" fmla="*/ 376545 h 1344613"/>
              <a:gd name="connsiteX2370" fmla="*/ 927873 w 1317625"/>
              <a:gd name="connsiteY2370" fmla="*/ 375032 h 1344613"/>
              <a:gd name="connsiteX2371" fmla="*/ 923153 w 1317625"/>
              <a:gd name="connsiteY2371" fmla="*/ 373013 h 1344613"/>
              <a:gd name="connsiteX2372" fmla="*/ 917575 w 1317625"/>
              <a:gd name="connsiteY2372" fmla="*/ 371500 h 1344613"/>
              <a:gd name="connsiteX2373" fmla="*/ 915001 w 1317625"/>
              <a:gd name="connsiteY2373" fmla="*/ 370491 h 1344613"/>
              <a:gd name="connsiteX2374" fmla="*/ 911998 w 1317625"/>
              <a:gd name="connsiteY2374" fmla="*/ 368977 h 1344613"/>
              <a:gd name="connsiteX2375" fmla="*/ 908994 w 1317625"/>
              <a:gd name="connsiteY2375" fmla="*/ 366959 h 1344613"/>
              <a:gd name="connsiteX2376" fmla="*/ 906849 w 1317625"/>
              <a:gd name="connsiteY2376" fmla="*/ 364436 h 1344613"/>
              <a:gd name="connsiteX2377" fmla="*/ 904275 w 1317625"/>
              <a:gd name="connsiteY2377" fmla="*/ 361409 h 1344613"/>
              <a:gd name="connsiteX2378" fmla="*/ 902987 w 1317625"/>
              <a:gd name="connsiteY2378" fmla="*/ 357877 h 1344613"/>
              <a:gd name="connsiteX2379" fmla="*/ 901700 w 1317625"/>
              <a:gd name="connsiteY2379" fmla="*/ 352831 h 1344613"/>
              <a:gd name="connsiteX2380" fmla="*/ 901700 w 1317625"/>
              <a:gd name="connsiteY2380" fmla="*/ 346777 h 1344613"/>
              <a:gd name="connsiteX2381" fmla="*/ 901700 w 1317625"/>
              <a:gd name="connsiteY2381" fmla="*/ 343245 h 1344613"/>
              <a:gd name="connsiteX2382" fmla="*/ 902558 w 1317625"/>
              <a:gd name="connsiteY2382" fmla="*/ 339713 h 1344613"/>
              <a:gd name="connsiteX2383" fmla="*/ 903846 w 1317625"/>
              <a:gd name="connsiteY2383" fmla="*/ 337190 h 1344613"/>
              <a:gd name="connsiteX2384" fmla="*/ 905991 w 1317625"/>
              <a:gd name="connsiteY2384" fmla="*/ 335172 h 1344613"/>
              <a:gd name="connsiteX2385" fmla="*/ 907707 w 1317625"/>
              <a:gd name="connsiteY2385" fmla="*/ 333154 h 1344613"/>
              <a:gd name="connsiteX2386" fmla="*/ 910710 w 1317625"/>
              <a:gd name="connsiteY2386" fmla="*/ 331640 h 1344613"/>
              <a:gd name="connsiteX2387" fmla="*/ 913285 w 1317625"/>
              <a:gd name="connsiteY2387" fmla="*/ 330631 h 1344613"/>
              <a:gd name="connsiteX2388" fmla="*/ 916288 w 1317625"/>
              <a:gd name="connsiteY2388" fmla="*/ 329622 h 1344613"/>
              <a:gd name="connsiteX2389" fmla="*/ 307385 w 1317625"/>
              <a:gd name="connsiteY2389" fmla="*/ 327025 h 1344613"/>
              <a:gd name="connsiteX2390" fmla="*/ 311262 w 1317625"/>
              <a:gd name="connsiteY2390" fmla="*/ 327546 h 1344613"/>
              <a:gd name="connsiteX2391" fmla="*/ 316000 w 1317625"/>
              <a:gd name="connsiteY2391" fmla="*/ 328067 h 1344613"/>
              <a:gd name="connsiteX2392" fmla="*/ 321601 w 1317625"/>
              <a:gd name="connsiteY2392" fmla="*/ 329630 h 1344613"/>
              <a:gd name="connsiteX2393" fmla="*/ 328924 w 1317625"/>
              <a:gd name="connsiteY2393" fmla="*/ 331193 h 1344613"/>
              <a:gd name="connsiteX2394" fmla="*/ 337109 w 1317625"/>
              <a:gd name="connsiteY2394" fmla="*/ 332756 h 1344613"/>
              <a:gd name="connsiteX2395" fmla="*/ 345724 w 1317625"/>
              <a:gd name="connsiteY2395" fmla="*/ 333798 h 1344613"/>
              <a:gd name="connsiteX2396" fmla="*/ 356494 w 1317625"/>
              <a:gd name="connsiteY2396" fmla="*/ 333798 h 1344613"/>
              <a:gd name="connsiteX2397" fmla="*/ 356494 w 1317625"/>
              <a:gd name="connsiteY2397" fmla="*/ 335882 h 1344613"/>
              <a:gd name="connsiteX2398" fmla="*/ 355632 w 1317625"/>
              <a:gd name="connsiteY2398" fmla="*/ 337445 h 1344613"/>
              <a:gd name="connsiteX2399" fmla="*/ 354770 w 1317625"/>
              <a:gd name="connsiteY2399" fmla="*/ 339008 h 1344613"/>
              <a:gd name="connsiteX2400" fmla="*/ 353909 w 1317625"/>
              <a:gd name="connsiteY2400" fmla="*/ 340571 h 1344613"/>
              <a:gd name="connsiteX2401" fmla="*/ 350893 w 1317625"/>
              <a:gd name="connsiteY2401" fmla="*/ 343697 h 1344613"/>
              <a:gd name="connsiteX2402" fmla="*/ 347447 w 1317625"/>
              <a:gd name="connsiteY2402" fmla="*/ 346302 h 1344613"/>
              <a:gd name="connsiteX2403" fmla="*/ 339262 w 1317625"/>
              <a:gd name="connsiteY2403" fmla="*/ 351512 h 1344613"/>
              <a:gd name="connsiteX2404" fmla="*/ 333232 w 1317625"/>
              <a:gd name="connsiteY2404" fmla="*/ 356722 h 1344613"/>
              <a:gd name="connsiteX2405" fmla="*/ 332801 w 1317625"/>
              <a:gd name="connsiteY2405" fmla="*/ 357764 h 1344613"/>
              <a:gd name="connsiteX2406" fmla="*/ 332370 w 1317625"/>
              <a:gd name="connsiteY2406" fmla="*/ 358806 h 1344613"/>
              <a:gd name="connsiteX2407" fmla="*/ 332370 w 1317625"/>
              <a:gd name="connsiteY2407" fmla="*/ 359327 h 1344613"/>
              <a:gd name="connsiteX2408" fmla="*/ 332801 w 1317625"/>
              <a:gd name="connsiteY2408" fmla="*/ 360369 h 1344613"/>
              <a:gd name="connsiteX2409" fmla="*/ 334093 w 1317625"/>
              <a:gd name="connsiteY2409" fmla="*/ 361411 h 1344613"/>
              <a:gd name="connsiteX2410" fmla="*/ 335385 w 1317625"/>
              <a:gd name="connsiteY2410" fmla="*/ 361932 h 1344613"/>
              <a:gd name="connsiteX2411" fmla="*/ 337970 w 1317625"/>
              <a:gd name="connsiteY2411" fmla="*/ 362974 h 1344613"/>
              <a:gd name="connsiteX2412" fmla="*/ 340986 w 1317625"/>
              <a:gd name="connsiteY2412" fmla="*/ 363495 h 1344613"/>
              <a:gd name="connsiteX2413" fmla="*/ 349170 w 1317625"/>
              <a:gd name="connsiteY2413" fmla="*/ 365058 h 1344613"/>
              <a:gd name="connsiteX2414" fmla="*/ 361232 w 1317625"/>
              <a:gd name="connsiteY2414" fmla="*/ 366621 h 1344613"/>
              <a:gd name="connsiteX2415" fmla="*/ 376740 w 1317625"/>
              <a:gd name="connsiteY2415" fmla="*/ 368184 h 1344613"/>
              <a:gd name="connsiteX2416" fmla="*/ 396556 w 1317625"/>
              <a:gd name="connsiteY2416" fmla="*/ 369226 h 1344613"/>
              <a:gd name="connsiteX2417" fmla="*/ 396556 w 1317625"/>
              <a:gd name="connsiteY2417" fmla="*/ 374436 h 1344613"/>
              <a:gd name="connsiteX2418" fmla="*/ 396556 w 1317625"/>
              <a:gd name="connsiteY2418" fmla="*/ 381729 h 1344613"/>
              <a:gd name="connsiteX2419" fmla="*/ 395264 w 1317625"/>
              <a:gd name="connsiteY2419" fmla="*/ 383813 h 1344613"/>
              <a:gd name="connsiteX2420" fmla="*/ 391817 w 1317625"/>
              <a:gd name="connsiteY2420" fmla="*/ 385376 h 1344613"/>
              <a:gd name="connsiteX2421" fmla="*/ 387079 w 1317625"/>
              <a:gd name="connsiteY2421" fmla="*/ 387460 h 1344613"/>
              <a:gd name="connsiteX2422" fmla="*/ 381910 w 1317625"/>
              <a:gd name="connsiteY2422" fmla="*/ 389544 h 1344613"/>
              <a:gd name="connsiteX2423" fmla="*/ 371140 w 1317625"/>
              <a:gd name="connsiteY2423" fmla="*/ 393191 h 1344613"/>
              <a:gd name="connsiteX2424" fmla="*/ 364678 w 1317625"/>
              <a:gd name="connsiteY2424" fmla="*/ 394754 h 1344613"/>
              <a:gd name="connsiteX2425" fmla="*/ 365971 w 1317625"/>
              <a:gd name="connsiteY2425" fmla="*/ 396317 h 1344613"/>
              <a:gd name="connsiteX2426" fmla="*/ 366832 w 1317625"/>
              <a:gd name="connsiteY2426" fmla="*/ 397880 h 1344613"/>
              <a:gd name="connsiteX2427" fmla="*/ 368125 w 1317625"/>
              <a:gd name="connsiteY2427" fmla="*/ 398922 h 1344613"/>
              <a:gd name="connsiteX2428" fmla="*/ 369417 w 1317625"/>
              <a:gd name="connsiteY2428" fmla="*/ 399964 h 1344613"/>
              <a:gd name="connsiteX2429" fmla="*/ 373725 w 1317625"/>
              <a:gd name="connsiteY2429" fmla="*/ 401006 h 1344613"/>
              <a:gd name="connsiteX2430" fmla="*/ 378033 w 1317625"/>
              <a:gd name="connsiteY2430" fmla="*/ 401527 h 1344613"/>
              <a:gd name="connsiteX2431" fmla="*/ 387079 w 1317625"/>
              <a:gd name="connsiteY2431" fmla="*/ 401527 h 1344613"/>
              <a:gd name="connsiteX2432" fmla="*/ 393541 w 1317625"/>
              <a:gd name="connsiteY2432" fmla="*/ 401006 h 1344613"/>
              <a:gd name="connsiteX2433" fmla="*/ 393541 w 1317625"/>
              <a:gd name="connsiteY2433" fmla="*/ 403611 h 1344613"/>
              <a:gd name="connsiteX2434" fmla="*/ 394402 w 1317625"/>
              <a:gd name="connsiteY2434" fmla="*/ 406216 h 1344613"/>
              <a:gd name="connsiteX2435" fmla="*/ 395694 w 1317625"/>
              <a:gd name="connsiteY2435" fmla="*/ 408300 h 1344613"/>
              <a:gd name="connsiteX2436" fmla="*/ 396987 w 1317625"/>
              <a:gd name="connsiteY2436" fmla="*/ 410905 h 1344613"/>
              <a:gd name="connsiteX2437" fmla="*/ 400864 w 1317625"/>
              <a:gd name="connsiteY2437" fmla="*/ 416636 h 1344613"/>
              <a:gd name="connsiteX2438" fmla="*/ 405172 w 1317625"/>
              <a:gd name="connsiteY2438" fmla="*/ 421846 h 1344613"/>
              <a:gd name="connsiteX2439" fmla="*/ 409479 w 1317625"/>
              <a:gd name="connsiteY2439" fmla="*/ 426535 h 1344613"/>
              <a:gd name="connsiteX2440" fmla="*/ 412495 w 1317625"/>
              <a:gd name="connsiteY2440" fmla="*/ 431224 h 1344613"/>
              <a:gd name="connsiteX2441" fmla="*/ 414218 w 1317625"/>
              <a:gd name="connsiteY2441" fmla="*/ 433829 h 1344613"/>
              <a:gd name="connsiteX2442" fmla="*/ 415510 w 1317625"/>
              <a:gd name="connsiteY2442" fmla="*/ 435913 h 1344613"/>
              <a:gd name="connsiteX2443" fmla="*/ 415941 w 1317625"/>
              <a:gd name="connsiteY2443" fmla="*/ 437476 h 1344613"/>
              <a:gd name="connsiteX2444" fmla="*/ 416372 w 1317625"/>
              <a:gd name="connsiteY2444" fmla="*/ 439560 h 1344613"/>
              <a:gd name="connsiteX2445" fmla="*/ 416372 w 1317625"/>
              <a:gd name="connsiteY2445" fmla="*/ 443207 h 1344613"/>
              <a:gd name="connsiteX2446" fmla="*/ 416803 w 1317625"/>
              <a:gd name="connsiteY2446" fmla="*/ 447896 h 1344613"/>
              <a:gd name="connsiteX2447" fmla="*/ 416803 w 1317625"/>
              <a:gd name="connsiteY2447" fmla="*/ 450501 h 1344613"/>
              <a:gd name="connsiteX2448" fmla="*/ 417664 w 1317625"/>
              <a:gd name="connsiteY2448" fmla="*/ 452585 h 1344613"/>
              <a:gd name="connsiteX2449" fmla="*/ 418095 w 1317625"/>
              <a:gd name="connsiteY2449" fmla="*/ 454148 h 1344613"/>
              <a:gd name="connsiteX2450" fmla="*/ 419387 w 1317625"/>
              <a:gd name="connsiteY2450" fmla="*/ 455711 h 1344613"/>
              <a:gd name="connsiteX2451" fmla="*/ 421972 w 1317625"/>
              <a:gd name="connsiteY2451" fmla="*/ 459358 h 1344613"/>
              <a:gd name="connsiteX2452" fmla="*/ 424126 w 1317625"/>
              <a:gd name="connsiteY2452" fmla="*/ 463005 h 1344613"/>
              <a:gd name="connsiteX2453" fmla="*/ 425418 w 1317625"/>
              <a:gd name="connsiteY2453" fmla="*/ 466131 h 1344613"/>
              <a:gd name="connsiteX2454" fmla="*/ 426711 w 1317625"/>
              <a:gd name="connsiteY2454" fmla="*/ 469256 h 1344613"/>
              <a:gd name="connsiteX2455" fmla="*/ 428003 w 1317625"/>
              <a:gd name="connsiteY2455" fmla="*/ 472382 h 1344613"/>
              <a:gd name="connsiteX2456" fmla="*/ 430157 w 1317625"/>
              <a:gd name="connsiteY2456" fmla="*/ 474987 h 1344613"/>
              <a:gd name="connsiteX2457" fmla="*/ 432741 w 1317625"/>
              <a:gd name="connsiteY2457" fmla="*/ 477071 h 1344613"/>
              <a:gd name="connsiteX2458" fmla="*/ 436188 w 1317625"/>
              <a:gd name="connsiteY2458" fmla="*/ 478634 h 1344613"/>
              <a:gd name="connsiteX2459" fmla="*/ 436618 w 1317625"/>
              <a:gd name="connsiteY2459" fmla="*/ 481760 h 1344613"/>
              <a:gd name="connsiteX2460" fmla="*/ 438342 w 1317625"/>
              <a:gd name="connsiteY2460" fmla="*/ 485407 h 1344613"/>
              <a:gd name="connsiteX2461" fmla="*/ 440495 w 1317625"/>
              <a:gd name="connsiteY2461" fmla="*/ 488533 h 1344613"/>
              <a:gd name="connsiteX2462" fmla="*/ 442649 w 1317625"/>
              <a:gd name="connsiteY2462" fmla="*/ 491659 h 1344613"/>
              <a:gd name="connsiteX2463" fmla="*/ 445665 w 1317625"/>
              <a:gd name="connsiteY2463" fmla="*/ 493743 h 1344613"/>
              <a:gd name="connsiteX2464" fmla="*/ 448680 w 1317625"/>
              <a:gd name="connsiteY2464" fmla="*/ 495827 h 1344613"/>
              <a:gd name="connsiteX2465" fmla="*/ 451265 w 1317625"/>
              <a:gd name="connsiteY2465" fmla="*/ 496869 h 1344613"/>
              <a:gd name="connsiteX2466" fmla="*/ 453850 w 1317625"/>
              <a:gd name="connsiteY2466" fmla="*/ 497390 h 1344613"/>
              <a:gd name="connsiteX2467" fmla="*/ 453850 w 1317625"/>
              <a:gd name="connsiteY2467" fmla="*/ 502600 h 1344613"/>
              <a:gd name="connsiteX2468" fmla="*/ 453850 w 1317625"/>
              <a:gd name="connsiteY2468" fmla="*/ 507289 h 1344613"/>
              <a:gd name="connsiteX2469" fmla="*/ 457727 w 1317625"/>
              <a:gd name="connsiteY2469" fmla="*/ 505726 h 1344613"/>
              <a:gd name="connsiteX2470" fmla="*/ 461173 w 1317625"/>
              <a:gd name="connsiteY2470" fmla="*/ 504684 h 1344613"/>
              <a:gd name="connsiteX2471" fmla="*/ 464188 w 1317625"/>
              <a:gd name="connsiteY2471" fmla="*/ 504684 h 1344613"/>
              <a:gd name="connsiteX2472" fmla="*/ 466773 w 1317625"/>
              <a:gd name="connsiteY2472" fmla="*/ 505205 h 1344613"/>
              <a:gd name="connsiteX2473" fmla="*/ 472373 w 1317625"/>
              <a:gd name="connsiteY2473" fmla="*/ 507810 h 1344613"/>
              <a:gd name="connsiteX2474" fmla="*/ 476250 w 1317625"/>
              <a:gd name="connsiteY2474" fmla="*/ 510415 h 1344613"/>
              <a:gd name="connsiteX2475" fmla="*/ 475389 w 1317625"/>
              <a:gd name="connsiteY2475" fmla="*/ 517188 h 1344613"/>
              <a:gd name="connsiteX2476" fmla="*/ 474527 w 1317625"/>
              <a:gd name="connsiteY2476" fmla="*/ 522919 h 1344613"/>
              <a:gd name="connsiteX2477" fmla="*/ 474096 w 1317625"/>
              <a:gd name="connsiteY2477" fmla="*/ 526045 h 1344613"/>
              <a:gd name="connsiteX2478" fmla="*/ 474096 w 1317625"/>
              <a:gd name="connsiteY2478" fmla="*/ 529692 h 1344613"/>
              <a:gd name="connsiteX2479" fmla="*/ 474958 w 1317625"/>
              <a:gd name="connsiteY2479" fmla="*/ 532818 h 1344613"/>
              <a:gd name="connsiteX2480" fmla="*/ 476250 w 1317625"/>
              <a:gd name="connsiteY2480" fmla="*/ 535944 h 1344613"/>
              <a:gd name="connsiteX2481" fmla="*/ 474096 w 1317625"/>
              <a:gd name="connsiteY2481" fmla="*/ 536465 h 1344613"/>
              <a:gd name="connsiteX2482" fmla="*/ 471512 w 1317625"/>
              <a:gd name="connsiteY2482" fmla="*/ 536986 h 1344613"/>
              <a:gd name="connsiteX2483" fmla="*/ 469358 w 1317625"/>
              <a:gd name="connsiteY2483" fmla="*/ 537507 h 1344613"/>
              <a:gd name="connsiteX2484" fmla="*/ 466773 w 1317625"/>
              <a:gd name="connsiteY2484" fmla="*/ 538549 h 1344613"/>
              <a:gd name="connsiteX2485" fmla="*/ 465050 w 1317625"/>
              <a:gd name="connsiteY2485" fmla="*/ 540112 h 1344613"/>
              <a:gd name="connsiteX2486" fmla="*/ 463758 w 1317625"/>
              <a:gd name="connsiteY2486" fmla="*/ 541675 h 1344613"/>
              <a:gd name="connsiteX2487" fmla="*/ 462896 w 1317625"/>
              <a:gd name="connsiteY2487" fmla="*/ 543238 h 1344613"/>
              <a:gd name="connsiteX2488" fmla="*/ 462034 w 1317625"/>
              <a:gd name="connsiteY2488" fmla="*/ 545843 h 1344613"/>
              <a:gd name="connsiteX2489" fmla="*/ 462034 w 1317625"/>
              <a:gd name="connsiteY2489" fmla="*/ 546885 h 1344613"/>
              <a:gd name="connsiteX2490" fmla="*/ 462896 w 1317625"/>
              <a:gd name="connsiteY2490" fmla="*/ 547927 h 1344613"/>
              <a:gd name="connsiteX2491" fmla="*/ 463327 w 1317625"/>
              <a:gd name="connsiteY2491" fmla="*/ 548969 h 1344613"/>
              <a:gd name="connsiteX2492" fmla="*/ 464188 w 1317625"/>
              <a:gd name="connsiteY2492" fmla="*/ 550532 h 1344613"/>
              <a:gd name="connsiteX2493" fmla="*/ 466773 w 1317625"/>
              <a:gd name="connsiteY2493" fmla="*/ 552616 h 1344613"/>
              <a:gd name="connsiteX2494" fmla="*/ 470650 w 1317625"/>
              <a:gd name="connsiteY2494" fmla="*/ 555221 h 1344613"/>
              <a:gd name="connsiteX2495" fmla="*/ 466773 w 1317625"/>
              <a:gd name="connsiteY2495" fmla="*/ 557826 h 1344613"/>
              <a:gd name="connsiteX2496" fmla="*/ 464619 w 1317625"/>
              <a:gd name="connsiteY2496" fmla="*/ 559909 h 1344613"/>
              <a:gd name="connsiteX2497" fmla="*/ 462896 w 1317625"/>
              <a:gd name="connsiteY2497" fmla="*/ 561993 h 1344613"/>
              <a:gd name="connsiteX2498" fmla="*/ 461173 w 1317625"/>
              <a:gd name="connsiteY2498" fmla="*/ 564077 h 1344613"/>
              <a:gd name="connsiteX2499" fmla="*/ 459450 w 1317625"/>
              <a:gd name="connsiteY2499" fmla="*/ 568245 h 1344613"/>
              <a:gd name="connsiteX2500" fmla="*/ 456434 w 1317625"/>
              <a:gd name="connsiteY2500" fmla="*/ 574497 h 1344613"/>
              <a:gd name="connsiteX2501" fmla="*/ 367694 w 1317625"/>
              <a:gd name="connsiteY2501" fmla="*/ 574497 h 1344613"/>
              <a:gd name="connsiteX2502" fmla="*/ 367694 w 1317625"/>
              <a:gd name="connsiteY2502" fmla="*/ 580749 h 1344613"/>
              <a:gd name="connsiteX2503" fmla="*/ 367694 w 1317625"/>
              <a:gd name="connsiteY2503" fmla="*/ 587522 h 1344613"/>
              <a:gd name="connsiteX2504" fmla="*/ 354770 w 1317625"/>
              <a:gd name="connsiteY2504" fmla="*/ 588043 h 1344613"/>
              <a:gd name="connsiteX2505" fmla="*/ 343570 w 1317625"/>
              <a:gd name="connsiteY2505" fmla="*/ 589085 h 1344613"/>
              <a:gd name="connsiteX2506" fmla="*/ 338401 w 1317625"/>
              <a:gd name="connsiteY2506" fmla="*/ 590127 h 1344613"/>
              <a:gd name="connsiteX2507" fmla="*/ 334093 w 1317625"/>
              <a:gd name="connsiteY2507" fmla="*/ 591690 h 1344613"/>
              <a:gd name="connsiteX2508" fmla="*/ 332370 w 1317625"/>
              <a:gd name="connsiteY2508" fmla="*/ 592732 h 1344613"/>
              <a:gd name="connsiteX2509" fmla="*/ 330216 w 1317625"/>
              <a:gd name="connsiteY2509" fmla="*/ 593774 h 1344613"/>
              <a:gd name="connsiteX2510" fmla="*/ 328924 w 1317625"/>
              <a:gd name="connsiteY2510" fmla="*/ 595337 h 1344613"/>
              <a:gd name="connsiteX2511" fmla="*/ 327631 w 1317625"/>
              <a:gd name="connsiteY2511" fmla="*/ 596900 h 1344613"/>
              <a:gd name="connsiteX2512" fmla="*/ 328062 w 1317625"/>
              <a:gd name="connsiteY2512" fmla="*/ 593253 h 1344613"/>
              <a:gd name="connsiteX2513" fmla="*/ 328493 w 1317625"/>
              <a:gd name="connsiteY2513" fmla="*/ 590127 h 1344613"/>
              <a:gd name="connsiteX2514" fmla="*/ 328924 w 1317625"/>
              <a:gd name="connsiteY2514" fmla="*/ 587001 h 1344613"/>
              <a:gd name="connsiteX2515" fmla="*/ 329785 w 1317625"/>
              <a:gd name="connsiteY2515" fmla="*/ 583875 h 1344613"/>
              <a:gd name="connsiteX2516" fmla="*/ 331078 w 1317625"/>
              <a:gd name="connsiteY2516" fmla="*/ 581270 h 1344613"/>
              <a:gd name="connsiteX2517" fmla="*/ 332370 w 1317625"/>
              <a:gd name="connsiteY2517" fmla="*/ 579186 h 1344613"/>
              <a:gd name="connsiteX2518" fmla="*/ 334093 w 1317625"/>
              <a:gd name="connsiteY2518" fmla="*/ 577102 h 1344613"/>
              <a:gd name="connsiteX2519" fmla="*/ 335385 w 1317625"/>
              <a:gd name="connsiteY2519" fmla="*/ 575018 h 1344613"/>
              <a:gd name="connsiteX2520" fmla="*/ 339693 w 1317625"/>
              <a:gd name="connsiteY2520" fmla="*/ 571892 h 1344613"/>
              <a:gd name="connsiteX2521" fmla="*/ 344001 w 1317625"/>
              <a:gd name="connsiteY2521" fmla="*/ 569287 h 1344613"/>
              <a:gd name="connsiteX2522" fmla="*/ 348740 w 1317625"/>
              <a:gd name="connsiteY2522" fmla="*/ 567724 h 1344613"/>
              <a:gd name="connsiteX2523" fmla="*/ 353909 w 1317625"/>
              <a:gd name="connsiteY2523" fmla="*/ 565640 h 1344613"/>
              <a:gd name="connsiteX2524" fmla="*/ 363386 w 1317625"/>
              <a:gd name="connsiteY2524" fmla="*/ 563035 h 1344613"/>
              <a:gd name="connsiteX2525" fmla="*/ 372432 w 1317625"/>
              <a:gd name="connsiteY2525" fmla="*/ 560430 h 1344613"/>
              <a:gd name="connsiteX2526" fmla="*/ 375879 w 1317625"/>
              <a:gd name="connsiteY2526" fmla="*/ 558346 h 1344613"/>
              <a:gd name="connsiteX2527" fmla="*/ 378894 w 1317625"/>
              <a:gd name="connsiteY2527" fmla="*/ 555742 h 1344613"/>
              <a:gd name="connsiteX2528" fmla="*/ 379756 w 1317625"/>
              <a:gd name="connsiteY2528" fmla="*/ 554179 h 1344613"/>
              <a:gd name="connsiteX2529" fmla="*/ 381048 w 1317625"/>
              <a:gd name="connsiteY2529" fmla="*/ 552616 h 1344613"/>
              <a:gd name="connsiteX2530" fmla="*/ 381910 w 1317625"/>
              <a:gd name="connsiteY2530" fmla="*/ 550532 h 1344613"/>
              <a:gd name="connsiteX2531" fmla="*/ 381910 w 1317625"/>
              <a:gd name="connsiteY2531" fmla="*/ 550011 h 1344613"/>
              <a:gd name="connsiteX2532" fmla="*/ 381048 w 1317625"/>
              <a:gd name="connsiteY2532" fmla="*/ 551053 h 1344613"/>
              <a:gd name="connsiteX2533" fmla="*/ 379756 w 1317625"/>
              <a:gd name="connsiteY2533" fmla="*/ 552095 h 1344613"/>
              <a:gd name="connsiteX2534" fmla="*/ 378463 w 1317625"/>
              <a:gd name="connsiteY2534" fmla="*/ 553137 h 1344613"/>
              <a:gd name="connsiteX2535" fmla="*/ 374586 w 1317625"/>
              <a:gd name="connsiteY2535" fmla="*/ 554700 h 1344613"/>
              <a:gd name="connsiteX2536" fmla="*/ 370279 w 1317625"/>
              <a:gd name="connsiteY2536" fmla="*/ 555221 h 1344613"/>
              <a:gd name="connsiteX2537" fmla="*/ 363817 w 1317625"/>
              <a:gd name="connsiteY2537" fmla="*/ 554700 h 1344613"/>
              <a:gd name="connsiteX2538" fmla="*/ 352617 w 1317625"/>
              <a:gd name="connsiteY2538" fmla="*/ 552095 h 1344613"/>
              <a:gd name="connsiteX2539" fmla="*/ 346155 w 1317625"/>
              <a:gd name="connsiteY2539" fmla="*/ 550532 h 1344613"/>
              <a:gd name="connsiteX2540" fmla="*/ 340986 w 1317625"/>
              <a:gd name="connsiteY2540" fmla="*/ 548448 h 1344613"/>
              <a:gd name="connsiteX2541" fmla="*/ 339262 w 1317625"/>
              <a:gd name="connsiteY2541" fmla="*/ 547406 h 1344613"/>
              <a:gd name="connsiteX2542" fmla="*/ 337539 w 1317625"/>
              <a:gd name="connsiteY2542" fmla="*/ 545843 h 1344613"/>
              <a:gd name="connsiteX2543" fmla="*/ 336247 w 1317625"/>
              <a:gd name="connsiteY2543" fmla="*/ 544280 h 1344613"/>
              <a:gd name="connsiteX2544" fmla="*/ 336247 w 1317625"/>
              <a:gd name="connsiteY2544" fmla="*/ 542717 h 1344613"/>
              <a:gd name="connsiteX2545" fmla="*/ 336247 w 1317625"/>
              <a:gd name="connsiteY2545" fmla="*/ 539070 h 1344613"/>
              <a:gd name="connsiteX2546" fmla="*/ 337970 w 1317625"/>
              <a:gd name="connsiteY2546" fmla="*/ 536465 h 1344613"/>
              <a:gd name="connsiteX2547" fmla="*/ 339262 w 1317625"/>
              <a:gd name="connsiteY2547" fmla="*/ 534381 h 1344613"/>
              <a:gd name="connsiteX2548" fmla="*/ 340986 w 1317625"/>
              <a:gd name="connsiteY2548" fmla="*/ 532818 h 1344613"/>
              <a:gd name="connsiteX2549" fmla="*/ 343570 w 1317625"/>
              <a:gd name="connsiteY2549" fmla="*/ 531255 h 1344613"/>
              <a:gd name="connsiteX2550" fmla="*/ 345724 w 1317625"/>
              <a:gd name="connsiteY2550" fmla="*/ 530734 h 1344613"/>
              <a:gd name="connsiteX2551" fmla="*/ 348309 w 1317625"/>
              <a:gd name="connsiteY2551" fmla="*/ 530213 h 1344613"/>
              <a:gd name="connsiteX2552" fmla="*/ 350463 w 1317625"/>
              <a:gd name="connsiteY2552" fmla="*/ 529692 h 1344613"/>
              <a:gd name="connsiteX2553" fmla="*/ 350463 w 1317625"/>
              <a:gd name="connsiteY2553" fmla="*/ 510415 h 1344613"/>
              <a:gd name="connsiteX2554" fmla="*/ 342278 w 1317625"/>
              <a:gd name="connsiteY2554" fmla="*/ 510415 h 1344613"/>
              <a:gd name="connsiteX2555" fmla="*/ 343570 w 1317625"/>
              <a:gd name="connsiteY2555" fmla="*/ 506768 h 1344613"/>
              <a:gd name="connsiteX2556" fmla="*/ 345293 w 1317625"/>
              <a:gd name="connsiteY2556" fmla="*/ 503642 h 1344613"/>
              <a:gd name="connsiteX2557" fmla="*/ 347878 w 1317625"/>
              <a:gd name="connsiteY2557" fmla="*/ 501037 h 1344613"/>
              <a:gd name="connsiteX2558" fmla="*/ 350032 w 1317625"/>
              <a:gd name="connsiteY2558" fmla="*/ 498432 h 1344613"/>
              <a:gd name="connsiteX2559" fmla="*/ 355201 w 1317625"/>
              <a:gd name="connsiteY2559" fmla="*/ 495306 h 1344613"/>
              <a:gd name="connsiteX2560" fmla="*/ 360371 w 1317625"/>
              <a:gd name="connsiteY2560" fmla="*/ 493222 h 1344613"/>
              <a:gd name="connsiteX2561" fmla="*/ 365971 w 1317625"/>
              <a:gd name="connsiteY2561" fmla="*/ 491138 h 1344613"/>
              <a:gd name="connsiteX2562" fmla="*/ 371140 w 1317625"/>
              <a:gd name="connsiteY2562" fmla="*/ 488012 h 1344613"/>
              <a:gd name="connsiteX2563" fmla="*/ 373294 w 1317625"/>
              <a:gd name="connsiteY2563" fmla="*/ 486449 h 1344613"/>
              <a:gd name="connsiteX2564" fmla="*/ 375017 w 1317625"/>
              <a:gd name="connsiteY2564" fmla="*/ 484365 h 1344613"/>
              <a:gd name="connsiteX2565" fmla="*/ 377602 w 1317625"/>
              <a:gd name="connsiteY2565" fmla="*/ 481760 h 1344613"/>
              <a:gd name="connsiteX2566" fmla="*/ 378894 w 1317625"/>
              <a:gd name="connsiteY2566" fmla="*/ 478634 h 1344613"/>
              <a:gd name="connsiteX2567" fmla="*/ 376309 w 1317625"/>
              <a:gd name="connsiteY2567" fmla="*/ 476029 h 1344613"/>
              <a:gd name="connsiteX2568" fmla="*/ 373294 w 1317625"/>
              <a:gd name="connsiteY2568" fmla="*/ 473424 h 1344613"/>
              <a:gd name="connsiteX2569" fmla="*/ 371140 w 1317625"/>
              <a:gd name="connsiteY2569" fmla="*/ 471340 h 1344613"/>
              <a:gd name="connsiteX2570" fmla="*/ 368555 w 1317625"/>
              <a:gd name="connsiteY2570" fmla="*/ 468215 h 1344613"/>
              <a:gd name="connsiteX2571" fmla="*/ 367263 w 1317625"/>
              <a:gd name="connsiteY2571" fmla="*/ 465089 h 1344613"/>
              <a:gd name="connsiteX2572" fmla="*/ 365971 w 1317625"/>
              <a:gd name="connsiteY2572" fmla="*/ 462484 h 1344613"/>
              <a:gd name="connsiteX2573" fmla="*/ 365109 w 1317625"/>
              <a:gd name="connsiteY2573" fmla="*/ 459358 h 1344613"/>
              <a:gd name="connsiteX2574" fmla="*/ 364678 w 1317625"/>
              <a:gd name="connsiteY2574" fmla="*/ 455711 h 1344613"/>
              <a:gd name="connsiteX2575" fmla="*/ 358647 w 1317625"/>
              <a:gd name="connsiteY2575" fmla="*/ 455711 h 1344613"/>
              <a:gd name="connsiteX2576" fmla="*/ 353478 w 1317625"/>
              <a:gd name="connsiteY2576" fmla="*/ 454669 h 1344613"/>
              <a:gd name="connsiteX2577" fmla="*/ 349170 w 1317625"/>
              <a:gd name="connsiteY2577" fmla="*/ 453106 h 1344613"/>
              <a:gd name="connsiteX2578" fmla="*/ 345293 w 1317625"/>
              <a:gd name="connsiteY2578" fmla="*/ 451543 h 1344613"/>
              <a:gd name="connsiteX2579" fmla="*/ 342709 w 1317625"/>
              <a:gd name="connsiteY2579" fmla="*/ 449459 h 1344613"/>
              <a:gd name="connsiteX2580" fmla="*/ 340555 w 1317625"/>
              <a:gd name="connsiteY2580" fmla="*/ 446333 h 1344613"/>
              <a:gd name="connsiteX2581" fmla="*/ 339262 w 1317625"/>
              <a:gd name="connsiteY2581" fmla="*/ 443728 h 1344613"/>
              <a:gd name="connsiteX2582" fmla="*/ 339262 w 1317625"/>
              <a:gd name="connsiteY2582" fmla="*/ 439560 h 1344613"/>
              <a:gd name="connsiteX2583" fmla="*/ 339262 w 1317625"/>
              <a:gd name="connsiteY2583" fmla="*/ 435913 h 1344613"/>
              <a:gd name="connsiteX2584" fmla="*/ 340124 w 1317625"/>
              <a:gd name="connsiteY2584" fmla="*/ 432787 h 1344613"/>
              <a:gd name="connsiteX2585" fmla="*/ 341847 w 1317625"/>
              <a:gd name="connsiteY2585" fmla="*/ 430182 h 1344613"/>
              <a:gd name="connsiteX2586" fmla="*/ 343570 w 1317625"/>
              <a:gd name="connsiteY2586" fmla="*/ 427056 h 1344613"/>
              <a:gd name="connsiteX2587" fmla="*/ 344863 w 1317625"/>
              <a:gd name="connsiteY2587" fmla="*/ 423930 h 1344613"/>
              <a:gd name="connsiteX2588" fmla="*/ 346155 w 1317625"/>
              <a:gd name="connsiteY2588" fmla="*/ 420804 h 1344613"/>
              <a:gd name="connsiteX2589" fmla="*/ 347447 w 1317625"/>
              <a:gd name="connsiteY2589" fmla="*/ 417678 h 1344613"/>
              <a:gd name="connsiteX2590" fmla="*/ 347878 w 1317625"/>
              <a:gd name="connsiteY2590" fmla="*/ 414552 h 1344613"/>
              <a:gd name="connsiteX2591" fmla="*/ 344432 w 1317625"/>
              <a:gd name="connsiteY2591" fmla="*/ 416115 h 1344613"/>
              <a:gd name="connsiteX2592" fmla="*/ 341847 w 1317625"/>
              <a:gd name="connsiteY2592" fmla="*/ 418199 h 1344613"/>
              <a:gd name="connsiteX2593" fmla="*/ 339262 w 1317625"/>
              <a:gd name="connsiteY2593" fmla="*/ 420804 h 1344613"/>
              <a:gd name="connsiteX2594" fmla="*/ 336247 w 1317625"/>
              <a:gd name="connsiteY2594" fmla="*/ 423930 h 1344613"/>
              <a:gd name="connsiteX2595" fmla="*/ 332370 w 1317625"/>
              <a:gd name="connsiteY2595" fmla="*/ 430703 h 1344613"/>
              <a:gd name="connsiteX2596" fmla="*/ 327631 w 1317625"/>
              <a:gd name="connsiteY2596" fmla="*/ 436434 h 1344613"/>
              <a:gd name="connsiteX2597" fmla="*/ 318154 w 1317625"/>
              <a:gd name="connsiteY2597" fmla="*/ 420283 h 1344613"/>
              <a:gd name="connsiteX2598" fmla="*/ 314277 w 1317625"/>
              <a:gd name="connsiteY2598" fmla="*/ 411426 h 1344613"/>
              <a:gd name="connsiteX2599" fmla="*/ 313416 w 1317625"/>
              <a:gd name="connsiteY2599" fmla="*/ 408821 h 1344613"/>
              <a:gd name="connsiteX2600" fmla="*/ 313416 w 1317625"/>
              <a:gd name="connsiteY2600" fmla="*/ 406737 h 1344613"/>
              <a:gd name="connsiteX2601" fmla="*/ 313416 w 1317625"/>
              <a:gd name="connsiteY2601" fmla="*/ 404132 h 1344613"/>
              <a:gd name="connsiteX2602" fmla="*/ 313416 w 1317625"/>
              <a:gd name="connsiteY2602" fmla="*/ 401006 h 1344613"/>
              <a:gd name="connsiteX2603" fmla="*/ 312123 w 1317625"/>
              <a:gd name="connsiteY2603" fmla="*/ 400485 h 1344613"/>
              <a:gd name="connsiteX2604" fmla="*/ 311693 w 1317625"/>
              <a:gd name="connsiteY2604" fmla="*/ 398922 h 1344613"/>
              <a:gd name="connsiteX2605" fmla="*/ 311262 w 1317625"/>
              <a:gd name="connsiteY2605" fmla="*/ 397359 h 1344613"/>
              <a:gd name="connsiteX2606" fmla="*/ 310831 w 1317625"/>
              <a:gd name="connsiteY2606" fmla="*/ 395275 h 1344613"/>
              <a:gd name="connsiteX2607" fmla="*/ 310831 w 1317625"/>
              <a:gd name="connsiteY2607" fmla="*/ 390065 h 1344613"/>
              <a:gd name="connsiteX2608" fmla="*/ 311262 w 1317625"/>
              <a:gd name="connsiteY2608" fmla="*/ 384334 h 1344613"/>
              <a:gd name="connsiteX2609" fmla="*/ 312123 w 1317625"/>
              <a:gd name="connsiteY2609" fmla="*/ 370789 h 1344613"/>
              <a:gd name="connsiteX2610" fmla="*/ 313416 w 1317625"/>
              <a:gd name="connsiteY2610" fmla="*/ 359848 h 1344613"/>
              <a:gd name="connsiteX2611" fmla="*/ 313846 w 1317625"/>
              <a:gd name="connsiteY2611" fmla="*/ 357764 h 1344613"/>
              <a:gd name="connsiteX2612" fmla="*/ 313846 w 1317625"/>
              <a:gd name="connsiteY2612" fmla="*/ 355680 h 1344613"/>
              <a:gd name="connsiteX2613" fmla="*/ 313416 w 1317625"/>
              <a:gd name="connsiteY2613" fmla="*/ 353596 h 1344613"/>
              <a:gd name="connsiteX2614" fmla="*/ 312985 w 1317625"/>
              <a:gd name="connsiteY2614" fmla="*/ 352554 h 1344613"/>
              <a:gd name="connsiteX2615" fmla="*/ 311262 w 1317625"/>
              <a:gd name="connsiteY2615" fmla="*/ 350470 h 1344613"/>
              <a:gd name="connsiteX2616" fmla="*/ 309539 w 1317625"/>
              <a:gd name="connsiteY2616" fmla="*/ 349428 h 1344613"/>
              <a:gd name="connsiteX2617" fmla="*/ 307385 w 1317625"/>
              <a:gd name="connsiteY2617" fmla="*/ 348386 h 1344613"/>
              <a:gd name="connsiteX2618" fmla="*/ 306523 w 1317625"/>
              <a:gd name="connsiteY2618" fmla="*/ 347865 h 1344613"/>
              <a:gd name="connsiteX2619" fmla="*/ 306092 w 1317625"/>
              <a:gd name="connsiteY2619" fmla="*/ 347344 h 1344613"/>
              <a:gd name="connsiteX2620" fmla="*/ 307385 w 1317625"/>
              <a:gd name="connsiteY2620" fmla="*/ 346302 h 1344613"/>
              <a:gd name="connsiteX2621" fmla="*/ 310400 w 1317625"/>
              <a:gd name="connsiteY2621" fmla="*/ 341613 h 1344613"/>
              <a:gd name="connsiteX2622" fmla="*/ 313416 w 1317625"/>
              <a:gd name="connsiteY2622" fmla="*/ 336924 h 1344613"/>
              <a:gd name="connsiteX2623" fmla="*/ 313416 w 1317625"/>
              <a:gd name="connsiteY2623" fmla="*/ 333798 h 1344613"/>
              <a:gd name="connsiteX2624" fmla="*/ 309539 w 1317625"/>
              <a:gd name="connsiteY2624" fmla="*/ 332756 h 1344613"/>
              <a:gd name="connsiteX2625" fmla="*/ 306954 w 1317625"/>
              <a:gd name="connsiteY2625" fmla="*/ 332235 h 1344613"/>
              <a:gd name="connsiteX2626" fmla="*/ 306092 w 1317625"/>
              <a:gd name="connsiteY2626" fmla="*/ 331714 h 1344613"/>
              <a:gd name="connsiteX2627" fmla="*/ 305231 w 1317625"/>
              <a:gd name="connsiteY2627" fmla="*/ 330672 h 1344613"/>
              <a:gd name="connsiteX2628" fmla="*/ 304800 w 1317625"/>
              <a:gd name="connsiteY2628" fmla="*/ 329630 h 1344613"/>
              <a:gd name="connsiteX2629" fmla="*/ 304800 w 1317625"/>
              <a:gd name="connsiteY2629" fmla="*/ 327546 h 1344613"/>
              <a:gd name="connsiteX2630" fmla="*/ 299171 w 1317625"/>
              <a:gd name="connsiteY2630" fmla="*/ 250825 h 1344613"/>
              <a:gd name="connsiteX2631" fmla="*/ 300614 w 1317625"/>
              <a:gd name="connsiteY2631" fmla="*/ 260043 h 1344613"/>
              <a:gd name="connsiteX2632" fmla="*/ 301769 w 1317625"/>
              <a:gd name="connsiteY2632" fmla="*/ 272948 h 1344613"/>
              <a:gd name="connsiteX2633" fmla="*/ 302923 w 1317625"/>
              <a:gd name="connsiteY2633" fmla="*/ 291383 h 1344613"/>
              <a:gd name="connsiteX2634" fmla="*/ 303212 w 1317625"/>
              <a:gd name="connsiteY2634" fmla="*/ 307975 h 1344613"/>
              <a:gd name="connsiteX2635" fmla="*/ 301480 w 1317625"/>
              <a:gd name="connsiteY2635" fmla="*/ 306132 h 1344613"/>
              <a:gd name="connsiteX2636" fmla="*/ 300037 w 1317625"/>
              <a:gd name="connsiteY2636" fmla="*/ 302444 h 1344613"/>
              <a:gd name="connsiteX2637" fmla="*/ 298305 w 1317625"/>
              <a:gd name="connsiteY2637" fmla="*/ 296914 h 1344613"/>
              <a:gd name="connsiteX2638" fmla="*/ 296862 w 1317625"/>
              <a:gd name="connsiteY2638" fmla="*/ 291383 h 1344613"/>
              <a:gd name="connsiteX2639" fmla="*/ 294553 w 1317625"/>
              <a:gd name="connsiteY2639" fmla="*/ 278478 h 1344613"/>
              <a:gd name="connsiteX2640" fmla="*/ 293687 w 1317625"/>
              <a:gd name="connsiteY2640" fmla="*/ 272948 h 1344613"/>
              <a:gd name="connsiteX2641" fmla="*/ 701061 w 1317625"/>
              <a:gd name="connsiteY2641" fmla="*/ 203656 h 1344613"/>
              <a:gd name="connsiteX2642" fmla="*/ 698462 w 1317625"/>
              <a:gd name="connsiteY2642" fmla="*/ 204181 h 1344613"/>
              <a:gd name="connsiteX2643" fmla="*/ 692397 w 1317625"/>
              <a:gd name="connsiteY2643" fmla="*/ 204705 h 1344613"/>
              <a:gd name="connsiteX2644" fmla="*/ 686331 w 1317625"/>
              <a:gd name="connsiteY2644" fmla="*/ 205230 h 1344613"/>
              <a:gd name="connsiteX2645" fmla="*/ 686024 w 1317625"/>
              <a:gd name="connsiteY2645" fmla="*/ 206366 h 1344613"/>
              <a:gd name="connsiteX2646" fmla="*/ 689968 w 1317625"/>
              <a:gd name="connsiteY2646" fmla="*/ 206034 h 1344613"/>
              <a:gd name="connsiteX2647" fmla="*/ 696162 w 1317625"/>
              <a:gd name="connsiteY2647" fmla="*/ 205511 h 1344613"/>
              <a:gd name="connsiteX2648" fmla="*/ 698817 w 1317625"/>
              <a:gd name="connsiteY2648" fmla="*/ 204989 h 1344613"/>
              <a:gd name="connsiteX2649" fmla="*/ 701029 w 1317625"/>
              <a:gd name="connsiteY2649" fmla="*/ 204989 h 1344613"/>
              <a:gd name="connsiteX2650" fmla="*/ 702799 w 1317625"/>
              <a:gd name="connsiteY2650" fmla="*/ 205511 h 1344613"/>
              <a:gd name="connsiteX2651" fmla="*/ 704127 w 1317625"/>
              <a:gd name="connsiteY2651" fmla="*/ 206556 h 1344613"/>
              <a:gd name="connsiteX2652" fmla="*/ 704264 w 1317625"/>
              <a:gd name="connsiteY2652" fmla="*/ 203970 h 1344613"/>
              <a:gd name="connsiteX2653" fmla="*/ 703227 w 1317625"/>
              <a:gd name="connsiteY2653" fmla="*/ 203656 h 1344613"/>
              <a:gd name="connsiteX2654" fmla="*/ 47389 w 1317625"/>
              <a:gd name="connsiteY2654" fmla="*/ 180976 h 1344613"/>
              <a:gd name="connsiteX2655" fmla="*/ 68525 w 1317625"/>
              <a:gd name="connsiteY2655" fmla="*/ 182952 h 1344613"/>
              <a:gd name="connsiteX2656" fmla="*/ 87260 w 1317625"/>
              <a:gd name="connsiteY2656" fmla="*/ 186905 h 1344613"/>
              <a:gd name="connsiteX2657" fmla="*/ 96867 w 1317625"/>
              <a:gd name="connsiteY2657" fmla="*/ 188881 h 1344613"/>
              <a:gd name="connsiteX2658" fmla="*/ 105513 w 1317625"/>
              <a:gd name="connsiteY2658" fmla="*/ 187893 h 1344613"/>
              <a:gd name="connsiteX2659" fmla="*/ 109837 w 1317625"/>
              <a:gd name="connsiteY2659" fmla="*/ 186905 h 1344613"/>
              <a:gd name="connsiteX2660" fmla="*/ 113199 w 1317625"/>
              <a:gd name="connsiteY2660" fmla="*/ 185917 h 1344613"/>
              <a:gd name="connsiteX2661" fmla="*/ 117042 w 1317625"/>
              <a:gd name="connsiteY2661" fmla="*/ 183940 h 1344613"/>
              <a:gd name="connsiteX2662" fmla="*/ 120885 w 1317625"/>
              <a:gd name="connsiteY2662" fmla="*/ 180976 h 1344613"/>
              <a:gd name="connsiteX2663" fmla="*/ 120885 w 1317625"/>
              <a:gd name="connsiteY2663" fmla="*/ 189869 h 1344613"/>
              <a:gd name="connsiteX2664" fmla="*/ 120885 w 1317625"/>
              <a:gd name="connsiteY2664" fmla="*/ 205679 h 1344613"/>
              <a:gd name="connsiteX2665" fmla="*/ 116081 w 1317625"/>
              <a:gd name="connsiteY2665" fmla="*/ 211608 h 1344613"/>
              <a:gd name="connsiteX2666" fmla="*/ 111278 w 1317625"/>
              <a:gd name="connsiteY2666" fmla="*/ 216548 h 1344613"/>
              <a:gd name="connsiteX2667" fmla="*/ 106955 w 1317625"/>
              <a:gd name="connsiteY2667" fmla="*/ 220501 h 1344613"/>
              <a:gd name="connsiteX2668" fmla="*/ 102151 w 1317625"/>
              <a:gd name="connsiteY2668" fmla="*/ 224453 h 1344613"/>
              <a:gd name="connsiteX2669" fmla="*/ 98308 w 1317625"/>
              <a:gd name="connsiteY2669" fmla="*/ 226430 h 1344613"/>
              <a:gd name="connsiteX2670" fmla="*/ 94945 w 1317625"/>
              <a:gd name="connsiteY2670" fmla="*/ 228406 h 1344613"/>
              <a:gd name="connsiteX2671" fmla="*/ 91583 w 1317625"/>
              <a:gd name="connsiteY2671" fmla="*/ 229394 h 1344613"/>
              <a:gd name="connsiteX2672" fmla="*/ 89181 w 1317625"/>
              <a:gd name="connsiteY2672" fmla="*/ 229394 h 1344613"/>
              <a:gd name="connsiteX2673" fmla="*/ 81975 w 1317625"/>
              <a:gd name="connsiteY2673" fmla="*/ 228406 h 1344613"/>
              <a:gd name="connsiteX2674" fmla="*/ 76211 w 1317625"/>
              <a:gd name="connsiteY2674" fmla="*/ 226430 h 1344613"/>
              <a:gd name="connsiteX2675" fmla="*/ 71407 w 1317625"/>
              <a:gd name="connsiteY2675" fmla="*/ 223465 h 1344613"/>
              <a:gd name="connsiteX2676" fmla="*/ 67084 w 1317625"/>
              <a:gd name="connsiteY2676" fmla="*/ 218525 h 1344613"/>
              <a:gd name="connsiteX2677" fmla="*/ 57957 w 1317625"/>
              <a:gd name="connsiteY2677" fmla="*/ 209632 h 1344613"/>
              <a:gd name="connsiteX2678" fmla="*/ 47389 w 1317625"/>
              <a:gd name="connsiteY2678" fmla="*/ 199750 h 1344613"/>
              <a:gd name="connsiteX2679" fmla="*/ 946659 w 1317625"/>
              <a:gd name="connsiteY2679" fmla="*/ 0 h 1344613"/>
              <a:gd name="connsiteX2680" fmla="*/ 960955 w 1317625"/>
              <a:gd name="connsiteY2680" fmla="*/ 0 h 1344613"/>
              <a:gd name="connsiteX2681" fmla="*/ 961388 w 1317625"/>
              <a:gd name="connsiteY2681" fmla="*/ 2661 h 1344613"/>
              <a:gd name="connsiteX2682" fmla="*/ 962688 w 1317625"/>
              <a:gd name="connsiteY2682" fmla="*/ 4790 h 1344613"/>
              <a:gd name="connsiteX2683" fmla="*/ 964854 w 1317625"/>
              <a:gd name="connsiteY2683" fmla="*/ 5854 h 1344613"/>
              <a:gd name="connsiteX2684" fmla="*/ 966587 w 1317625"/>
              <a:gd name="connsiteY2684" fmla="*/ 6387 h 1344613"/>
              <a:gd name="connsiteX2685" fmla="*/ 968753 w 1317625"/>
              <a:gd name="connsiteY2685" fmla="*/ 5854 h 1344613"/>
              <a:gd name="connsiteX2686" fmla="*/ 971785 w 1317625"/>
              <a:gd name="connsiteY2686" fmla="*/ 4790 h 1344613"/>
              <a:gd name="connsiteX2687" fmla="*/ 973085 w 1317625"/>
              <a:gd name="connsiteY2687" fmla="*/ 3726 h 1344613"/>
              <a:gd name="connsiteX2688" fmla="*/ 974385 w 1317625"/>
              <a:gd name="connsiteY2688" fmla="*/ 2661 h 1344613"/>
              <a:gd name="connsiteX2689" fmla="*/ 975251 w 1317625"/>
              <a:gd name="connsiteY2689" fmla="*/ 1597 h 1344613"/>
              <a:gd name="connsiteX2690" fmla="*/ 975251 w 1317625"/>
              <a:gd name="connsiteY2690" fmla="*/ 0 h 1344613"/>
              <a:gd name="connsiteX2691" fmla="*/ 977417 w 1317625"/>
              <a:gd name="connsiteY2691" fmla="*/ 1597 h 1344613"/>
              <a:gd name="connsiteX2692" fmla="*/ 979583 w 1317625"/>
              <a:gd name="connsiteY2692" fmla="*/ 3193 h 1344613"/>
              <a:gd name="connsiteX2693" fmla="*/ 981316 w 1317625"/>
              <a:gd name="connsiteY2693" fmla="*/ 3726 h 1344613"/>
              <a:gd name="connsiteX2694" fmla="*/ 983049 w 1317625"/>
              <a:gd name="connsiteY2694" fmla="*/ 4258 h 1344613"/>
              <a:gd name="connsiteX2695" fmla="*/ 986948 w 1317625"/>
              <a:gd name="connsiteY2695" fmla="*/ 4258 h 1344613"/>
              <a:gd name="connsiteX2696" fmla="*/ 990847 w 1317625"/>
              <a:gd name="connsiteY2696" fmla="*/ 3726 h 1344613"/>
              <a:gd name="connsiteX2697" fmla="*/ 997345 w 1317625"/>
              <a:gd name="connsiteY2697" fmla="*/ 1597 h 1344613"/>
              <a:gd name="connsiteX2698" fmla="*/ 1004277 w 1317625"/>
              <a:gd name="connsiteY2698" fmla="*/ 0 h 1344613"/>
              <a:gd name="connsiteX2699" fmla="*/ 1011208 w 1317625"/>
              <a:gd name="connsiteY2699" fmla="*/ 532 h 1344613"/>
              <a:gd name="connsiteX2700" fmla="*/ 1018573 w 1317625"/>
              <a:gd name="connsiteY2700" fmla="*/ 1064 h 1344613"/>
              <a:gd name="connsiteX2701" fmla="*/ 1024638 w 1317625"/>
              <a:gd name="connsiteY2701" fmla="*/ 2129 h 1344613"/>
              <a:gd name="connsiteX2702" fmla="*/ 1031136 w 1317625"/>
              <a:gd name="connsiteY2702" fmla="*/ 3193 h 1344613"/>
              <a:gd name="connsiteX2703" fmla="*/ 1038068 w 1317625"/>
              <a:gd name="connsiteY2703" fmla="*/ 4790 h 1344613"/>
              <a:gd name="connsiteX2704" fmla="*/ 1044566 w 1317625"/>
              <a:gd name="connsiteY2704" fmla="*/ 5854 h 1344613"/>
              <a:gd name="connsiteX2705" fmla="*/ 1051064 w 1317625"/>
              <a:gd name="connsiteY2705" fmla="*/ 6387 h 1344613"/>
              <a:gd name="connsiteX2706" fmla="*/ 1058862 w 1317625"/>
              <a:gd name="connsiteY2706" fmla="*/ 6387 h 1344613"/>
              <a:gd name="connsiteX2707" fmla="*/ 1058862 w 1317625"/>
              <a:gd name="connsiteY2707" fmla="*/ 23418 h 1344613"/>
              <a:gd name="connsiteX2708" fmla="*/ 1058429 w 1317625"/>
              <a:gd name="connsiteY2708" fmla="*/ 26079 h 1344613"/>
              <a:gd name="connsiteX2709" fmla="*/ 1057129 w 1317625"/>
              <a:gd name="connsiteY2709" fmla="*/ 29272 h 1344613"/>
              <a:gd name="connsiteX2710" fmla="*/ 1055830 w 1317625"/>
              <a:gd name="connsiteY2710" fmla="*/ 30869 h 1344613"/>
              <a:gd name="connsiteX2711" fmla="*/ 1054963 w 1317625"/>
              <a:gd name="connsiteY2711" fmla="*/ 31933 h 1344613"/>
              <a:gd name="connsiteX2712" fmla="*/ 1054097 w 1317625"/>
              <a:gd name="connsiteY2712" fmla="*/ 32466 h 1344613"/>
              <a:gd name="connsiteX2713" fmla="*/ 1053230 w 1317625"/>
              <a:gd name="connsiteY2713" fmla="*/ 32998 h 1344613"/>
              <a:gd name="connsiteX2714" fmla="*/ 1044566 w 1317625"/>
              <a:gd name="connsiteY2714" fmla="*/ 32998 h 1344613"/>
              <a:gd name="connsiteX2715" fmla="*/ 1038068 w 1317625"/>
              <a:gd name="connsiteY2715" fmla="*/ 31933 h 1344613"/>
              <a:gd name="connsiteX2716" fmla="*/ 1034602 w 1317625"/>
              <a:gd name="connsiteY2716" fmla="*/ 30337 h 1344613"/>
              <a:gd name="connsiteX2717" fmla="*/ 1031570 w 1317625"/>
              <a:gd name="connsiteY2717" fmla="*/ 28740 h 1344613"/>
              <a:gd name="connsiteX2718" fmla="*/ 1029403 w 1317625"/>
              <a:gd name="connsiteY2718" fmla="*/ 26611 h 1344613"/>
              <a:gd name="connsiteX2719" fmla="*/ 1026804 w 1317625"/>
              <a:gd name="connsiteY2719" fmla="*/ 23418 h 1344613"/>
              <a:gd name="connsiteX2720" fmla="*/ 1001244 w 1317625"/>
              <a:gd name="connsiteY2720" fmla="*/ 23418 h 1344613"/>
              <a:gd name="connsiteX2721" fmla="*/ 1004710 w 1317625"/>
              <a:gd name="connsiteY2721" fmla="*/ 30869 h 1344613"/>
              <a:gd name="connsiteX2722" fmla="*/ 1007743 w 1317625"/>
              <a:gd name="connsiteY2722" fmla="*/ 37256 h 1344613"/>
              <a:gd name="connsiteX2723" fmla="*/ 1012075 w 1317625"/>
              <a:gd name="connsiteY2723" fmla="*/ 43110 h 1344613"/>
              <a:gd name="connsiteX2724" fmla="*/ 1016407 w 1317625"/>
              <a:gd name="connsiteY2724" fmla="*/ 47368 h 1344613"/>
              <a:gd name="connsiteX2725" fmla="*/ 1021172 w 1317625"/>
              <a:gd name="connsiteY2725" fmla="*/ 51094 h 1344613"/>
              <a:gd name="connsiteX2726" fmla="*/ 1026371 w 1317625"/>
              <a:gd name="connsiteY2726" fmla="*/ 54287 h 1344613"/>
              <a:gd name="connsiteX2727" fmla="*/ 1032003 w 1317625"/>
              <a:gd name="connsiteY2727" fmla="*/ 56948 h 1344613"/>
              <a:gd name="connsiteX2728" fmla="*/ 1038501 w 1317625"/>
              <a:gd name="connsiteY2728" fmla="*/ 59077 h 1344613"/>
              <a:gd name="connsiteX2729" fmla="*/ 1035902 w 1317625"/>
              <a:gd name="connsiteY2729" fmla="*/ 63335 h 1344613"/>
              <a:gd name="connsiteX2730" fmla="*/ 1033736 w 1317625"/>
              <a:gd name="connsiteY2730" fmla="*/ 67060 h 1344613"/>
              <a:gd name="connsiteX2731" fmla="*/ 1030703 w 1317625"/>
              <a:gd name="connsiteY2731" fmla="*/ 70254 h 1344613"/>
              <a:gd name="connsiteX2732" fmla="*/ 1028104 w 1317625"/>
              <a:gd name="connsiteY2732" fmla="*/ 72383 h 1344613"/>
              <a:gd name="connsiteX2733" fmla="*/ 1024205 w 1317625"/>
              <a:gd name="connsiteY2733" fmla="*/ 73979 h 1344613"/>
              <a:gd name="connsiteX2734" fmla="*/ 1020739 w 1317625"/>
              <a:gd name="connsiteY2734" fmla="*/ 75044 h 1344613"/>
              <a:gd name="connsiteX2735" fmla="*/ 1016840 w 1317625"/>
              <a:gd name="connsiteY2735" fmla="*/ 75576 h 1344613"/>
              <a:gd name="connsiteX2736" fmla="*/ 1012508 w 1317625"/>
              <a:gd name="connsiteY2736" fmla="*/ 75576 h 1344613"/>
              <a:gd name="connsiteX2737" fmla="*/ 1009475 w 1317625"/>
              <a:gd name="connsiteY2737" fmla="*/ 75576 h 1344613"/>
              <a:gd name="connsiteX2738" fmla="*/ 1006876 w 1317625"/>
              <a:gd name="connsiteY2738" fmla="*/ 75044 h 1344613"/>
              <a:gd name="connsiteX2739" fmla="*/ 1004710 w 1317625"/>
              <a:gd name="connsiteY2739" fmla="*/ 73979 h 1344613"/>
              <a:gd name="connsiteX2740" fmla="*/ 1002544 w 1317625"/>
              <a:gd name="connsiteY2740" fmla="*/ 72383 h 1344613"/>
              <a:gd name="connsiteX2741" fmla="*/ 1000811 w 1317625"/>
              <a:gd name="connsiteY2741" fmla="*/ 71318 h 1344613"/>
              <a:gd name="connsiteX2742" fmla="*/ 999511 w 1317625"/>
              <a:gd name="connsiteY2742" fmla="*/ 70254 h 1344613"/>
              <a:gd name="connsiteX2743" fmla="*/ 997345 w 1317625"/>
              <a:gd name="connsiteY2743" fmla="*/ 69721 h 1344613"/>
              <a:gd name="connsiteX2744" fmla="*/ 995179 w 1317625"/>
              <a:gd name="connsiteY2744" fmla="*/ 69189 h 1344613"/>
              <a:gd name="connsiteX2745" fmla="*/ 993013 w 1317625"/>
              <a:gd name="connsiteY2745" fmla="*/ 68125 h 1344613"/>
              <a:gd name="connsiteX2746" fmla="*/ 991280 w 1317625"/>
              <a:gd name="connsiteY2746" fmla="*/ 66528 h 1344613"/>
              <a:gd name="connsiteX2747" fmla="*/ 989114 w 1317625"/>
              <a:gd name="connsiteY2747" fmla="*/ 64399 h 1344613"/>
              <a:gd name="connsiteX2748" fmla="*/ 987381 w 1317625"/>
              <a:gd name="connsiteY2748" fmla="*/ 61738 h 1344613"/>
              <a:gd name="connsiteX2749" fmla="*/ 986082 w 1317625"/>
              <a:gd name="connsiteY2749" fmla="*/ 58545 h 1344613"/>
              <a:gd name="connsiteX2750" fmla="*/ 984782 w 1317625"/>
              <a:gd name="connsiteY2750" fmla="*/ 55351 h 1344613"/>
              <a:gd name="connsiteX2751" fmla="*/ 984349 w 1317625"/>
              <a:gd name="connsiteY2751" fmla="*/ 52158 h 1344613"/>
              <a:gd name="connsiteX2752" fmla="*/ 983482 w 1317625"/>
              <a:gd name="connsiteY2752" fmla="*/ 49497 h 1344613"/>
              <a:gd name="connsiteX2753" fmla="*/ 980450 w 1317625"/>
              <a:gd name="connsiteY2753" fmla="*/ 48965 h 1344613"/>
              <a:gd name="connsiteX2754" fmla="*/ 977417 w 1317625"/>
              <a:gd name="connsiteY2754" fmla="*/ 47900 h 1344613"/>
              <a:gd name="connsiteX2755" fmla="*/ 976820 w 1317625"/>
              <a:gd name="connsiteY2755" fmla="*/ 47586 h 1344613"/>
              <a:gd name="connsiteX2756" fmla="*/ 976164 w 1317625"/>
              <a:gd name="connsiteY2756" fmla="*/ 48909 h 1344613"/>
              <a:gd name="connsiteX2757" fmla="*/ 974864 w 1317625"/>
              <a:gd name="connsiteY2757" fmla="*/ 51008 h 1344613"/>
              <a:gd name="connsiteX2758" fmla="*/ 973998 w 1317625"/>
              <a:gd name="connsiteY2758" fmla="*/ 53630 h 1344613"/>
              <a:gd name="connsiteX2759" fmla="*/ 973998 w 1317625"/>
              <a:gd name="connsiteY2759" fmla="*/ 56253 h 1344613"/>
              <a:gd name="connsiteX2760" fmla="*/ 968799 w 1317625"/>
              <a:gd name="connsiteY2760" fmla="*/ 55729 h 1344613"/>
              <a:gd name="connsiteX2761" fmla="*/ 963600 w 1317625"/>
              <a:gd name="connsiteY2761" fmla="*/ 54155 h 1344613"/>
              <a:gd name="connsiteX2762" fmla="*/ 958834 w 1317625"/>
              <a:gd name="connsiteY2762" fmla="*/ 52057 h 1344613"/>
              <a:gd name="connsiteX2763" fmla="*/ 956793 w 1317625"/>
              <a:gd name="connsiteY2763" fmla="*/ 50933 h 1344613"/>
              <a:gd name="connsiteX2764" fmla="*/ 959587 w 1317625"/>
              <a:gd name="connsiteY2764" fmla="*/ 53308 h 1344613"/>
              <a:gd name="connsiteX2765" fmla="*/ 963965 w 1317625"/>
              <a:gd name="connsiteY2765" fmla="*/ 55393 h 1344613"/>
              <a:gd name="connsiteX2766" fmla="*/ 967906 w 1317625"/>
              <a:gd name="connsiteY2766" fmla="*/ 56956 h 1344613"/>
              <a:gd name="connsiteX2767" fmla="*/ 972284 w 1317625"/>
              <a:gd name="connsiteY2767" fmla="*/ 57477 h 1344613"/>
              <a:gd name="connsiteX2768" fmla="*/ 963527 w 1317625"/>
              <a:gd name="connsiteY2768" fmla="*/ 76757 h 1344613"/>
              <a:gd name="connsiteX2769" fmla="*/ 965279 w 1317625"/>
              <a:gd name="connsiteY2769" fmla="*/ 79363 h 1344613"/>
              <a:gd name="connsiteX2770" fmla="*/ 967030 w 1317625"/>
              <a:gd name="connsiteY2770" fmla="*/ 81968 h 1344613"/>
              <a:gd name="connsiteX2771" fmla="*/ 969219 w 1317625"/>
              <a:gd name="connsiteY2771" fmla="*/ 84574 h 1344613"/>
              <a:gd name="connsiteX2772" fmla="*/ 971408 w 1317625"/>
              <a:gd name="connsiteY2772" fmla="*/ 87179 h 1344613"/>
              <a:gd name="connsiteX2773" fmla="*/ 976224 w 1317625"/>
              <a:gd name="connsiteY2773" fmla="*/ 90306 h 1344613"/>
              <a:gd name="connsiteX2774" fmla="*/ 981040 w 1317625"/>
              <a:gd name="connsiteY2774" fmla="*/ 93432 h 1344613"/>
              <a:gd name="connsiteX2775" fmla="*/ 990672 w 1317625"/>
              <a:gd name="connsiteY2775" fmla="*/ 98122 h 1344613"/>
              <a:gd name="connsiteX2776" fmla="*/ 998115 w 1317625"/>
              <a:gd name="connsiteY2776" fmla="*/ 102291 h 1344613"/>
              <a:gd name="connsiteX2777" fmla="*/ 997240 w 1317625"/>
              <a:gd name="connsiteY2777" fmla="*/ 106459 h 1344613"/>
              <a:gd name="connsiteX2778" fmla="*/ 995926 w 1317625"/>
              <a:gd name="connsiteY2778" fmla="*/ 110107 h 1344613"/>
              <a:gd name="connsiteX2779" fmla="*/ 994613 w 1317625"/>
              <a:gd name="connsiteY2779" fmla="*/ 112712 h 1344613"/>
              <a:gd name="connsiteX2780" fmla="*/ 992861 w 1317625"/>
              <a:gd name="connsiteY2780" fmla="*/ 114797 h 1344613"/>
              <a:gd name="connsiteX2781" fmla="*/ 991548 w 1317625"/>
              <a:gd name="connsiteY2781" fmla="*/ 117923 h 1344613"/>
              <a:gd name="connsiteX2782" fmla="*/ 990672 w 1317625"/>
              <a:gd name="connsiteY2782" fmla="*/ 120529 h 1344613"/>
              <a:gd name="connsiteX2783" fmla="*/ 990235 w 1317625"/>
              <a:gd name="connsiteY2783" fmla="*/ 124176 h 1344613"/>
              <a:gd name="connsiteX2784" fmla="*/ 989797 w 1317625"/>
              <a:gd name="connsiteY2784" fmla="*/ 128345 h 1344613"/>
              <a:gd name="connsiteX2785" fmla="*/ 990235 w 1317625"/>
              <a:gd name="connsiteY2785" fmla="*/ 131993 h 1344613"/>
              <a:gd name="connsiteX2786" fmla="*/ 991986 w 1317625"/>
              <a:gd name="connsiteY2786" fmla="*/ 136161 h 1344613"/>
              <a:gd name="connsiteX2787" fmla="*/ 994613 w 1317625"/>
              <a:gd name="connsiteY2787" fmla="*/ 140330 h 1344613"/>
              <a:gd name="connsiteX2788" fmla="*/ 997240 w 1317625"/>
              <a:gd name="connsiteY2788" fmla="*/ 145020 h 1344613"/>
              <a:gd name="connsiteX2789" fmla="*/ 1000304 w 1317625"/>
              <a:gd name="connsiteY2789" fmla="*/ 148667 h 1344613"/>
              <a:gd name="connsiteX2790" fmla="*/ 1002931 w 1317625"/>
              <a:gd name="connsiteY2790" fmla="*/ 151273 h 1344613"/>
              <a:gd name="connsiteX2791" fmla="*/ 1005558 w 1317625"/>
              <a:gd name="connsiteY2791" fmla="*/ 153357 h 1344613"/>
              <a:gd name="connsiteX2792" fmla="*/ 1006872 w 1317625"/>
              <a:gd name="connsiteY2792" fmla="*/ 153878 h 1344613"/>
              <a:gd name="connsiteX2793" fmla="*/ 1007310 w 1317625"/>
              <a:gd name="connsiteY2793" fmla="*/ 162216 h 1344613"/>
              <a:gd name="connsiteX2794" fmla="*/ 1008185 w 1317625"/>
              <a:gd name="connsiteY2794" fmla="*/ 170032 h 1344613"/>
              <a:gd name="connsiteX2795" fmla="*/ 1010374 w 1317625"/>
              <a:gd name="connsiteY2795" fmla="*/ 177848 h 1344613"/>
              <a:gd name="connsiteX2796" fmla="*/ 1012563 w 1317625"/>
              <a:gd name="connsiteY2796" fmla="*/ 184102 h 1344613"/>
              <a:gd name="connsiteX2797" fmla="*/ 1015190 w 1317625"/>
              <a:gd name="connsiteY2797" fmla="*/ 189834 h 1344613"/>
              <a:gd name="connsiteX2798" fmla="*/ 1018255 w 1317625"/>
              <a:gd name="connsiteY2798" fmla="*/ 195044 h 1344613"/>
              <a:gd name="connsiteX2799" fmla="*/ 1022195 w 1317625"/>
              <a:gd name="connsiteY2799" fmla="*/ 199734 h 1344613"/>
              <a:gd name="connsiteX2800" fmla="*/ 1026136 w 1317625"/>
              <a:gd name="connsiteY2800" fmla="*/ 204424 h 1344613"/>
              <a:gd name="connsiteX2801" fmla="*/ 1030514 w 1317625"/>
              <a:gd name="connsiteY2801" fmla="*/ 208593 h 1344613"/>
              <a:gd name="connsiteX2802" fmla="*/ 1034892 w 1317625"/>
              <a:gd name="connsiteY2802" fmla="*/ 212240 h 1344613"/>
              <a:gd name="connsiteX2803" fmla="*/ 1039271 w 1317625"/>
              <a:gd name="connsiteY2803" fmla="*/ 215888 h 1344613"/>
              <a:gd name="connsiteX2804" fmla="*/ 1044087 w 1317625"/>
              <a:gd name="connsiteY2804" fmla="*/ 219014 h 1344613"/>
              <a:gd name="connsiteX2805" fmla="*/ 1053719 w 1317625"/>
              <a:gd name="connsiteY2805" fmla="*/ 224746 h 1344613"/>
              <a:gd name="connsiteX2806" fmla="*/ 1062037 w 1317625"/>
              <a:gd name="connsiteY2806" fmla="*/ 230478 h 1344613"/>
              <a:gd name="connsiteX2807" fmla="*/ 1045400 w 1317625"/>
              <a:gd name="connsiteY2807" fmla="*/ 247674 h 1344613"/>
              <a:gd name="connsiteX2808" fmla="*/ 1029638 w 1317625"/>
              <a:gd name="connsiteY2808" fmla="*/ 265391 h 1344613"/>
              <a:gd name="connsiteX2809" fmla="*/ 1022195 w 1317625"/>
              <a:gd name="connsiteY2809" fmla="*/ 273729 h 1344613"/>
              <a:gd name="connsiteX2810" fmla="*/ 1015190 w 1317625"/>
              <a:gd name="connsiteY2810" fmla="*/ 282587 h 1344613"/>
              <a:gd name="connsiteX2811" fmla="*/ 1007747 w 1317625"/>
              <a:gd name="connsiteY2811" fmla="*/ 292488 h 1344613"/>
              <a:gd name="connsiteX2812" fmla="*/ 1001180 w 1317625"/>
              <a:gd name="connsiteY2812" fmla="*/ 301346 h 1344613"/>
              <a:gd name="connsiteX2813" fmla="*/ 996802 w 1317625"/>
              <a:gd name="connsiteY2813" fmla="*/ 301346 h 1344613"/>
              <a:gd name="connsiteX2814" fmla="*/ 992424 w 1317625"/>
              <a:gd name="connsiteY2814" fmla="*/ 301346 h 1344613"/>
              <a:gd name="connsiteX2815" fmla="*/ 957836 w 1317625"/>
              <a:gd name="connsiteY2815" fmla="*/ 301346 h 1344613"/>
              <a:gd name="connsiteX2816" fmla="*/ 956084 w 1317625"/>
              <a:gd name="connsiteY2816" fmla="*/ 304994 h 1344613"/>
              <a:gd name="connsiteX2817" fmla="*/ 953458 w 1317625"/>
              <a:gd name="connsiteY2817" fmla="*/ 307599 h 1344613"/>
              <a:gd name="connsiteX2818" fmla="*/ 950831 w 1317625"/>
              <a:gd name="connsiteY2818" fmla="*/ 310205 h 1344613"/>
              <a:gd name="connsiteX2819" fmla="*/ 947766 w 1317625"/>
              <a:gd name="connsiteY2819" fmla="*/ 311768 h 1344613"/>
              <a:gd name="connsiteX2820" fmla="*/ 944263 w 1317625"/>
              <a:gd name="connsiteY2820" fmla="*/ 313852 h 1344613"/>
              <a:gd name="connsiteX2821" fmla="*/ 941199 w 1317625"/>
              <a:gd name="connsiteY2821" fmla="*/ 314895 h 1344613"/>
              <a:gd name="connsiteX2822" fmla="*/ 937258 w 1317625"/>
              <a:gd name="connsiteY2822" fmla="*/ 315937 h 1344613"/>
              <a:gd name="connsiteX2823" fmla="*/ 933318 w 1317625"/>
              <a:gd name="connsiteY2823" fmla="*/ 316458 h 1344613"/>
              <a:gd name="connsiteX2824" fmla="*/ 924999 w 1317625"/>
              <a:gd name="connsiteY2824" fmla="*/ 317500 h 1344613"/>
              <a:gd name="connsiteX2825" fmla="*/ 917118 w 1317625"/>
              <a:gd name="connsiteY2825" fmla="*/ 317500 h 1344613"/>
              <a:gd name="connsiteX2826" fmla="*/ 909238 w 1317625"/>
              <a:gd name="connsiteY2826" fmla="*/ 317500 h 1344613"/>
              <a:gd name="connsiteX2827" fmla="*/ 902670 w 1317625"/>
              <a:gd name="connsiteY2827" fmla="*/ 317500 h 1344613"/>
              <a:gd name="connsiteX2828" fmla="*/ 894352 w 1317625"/>
              <a:gd name="connsiteY2828" fmla="*/ 316979 h 1344613"/>
              <a:gd name="connsiteX2829" fmla="*/ 887784 w 1317625"/>
              <a:gd name="connsiteY2829" fmla="*/ 316458 h 1344613"/>
              <a:gd name="connsiteX2830" fmla="*/ 885157 w 1317625"/>
              <a:gd name="connsiteY2830" fmla="*/ 315937 h 1344613"/>
              <a:gd name="connsiteX2831" fmla="*/ 883406 w 1317625"/>
              <a:gd name="connsiteY2831" fmla="*/ 314895 h 1344613"/>
              <a:gd name="connsiteX2832" fmla="*/ 882530 w 1317625"/>
              <a:gd name="connsiteY2832" fmla="*/ 313331 h 1344613"/>
              <a:gd name="connsiteX2833" fmla="*/ 882093 w 1317625"/>
              <a:gd name="connsiteY2833" fmla="*/ 311247 h 1344613"/>
              <a:gd name="connsiteX2834" fmla="*/ 877277 w 1317625"/>
              <a:gd name="connsiteY2834" fmla="*/ 310726 h 1344613"/>
              <a:gd name="connsiteX2835" fmla="*/ 872461 w 1317625"/>
              <a:gd name="connsiteY2835" fmla="*/ 309684 h 1344613"/>
              <a:gd name="connsiteX2836" fmla="*/ 867207 w 1317625"/>
              <a:gd name="connsiteY2836" fmla="*/ 307599 h 1344613"/>
              <a:gd name="connsiteX2837" fmla="*/ 861953 w 1317625"/>
              <a:gd name="connsiteY2837" fmla="*/ 305515 h 1344613"/>
              <a:gd name="connsiteX2838" fmla="*/ 857137 w 1317625"/>
              <a:gd name="connsiteY2838" fmla="*/ 302910 h 1344613"/>
              <a:gd name="connsiteX2839" fmla="*/ 853634 w 1317625"/>
              <a:gd name="connsiteY2839" fmla="*/ 300304 h 1344613"/>
              <a:gd name="connsiteX2840" fmla="*/ 852321 w 1317625"/>
              <a:gd name="connsiteY2840" fmla="*/ 299262 h 1344613"/>
              <a:gd name="connsiteX2841" fmla="*/ 851007 w 1317625"/>
              <a:gd name="connsiteY2841" fmla="*/ 297699 h 1344613"/>
              <a:gd name="connsiteX2842" fmla="*/ 850132 w 1317625"/>
              <a:gd name="connsiteY2842" fmla="*/ 296657 h 1344613"/>
              <a:gd name="connsiteX2843" fmla="*/ 850132 w 1317625"/>
              <a:gd name="connsiteY2843" fmla="*/ 295093 h 1344613"/>
              <a:gd name="connsiteX2844" fmla="*/ 850132 w 1317625"/>
              <a:gd name="connsiteY2844" fmla="*/ 293009 h 1344613"/>
              <a:gd name="connsiteX2845" fmla="*/ 851007 w 1317625"/>
              <a:gd name="connsiteY2845" fmla="*/ 290404 h 1344613"/>
              <a:gd name="connsiteX2846" fmla="*/ 852321 w 1317625"/>
              <a:gd name="connsiteY2846" fmla="*/ 287798 h 1344613"/>
              <a:gd name="connsiteX2847" fmla="*/ 853196 w 1317625"/>
              <a:gd name="connsiteY2847" fmla="*/ 285714 h 1344613"/>
              <a:gd name="connsiteX2848" fmla="*/ 854948 w 1317625"/>
              <a:gd name="connsiteY2848" fmla="*/ 282066 h 1344613"/>
              <a:gd name="connsiteX2849" fmla="*/ 855823 w 1317625"/>
              <a:gd name="connsiteY2849" fmla="*/ 278940 h 1344613"/>
              <a:gd name="connsiteX2850" fmla="*/ 855386 w 1317625"/>
              <a:gd name="connsiteY2850" fmla="*/ 276334 h 1344613"/>
              <a:gd name="connsiteX2851" fmla="*/ 854948 w 1317625"/>
              <a:gd name="connsiteY2851" fmla="*/ 273729 h 1344613"/>
              <a:gd name="connsiteX2852" fmla="*/ 854510 w 1317625"/>
              <a:gd name="connsiteY2852" fmla="*/ 271644 h 1344613"/>
              <a:gd name="connsiteX2853" fmla="*/ 853634 w 1317625"/>
              <a:gd name="connsiteY2853" fmla="*/ 269560 h 1344613"/>
              <a:gd name="connsiteX2854" fmla="*/ 851007 w 1317625"/>
              <a:gd name="connsiteY2854" fmla="*/ 266433 h 1344613"/>
              <a:gd name="connsiteX2855" fmla="*/ 848818 w 1317625"/>
              <a:gd name="connsiteY2855" fmla="*/ 263828 h 1344613"/>
              <a:gd name="connsiteX2856" fmla="*/ 845753 w 1317625"/>
              <a:gd name="connsiteY2856" fmla="*/ 261744 h 1344613"/>
              <a:gd name="connsiteX2857" fmla="*/ 843564 w 1317625"/>
              <a:gd name="connsiteY2857" fmla="*/ 259138 h 1344613"/>
              <a:gd name="connsiteX2858" fmla="*/ 842689 w 1317625"/>
              <a:gd name="connsiteY2858" fmla="*/ 257575 h 1344613"/>
              <a:gd name="connsiteX2859" fmla="*/ 841813 w 1317625"/>
              <a:gd name="connsiteY2859" fmla="*/ 256533 h 1344613"/>
              <a:gd name="connsiteX2860" fmla="*/ 841375 w 1317625"/>
              <a:gd name="connsiteY2860" fmla="*/ 254970 h 1344613"/>
              <a:gd name="connsiteX2861" fmla="*/ 841375 w 1317625"/>
              <a:gd name="connsiteY2861" fmla="*/ 253406 h 1344613"/>
              <a:gd name="connsiteX2862" fmla="*/ 841813 w 1317625"/>
              <a:gd name="connsiteY2862" fmla="*/ 248195 h 1344613"/>
              <a:gd name="connsiteX2863" fmla="*/ 843564 w 1317625"/>
              <a:gd name="connsiteY2863" fmla="*/ 242985 h 1344613"/>
              <a:gd name="connsiteX2864" fmla="*/ 845753 w 1317625"/>
              <a:gd name="connsiteY2864" fmla="*/ 237774 h 1344613"/>
              <a:gd name="connsiteX2865" fmla="*/ 848818 w 1317625"/>
              <a:gd name="connsiteY2865" fmla="*/ 232042 h 1344613"/>
              <a:gd name="connsiteX2866" fmla="*/ 852759 w 1317625"/>
              <a:gd name="connsiteY2866" fmla="*/ 226310 h 1344613"/>
              <a:gd name="connsiteX2867" fmla="*/ 857575 w 1317625"/>
              <a:gd name="connsiteY2867" fmla="*/ 220578 h 1344613"/>
              <a:gd name="connsiteX2868" fmla="*/ 862391 w 1317625"/>
              <a:gd name="connsiteY2868" fmla="*/ 215367 h 1344613"/>
              <a:gd name="connsiteX2869" fmla="*/ 867645 w 1317625"/>
              <a:gd name="connsiteY2869" fmla="*/ 210156 h 1344613"/>
              <a:gd name="connsiteX2870" fmla="*/ 873336 w 1317625"/>
              <a:gd name="connsiteY2870" fmla="*/ 205466 h 1344613"/>
              <a:gd name="connsiteX2871" fmla="*/ 879028 w 1317625"/>
              <a:gd name="connsiteY2871" fmla="*/ 200255 h 1344613"/>
              <a:gd name="connsiteX2872" fmla="*/ 884720 w 1317625"/>
              <a:gd name="connsiteY2872" fmla="*/ 196087 h 1344613"/>
              <a:gd name="connsiteX2873" fmla="*/ 890411 w 1317625"/>
              <a:gd name="connsiteY2873" fmla="*/ 192960 h 1344613"/>
              <a:gd name="connsiteX2874" fmla="*/ 895665 w 1317625"/>
              <a:gd name="connsiteY2874" fmla="*/ 189834 h 1344613"/>
              <a:gd name="connsiteX2875" fmla="*/ 901795 w 1317625"/>
              <a:gd name="connsiteY2875" fmla="*/ 187749 h 1344613"/>
              <a:gd name="connsiteX2876" fmla="*/ 906611 w 1317625"/>
              <a:gd name="connsiteY2876" fmla="*/ 186186 h 1344613"/>
              <a:gd name="connsiteX2877" fmla="*/ 911427 w 1317625"/>
              <a:gd name="connsiteY2877" fmla="*/ 186186 h 1344613"/>
              <a:gd name="connsiteX2878" fmla="*/ 914054 w 1317625"/>
              <a:gd name="connsiteY2878" fmla="*/ 183059 h 1344613"/>
              <a:gd name="connsiteX2879" fmla="*/ 911427 w 1317625"/>
              <a:gd name="connsiteY2879" fmla="*/ 182538 h 1344613"/>
              <a:gd name="connsiteX2880" fmla="*/ 909238 w 1317625"/>
              <a:gd name="connsiteY2880" fmla="*/ 182017 h 1344613"/>
              <a:gd name="connsiteX2881" fmla="*/ 907048 w 1317625"/>
              <a:gd name="connsiteY2881" fmla="*/ 181496 h 1344613"/>
              <a:gd name="connsiteX2882" fmla="*/ 904859 w 1317625"/>
              <a:gd name="connsiteY2882" fmla="*/ 180454 h 1344613"/>
              <a:gd name="connsiteX2883" fmla="*/ 903546 w 1317625"/>
              <a:gd name="connsiteY2883" fmla="*/ 179412 h 1344613"/>
              <a:gd name="connsiteX2884" fmla="*/ 902232 w 1317625"/>
              <a:gd name="connsiteY2884" fmla="*/ 178369 h 1344613"/>
              <a:gd name="connsiteX2885" fmla="*/ 900481 w 1317625"/>
              <a:gd name="connsiteY2885" fmla="*/ 176806 h 1344613"/>
              <a:gd name="connsiteX2886" fmla="*/ 899605 w 1317625"/>
              <a:gd name="connsiteY2886" fmla="*/ 175243 h 1344613"/>
              <a:gd name="connsiteX2887" fmla="*/ 898292 w 1317625"/>
              <a:gd name="connsiteY2887" fmla="*/ 171595 h 1344613"/>
              <a:gd name="connsiteX2888" fmla="*/ 897416 w 1317625"/>
              <a:gd name="connsiteY2888" fmla="*/ 167427 h 1344613"/>
              <a:gd name="connsiteX2889" fmla="*/ 896979 w 1317625"/>
              <a:gd name="connsiteY2889" fmla="*/ 163779 h 1344613"/>
              <a:gd name="connsiteX2890" fmla="*/ 896979 w 1317625"/>
              <a:gd name="connsiteY2890" fmla="*/ 160131 h 1344613"/>
              <a:gd name="connsiteX2891" fmla="*/ 896541 w 1317625"/>
              <a:gd name="connsiteY2891" fmla="*/ 152836 h 1344613"/>
              <a:gd name="connsiteX2892" fmla="*/ 895665 w 1317625"/>
              <a:gd name="connsiteY2892" fmla="*/ 146062 h 1344613"/>
              <a:gd name="connsiteX2893" fmla="*/ 894352 w 1317625"/>
              <a:gd name="connsiteY2893" fmla="*/ 139288 h 1344613"/>
              <a:gd name="connsiteX2894" fmla="*/ 893476 w 1317625"/>
              <a:gd name="connsiteY2894" fmla="*/ 133556 h 1344613"/>
              <a:gd name="connsiteX2895" fmla="*/ 891725 w 1317625"/>
              <a:gd name="connsiteY2895" fmla="*/ 128345 h 1344613"/>
              <a:gd name="connsiteX2896" fmla="*/ 889536 w 1317625"/>
              <a:gd name="connsiteY2896" fmla="*/ 123655 h 1344613"/>
              <a:gd name="connsiteX2897" fmla="*/ 887784 w 1317625"/>
              <a:gd name="connsiteY2897" fmla="*/ 118965 h 1344613"/>
              <a:gd name="connsiteX2898" fmla="*/ 885157 w 1317625"/>
              <a:gd name="connsiteY2898" fmla="*/ 114276 h 1344613"/>
              <a:gd name="connsiteX2899" fmla="*/ 880341 w 1317625"/>
              <a:gd name="connsiteY2899" fmla="*/ 106459 h 1344613"/>
              <a:gd name="connsiteX2900" fmla="*/ 875525 w 1317625"/>
              <a:gd name="connsiteY2900" fmla="*/ 98643 h 1344613"/>
              <a:gd name="connsiteX2901" fmla="*/ 871147 w 1317625"/>
              <a:gd name="connsiteY2901" fmla="*/ 91348 h 1344613"/>
              <a:gd name="connsiteX2902" fmla="*/ 867645 w 1317625"/>
              <a:gd name="connsiteY2902" fmla="*/ 83010 h 1344613"/>
              <a:gd name="connsiteX2903" fmla="*/ 873774 w 1317625"/>
              <a:gd name="connsiteY2903" fmla="*/ 78842 h 1344613"/>
              <a:gd name="connsiteX2904" fmla="*/ 879028 w 1317625"/>
              <a:gd name="connsiteY2904" fmla="*/ 75715 h 1344613"/>
              <a:gd name="connsiteX2905" fmla="*/ 882093 w 1317625"/>
              <a:gd name="connsiteY2905" fmla="*/ 74673 h 1344613"/>
              <a:gd name="connsiteX2906" fmla="*/ 884720 w 1317625"/>
              <a:gd name="connsiteY2906" fmla="*/ 74152 h 1344613"/>
              <a:gd name="connsiteX2907" fmla="*/ 885793 w 1317625"/>
              <a:gd name="connsiteY2907" fmla="*/ 73969 h 1344613"/>
              <a:gd name="connsiteX2908" fmla="*/ 884672 w 1317625"/>
              <a:gd name="connsiteY2908" fmla="*/ 72529 h 1344613"/>
              <a:gd name="connsiteX2909" fmla="*/ 881719 w 1317625"/>
              <a:gd name="connsiteY2909" fmla="*/ 73039 h 1344613"/>
              <a:gd name="connsiteX2910" fmla="*/ 879120 w 1317625"/>
              <a:gd name="connsiteY2910" fmla="*/ 73564 h 1344613"/>
              <a:gd name="connsiteX2911" fmla="*/ 875654 w 1317625"/>
              <a:gd name="connsiteY2911" fmla="*/ 74613 h 1344613"/>
              <a:gd name="connsiteX2912" fmla="*/ 869589 w 1317625"/>
              <a:gd name="connsiteY2912" fmla="*/ 77760 h 1344613"/>
              <a:gd name="connsiteX2913" fmla="*/ 861790 w 1317625"/>
              <a:gd name="connsiteY2913" fmla="*/ 81957 h 1344613"/>
              <a:gd name="connsiteX2914" fmla="*/ 858325 w 1317625"/>
              <a:gd name="connsiteY2914" fmla="*/ 81957 h 1344613"/>
              <a:gd name="connsiteX2915" fmla="*/ 856158 w 1317625"/>
              <a:gd name="connsiteY2915" fmla="*/ 81432 h 1344613"/>
              <a:gd name="connsiteX2916" fmla="*/ 853126 w 1317625"/>
              <a:gd name="connsiteY2916" fmla="*/ 80383 h 1344613"/>
              <a:gd name="connsiteX2917" fmla="*/ 851393 w 1317625"/>
              <a:gd name="connsiteY2917" fmla="*/ 79334 h 1344613"/>
              <a:gd name="connsiteX2918" fmla="*/ 847060 w 1317625"/>
              <a:gd name="connsiteY2918" fmla="*/ 76711 h 1344613"/>
              <a:gd name="connsiteX2919" fmla="*/ 843595 w 1317625"/>
              <a:gd name="connsiteY2919" fmla="*/ 73039 h 1344613"/>
              <a:gd name="connsiteX2920" fmla="*/ 840562 w 1317625"/>
              <a:gd name="connsiteY2920" fmla="*/ 69367 h 1344613"/>
              <a:gd name="connsiteX2921" fmla="*/ 837529 w 1317625"/>
              <a:gd name="connsiteY2921" fmla="*/ 65695 h 1344613"/>
              <a:gd name="connsiteX2922" fmla="*/ 834064 w 1317625"/>
              <a:gd name="connsiteY2922" fmla="*/ 62548 h 1344613"/>
              <a:gd name="connsiteX2923" fmla="*/ 830164 w 1317625"/>
              <a:gd name="connsiteY2923" fmla="*/ 59925 h 1344613"/>
              <a:gd name="connsiteX2924" fmla="*/ 826699 w 1317625"/>
              <a:gd name="connsiteY2924" fmla="*/ 62548 h 1344613"/>
              <a:gd name="connsiteX2925" fmla="*/ 823233 w 1317625"/>
              <a:gd name="connsiteY2925" fmla="*/ 64646 h 1344613"/>
              <a:gd name="connsiteX2926" fmla="*/ 819767 w 1317625"/>
              <a:gd name="connsiteY2926" fmla="*/ 66744 h 1344613"/>
              <a:gd name="connsiteX2927" fmla="*/ 816734 w 1317625"/>
              <a:gd name="connsiteY2927" fmla="*/ 68318 h 1344613"/>
              <a:gd name="connsiteX2928" fmla="*/ 809369 w 1317625"/>
              <a:gd name="connsiteY2928" fmla="*/ 71466 h 1344613"/>
              <a:gd name="connsiteX2929" fmla="*/ 802004 w 1317625"/>
              <a:gd name="connsiteY2929" fmla="*/ 73039 h 1344613"/>
              <a:gd name="connsiteX2930" fmla="*/ 794206 w 1317625"/>
              <a:gd name="connsiteY2930" fmla="*/ 75138 h 1344613"/>
              <a:gd name="connsiteX2931" fmla="*/ 786408 w 1317625"/>
              <a:gd name="connsiteY2931" fmla="*/ 76711 h 1344613"/>
              <a:gd name="connsiteX2932" fmla="*/ 778177 w 1317625"/>
              <a:gd name="connsiteY2932" fmla="*/ 78809 h 1344613"/>
              <a:gd name="connsiteX2933" fmla="*/ 769512 w 1317625"/>
              <a:gd name="connsiteY2933" fmla="*/ 81957 h 1344613"/>
              <a:gd name="connsiteX2934" fmla="*/ 768212 w 1317625"/>
              <a:gd name="connsiteY2934" fmla="*/ 82481 h 1344613"/>
              <a:gd name="connsiteX2935" fmla="*/ 766046 w 1317625"/>
              <a:gd name="connsiteY2935" fmla="*/ 83006 h 1344613"/>
              <a:gd name="connsiteX2936" fmla="*/ 764746 w 1317625"/>
              <a:gd name="connsiteY2936" fmla="*/ 84580 h 1344613"/>
              <a:gd name="connsiteX2937" fmla="*/ 763013 w 1317625"/>
              <a:gd name="connsiteY2937" fmla="*/ 86678 h 1344613"/>
              <a:gd name="connsiteX2938" fmla="*/ 759114 w 1317625"/>
              <a:gd name="connsiteY2938" fmla="*/ 91399 h 1344613"/>
              <a:gd name="connsiteX2939" fmla="*/ 755648 w 1317625"/>
              <a:gd name="connsiteY2939" fmla="*/ 97169 h 1344613"/>
              <a:gd name="connsiteX2940" fmla="*/ 755503 w 1317625"/>
              <a:gd name="connsiteY2940" fmla="*/ 97470 h 1344613"/>
              <a:gd name="connsiteX2941" fmla="*/ 758108 w 1317625"/>
              <a:gd name="connsiteY2941" fmla="*/ 93243 h 1344613"/>
              <a:gd name="connsiteX2942" fmla="*/ 762090 w 1317625"/>
              <a:gd name="connsiteY2942" fmla="*/ 88544 h 1344613"/>
              <a:gd name="connsiteX2943" fmla="*/ 763860 w 1317625"/>
              <a:gd name="connsiteY2943" fmla="*/ 86455 h 1344613"/>
              <a:gd name="connsiteX2944" fmla="*/ 765187 w 1317625"/>
              <a:gd name="connsiteY2944" fmla="*/ 84889 h 1344613"/>
              <a:gd name="connsiteX2945" fmla="*/ 767400 w 1317625"/>
              <a:gd name="connsiteY2945" fmla="*/ 84366 h 1344613"/>
              <a:gd name="connsiteX2946" fmla="*/ 768727 w 1317625"/>
              <a:gd name="connsiteY2946" fmla="*/ 83844 h 1344613"/>
              <a:gd name="connsiteX2947" fmla="*/ 777576 w 1317625"/>
              <a:gd name="connsiteY2947" fmla="*/ 80711 h 1344613"/>
              <a:gd name="connsiteX2948" fmla="*/ 785983 w 1317625"/>
              <a:gd name="connsiteY2948" fmla="*/ 78623 h 1344613"/>
              <a:gd name="connsiteX2949" fmla="*/ 793948 w 1317625"/>
              <a:gd name="connsiteY2949" fmla="*/ 77056 h 1344613"/>
              <a:gd name="connsiteX2950" fmla="*/ 801912 w 1317625"/>
              <a:gd name="connsiteY2950" fmla="*/ 74967 h 1344613"/>
              <a:gd name="connsiteX2951" fmla="*/ 809434 w 1317625"/>
              <a:gd name="connsiteY2951" fmla="*/ 73401 h 1344613"/>
              <a:gd name="connsiteX2952" fmla="*/ 816956 w 1317625"/>
              <a:gd name="connsiteY2952" fmla="*/ 70268 h 1344613"/>
              <a:gd name="connsiteX2953" fmla="*/ 820053 w 1317625"/>
              <a:gd name="connsiteY2953" fmla="*/ 68701 h 1344613"/>
              <a:gd name="connsiteX2954" fmla="*/ 823593 w 1317625"/>
              <a:gd name="connsiteY2954" fmla="*/ 66613 h 1344613"/>
              <a:gd name="connsiteX2955" fmla="*/ 827133 w 1317625"/>
              <a:gd name="connsiteY2955" fmla="*/ 64524 h 1344613"/>
              <a:gd name="connsiteX2956" fmla="*/ 830672 w 1317625"/>
              <a:gd name="connsiteY2956" fmla="*/ 61913 h 1344613"/>
              <a:gd name="connsiteX2957" fmla="*/ 834655 w 1317625"/>
              <a:gd name="connsiteY2957" fmla="*/ 64524 h 1344613"/>
              <a:gd name="connsiteX2958" fmla="*/ 838194 w 1317625"/>
              <a:gd name="connsiteY2958" fmla="*/ 67657 h 1344613"/>
              <a:gd name="connsiteX2959" fmla="*/ 841292 w 1317625"/>
              <a:gd name="connsiteY2959" fmla="*/ 71312 h 1344613"/>
              <a:gd name="connsiteX2960" fmla="*/ 844389 w 1317625"/>
              <a:gd name="connsiteY2960" fmla="*/ 74967 h 1344613"/>
              <a:gd name="connsiteX2961" fmla="*/ 847929 w 1317625"/>
              <a:gd name="connsiteY2961" fmla="*/ 78623 h 1344613"/>
              <a:gd name="connsiteX2962" fmla="*/ 852353 w 1317625"/>
              <a:gd name="connsiteY2962" fmla="*/ 81233 h 1344613"/>
              <a:gd name="connsiteX2963" fmla="*/ 854123 w 1317625"/>
              <a:gd name="connsiteY2963" fmla="*/ 82278 h 1344613"/>
              <a:gd name="connsiteX2964" fmla="*/ 857220 w 1317625"/>
              <a:gd name="connsiteY2964" fmla="*/ 83322 h 1344613"/>
              <a:gd name="connsiteX2965" fmla="*/ 859433 w 1317625"/>
              <a:gd name="connsiteY2965" fmla="*/ 83844 h 1344613"/>
              <a:gd name="connsiteX2966" fmla="*/ 862972 w 1317625"/>
              <a:gd name="connsiteY2966" fmla="*/ 83844 h 1344613"/>
              <a:gd name="connsiteX2967" fmla="*/ 872707 w 1317625"/>
              <a:gd name="connsiteY2967" fmla="*/ 99510 h 1344613"/>
              <a:gd name="connsiteX2968" fmla="*/ 881999 w 1317625"/>
              <a:gd name="connsiteY2968" fmla="*/ 115175 h 1344613"/>
              <a:gd name="connsiteX2969" fmla="*/ 884211 w 1317625"/>
              <a:gd name="connsiteY2969" fmla="*/ 119874 h 1344613"/>
              <a:gd name="connsiteX2970" fmla="*/ 886423 w 1317625"/>
              <a:gd name="connsiteY2970" fmla="*/ 124574 h 1344613"/>
              <a:gd name="connsiteX2971" fmla="*/ 887751 w 1317625"/>
              <a:gd name="connsiteY2971" fmla="*/ 129274 h 1344613"/>
              <a:gd name="connsiteX2972" fmla="*/ 889078 w 1317625"/>
              <a:gd name="connsiteY2972" fmla="*/ 134495 h 1344613"/>
              <a:gd name="connsiteX2973" fmla="*/ 890848 w 1317625"/>
              <a:gd name="connsiteY2973" fmla="*/ 140239 h 1344613"/>
              <a:gd name="connsiteX2974" fmla="*/ 891733 w 1317625"/>
              <a:gd name="connsiteY2974" fmla="*/ 147028 h 1344613"/>
              <a:gd name="connsiteX2975" fmla="*/ 892175 w 1317625"/>
              <a:gd name="connsiteY2975" fmla="*/ 153816 h 1344613"/>
              <a:gd name="connsiteX2976" fmla="*/ 892175 w 1317625"/>
              <a:gd name="connsiteY2976" fmla="*/ 161126 h 1344613"/>
              <a:gd name="connsiteX2977" fmla="*/ 848371 w 1317625"/>
              <a:gd name="connsiteY2977" fmla="*/ 161126 h 1344613"/>
              <a:gd name="connsiteX2978" fmla="*/ 846601 w 1317625"/>
              <a:gd name="connsiteY2978" fmla="*/ 163215 h 1344613"/>
              <a:gd name="connsiteX2979" fmla="*/ 842619 w 1317625"/>
              <a:gd name="connsiteY2979" fmla="*/ 167915 h 1344613"/>
              <a:gd name="connsiteX2980" fmla="*/ 839964 w 1317625"/>
              <a:gd name="connsiteY2980" fmla="*/ 170525 h 1344613"/>
              <a:gd name="connsiteX2981" fmla="*/ 838194 w 1317625"/>
              <a:gd name="connsiteY2981" fmla="*/ 173136 h 1344613"/>
              <a:gd name="connsiteX2982" fmla="*/ 837309 w 1317625"/>
              <a:gd name="connsiteY2982" fmla="*/ 175747 h 1344613"/>
              <a:gd name="connsiteX2983" fmla="*/ 836867 w 1317625"/>
              <a:gd name="connsiteY2983" fmla="*/ 177314 h 1344613"/>
              <a:gd name="connsiteX2984" fmla="*/ 835982 w 1317625"/>
              <a:gd name="connsiteY2984" fmla="*/ 179925 h 1344613"/>
              <a:gd name="connsiteX2985" fmla="*/ 835539 w 1317625"/>
              <a:gd name="connsiteY2985" fmla="*/ 182013 h 1344613"/>
              <a:gd name="connsiteX2986" fmla="*/ 835539 w 1317625"/>
              <a:gd name="connsiteY2986" fmla="*/ 183580 h 1344613"/>
              <a:gd name="connsiteX2987" fmla="*/ 835982 w 1317625"/>
              <a:gd name="connsiteY2987" fmla="*/ 185669 h 1344613"/>
              <a:gd name="connsiteX2988" fmla="*/ 837309 w 1317625"/>
              <a:gd name="connsiteY2988" fmla="*/ 189324 h 1344613"/>
              <a:gd name="connsiteX2989" fmla="*/ 839522 w 1317625"/>
              <a:gd name="connsiteY2989" fmla="*/ 193501 h 1344613"/>
              <a:gd name="connsiteX2990" fmla="*/ 832885 w 1317625"/>
              <a:gd name="connsiteY2990" fmla="*/ 199767 h 1344613"/>
              <a:gd name="connsiteX2991" fmla="*/ 826248 w 1317625"/>
              <a:gd name="connsiteY2991" fmla="*/ 205511 h 1344613"/>
              <a:gd name="connsiteX2992" fmla="*/ 819611 w 1317625"/>
              <a:gd name="connsiteY2992" fmla="*/ 210211 h 1344613"/>
              <a:gd name="connsiteX2993" fmla="*/ 813416 w 1317625"/>
              <a:gd name="connsiteY2993" fmla="*/ 213866 h 1344613"/>
              <a:gd name="connsiteX2994" fmla="*/ 807222 w 1317625"/>
              <a:gd name="connsiteY2994" fmla="*/ 218044 h 1344613"/>
              <a:gd name="connsiteX2995" fmla="*/ 801027 w 1317625"/>
              <a:gd name="connsiteY2995" fmla="*/ 221699 h 1344613"/>
              <a:gd name="connsiteX2996" fmla="*/ 794832 w 1317625"/>
              <a:gd name="connsiteY2996" fmla="*/ 226398 h 1344613"/>
              <a:gd name="connsiteX2997" fmla="*/ 789523 w 1317625"/>
              <a:gd name="connsiteY2997" fmla="*/ 231620 h 1344613"/>
              <a:gd name="connsiteX2998" fmla="*/ 779789 w 1317625"/>
              <a:gd name="connsiteY2998" fmla="*/ 238408 h 1344613"/>
              <a:gd name="connsiteX2999" fmla="*/ 768727 w 1317625"/>
              <a:gd name="connsiteY2999" fmla="*/ 246763 h 1344613"/>
              <a:gd name="connsiteX3000" fmla="*/ 766957 w 1317625"/>
              <a:gd name="connsiteY3000" fmla="*/ 248852 h 1344613"/>
              <a:gd name="connsiteX3001" fmla="*/ 764302 w 1317625"/>
              <a:gd name="connsiteY3001" fmla="*/ 250418 h 1344613"/>
              <a:gd name="connsiteX3002" fmla="*/ 762975 w 1317625"/>
              <a:gd name="connsiteY3002" fmla="*/ 252507 h 1344613"/>
              <a:gd name="connsiteX3003" fmla="*/ 762090 w 1317625"/>
              <a:gd name="connsiteY3003" fmla="*/ 254596 h 1344613"/>
              <a:gd name="connsiteX3004" fmla="*/ 762090 w 1317625"/>
              <a:gd name="connsiteY3004" fmla="*/ 256162 h 1344613"/>
              <a:gd name="connsiteX3005" fmla="*/ 762532 w 1317625"/>
              <a:gd name="connsiteY3005" fmla="*/ 257729 h 1344613"/>
              <a:gd name="connsiteX3006" fmla="*/ 763860 w 1317625"/>
              <a:gd name="connsiteY3006" fmla="*/ 259295 h 1344613"/>
              <a:gd name="connsiteX3007" fmla="*/ 765630 w 1317625"/>
              <a:gd name="connsiteY3007" fmla="*/ 260862 h 1344613"/>
              <a:gd name="connsiteX3008" fmla="*/ 765630 w 1317625"/>
              <a:gd name="connsiteY3008" fmla="*/ 266084 h 1344613"/>
              <a:gd name="connsiteX3009" fmla="*/ 765630 w 1317625"/>
              <a:gd name="connsiteY3009" fmla="*/ 270783 h 1344613"/>
              <a:gd name="connsiteX3010" fmla="*/ 764745 w 1317625"/>
              <a:gd name="connsiteY3010" fmla="*/ 277572 h 1344613"/>
              <a:gd name="connsiteX3011" fmla="*/ 763417 w 1317625"/>
              <a:gd name="connsiteY3011" fmla="*/ 283316 h 1344613"/>
              <a:gd name="connsiteX3012" fmla="*/ 762532 w 1317625"/>
              <a:gd name="connsiteY3012" fmla="*/ 286449 h 1344613"/>
              <a:gd name="connsiteX3013" fmla="*/ 762532 w 1317625"/>
              <a:gd name="connsiteY3013" fmla="*/ 289582 h 1344613"/>
              <a:gd name="connsiteX3014" fmla="*/ 762532 w 1317625"/>
              <a:gd name="connsiteY3014" fmla="*/ 293237 h 1344613"/>
              <a:gd name="connsiteX3015" fmla="*/ 762975 w 1317625"/>
              <a:gd name="connsiteY3015" fmla="*/ 296370 h 1344613"/>
              <a:gd name="connsiteX3016" fmla="*/ 764745 w 1317625"/>
              <a:gd name="connsiteY3016" fmla="*/ 300025 h 1344613"/>
              <a:gd name="connsiteX3017" fmla="*/ 767400 w 1317625"/>
              <a:gd name="connsiteY3017" fmla="*/ 302636 h 1344613"/>
              <a:gd name="connsiteX3018" fmla="*/ 770054 w 1317625"/>
              <a:gd name="connsiteY3018" fmla="*/ 304725 h 1344613"/>
              <a:gd name="connsiteX3019" fmla="*/ 773152 w 1317625"/>
              <a:gd name="connsiteY3019" fmla="*/ 306291 h 1344613"/>
              <a:gd name="connsiteX3020" fmla="*/ 779789 w 1317625"/>
              <a:gd name="connsiteY3020" fmla="*/ 308902 h 1344613"/>
              <a:gd name="connsiteX3021" fmla="*/ 786868 w 1317625"/>
              <a:gd name="connsiteY3021" fmla="*/ 310991 h 1344613"/>
              <a:gd name="connsiteX3022" fmla="*/ 793505 w 1317625"/>
              <a:gd name="connsiteY3022" fmla="*/ 312557 h 1344613"/>
              <a:gd name="connsiteX3023" fmla="*/ 798815 w 1317625"/>
              <a:gd name="connsiteY3023" fmla="*/ 315168 h 1344613"/>
              <a:gd name="connsiteX3024" fmla="*/ 801469 w 1317625"/>
              <a:gd name="connsiteY3024" fmla="*/ 316735 h 1344613"/>
              <a:gd name="connsiteX3025" fmla="*/ 802797 w 1317625"/>
              <a:gd name="connsiteY3025" fmla="*/ 318824 h 1344613"/>
              <a:gd name="connsiteX3026" fmla="*/ 803682 w 1317625"/>
              <a:gd name="connsiteY3026" fmla="*/ 322479 h 1344613"/>
              <a:gd name="connsiteX3027" fmla="*/ 804124 w 1317625"/>
              <a:gd name="connsiteY3027" fmla="*/ 325612 h 1344613"/>
              <a:gd name="connsiteX3028" fmla="*/ 804124 w 1317625"/>
              <a:gd name="connsiteY3028" fmla="*/ 331878 h 1344613"/>
              <a:gd name="connsiteX3029" fmla="*/ 804124 w 1317625"/>
              <a:gd name="connsiteY3029" fmla="*/ 338144 h 1344613"/>
              <a:gd name="connsiteX3030" fmla="*/ 799257 w 1317625"/>
              <a:gd name="connsiteY3030" fmla="*/ 338666 h 1344613"/>
              <a:gd name="connsiteX3031" fmla="*/ 794390 w 1317625"/>
              <a:gd name="connsiteY3031" fmla="*/ 339188 h 1344613"/>
              <a:gd name="connsiteX3032" fmla="*/ 789523 w 1317625"/>
              <a:gd name="connsiteY3032" fmla="*/ 340755 h 1344613"/>
              <a:gd name="connsiteX3033" fmla="*/ 785098 w 1317625"/>
              <a:gd name="connsiteY3033" fmla="*/ 342321 h 1344613"/>
              <a:gd name="connsiteX3034" fmla="*/ 781116 w 1317625"/>
              <a:gd name="connsiteY3034" fmla="*/ 344932 h 1344613"/>
              <a:gd name="connsiteX3035" fmla="*/ 777576 w 1317625"/>
              <a:gd name="connsiteY3035" fmla="*/ 347543 h 1344613"/>
              <a:gd name="connsiteX3036" fmla="*/ 776691 w 1317625"/>
              <a:gd name="connsiteY3036" fmla="*/ 349632 h 1344613"/>
              <a:gd name="connsiteX3037" fmla="*/ 775364 w 1317625"/>
              <a:gd name="connsiteY3037" fmla="*/ 351198 h 1344613"/>
              <a:gd name="connsiteX3038" fmla="*/ 774921 w 1317625"/>
              <a:gd name="connsiteY3038" fmla="*/ 352765 h 1344613"/>
              <a:gd name="connsiteX3039" fmla="*/ 774479 w 1317625"/>
              <a:gd name="connsiteY3039" fmla="*/ 354331 h 1344613"/>
              <a:gd name="connsiteX3040" fmla="*/ 774037 w 1317625"/>
              <a:gd name="connsiteY3040" fmla="*/ 362686 h 1344613"/>
              <a:gd name="connsiteX3041" fmla="*/ 773152 w 1317625"/>
              <a:gd name="connsiteY3041" fmla="*/ 371563 h 1344613"/>
              <a:gd name="connsiteX3042" fmla="*/ 771382 w 1317625"/>
              <a:gd name="connsiteY3042" fmla="*/ 381485 h 1344613"/>
              <a:gd name="connsiteX3043" fmla="*/ 768727 w 1317625"/>
              <a:gd name="connsiteY3043" fmla="*/ 391406 h 1344613"/>
              <a:gd name="connsiteX3044" fmla="*/ 766957 w 1317625"/>
              <a:gd name="connsiteY3044" fmla="*/ 401849 h 1344613"/>
              <a:gd name="connsiteX3045" fmla="*/ 764745 w 1317625"/>
              <a:gd name="connsiteY3045" fmla="*/ 413337 h 1344613"/>
              <a:gd name="connsiteX3046" fmla="*/ 763417 w 1317625"/>
              <a:gd name="connsiteY3046" fmla="*/ 424825 h 1344613"/>
              <a:gd name="connsiteX3047" fmla="*/ 762975 w 1317625"/>
              <a:gd name="connsiteY3047" fmla="*/ 438402 h 1344613"/>
              <a:gd name="connsiteX3048" fmla="*/ 756338 w 1317625"/>
              <a:gd name="connsiteY3048" fmla="*/ 438402 h 1344613"/>
              <a:gd name="connsiteX3049" fmla="*/ 748373 w 1317625"/>
              <a:gd name="connsiteY3049" fmla="*/ 438924 h 1344613"/>
              <a:gd name="connsiteX3050" fmla="*/ 740852 w 1317625"/>
              <a:gd name="connsiteY3050" fmla="*/ 439968 h 1344613"/>
              <a:gd name="connsiteX3051" fmla="*/ 733772 w 1317625"/>
              <a:gd name="connsiteY3051" fmla="*/ 441535 h 1344613"/>
              <a:gd name="connsiteX3052" fmla="*/ 730675 w 1317625"/>
              <a:gd name="connsiteY3052" fmla="*/ 443101 h 1344613"/>
              <a:gd name="connsiteX3053" fmla="*/ 728462 w 1317625"/>
              <a:gd name="connsiteY3053" fmla="*/ 444146 h 1344613"/>
              <a:gd name="connsiteX3054" fmla="*/ 725808 w 1317625"/>
              <a:gd name="connsiteY3054" fmla="*/ 445712 h 1344613"/>
              <a:gd name="connsiteX3055" fmla="*/ 724480 w 1317625"/>
              <a:gd name="connsiteY3055" fmla="*/ 447279 h 1344613"/>
              <a:gd name="connsiteX3056" fmla="*/ 723595 w 1317625"/>
              <a:gd name="connsiteY3056" fmla="*/ 449367 h 1344613"/>
              <a:gd name="connsiteX3057" fmla="*/ 723153 w 1317625"/>
              <a:gd name="connsiteY3057" fmla="*/ 451978 h 1344613"/>
              <a:gd name="connsiteX3058" fmla="*/ 723595 w 1317625"/>
              <a:gd name="connsiteY3058" fmla="*/ 454067 h 1344613"/>
              <a:gd name="connsiteX3059" fmla="*/ 724923 w 1317625"/>
              <a:gd name="connsiteY3059" fmla="*/ 457200 h 1344613"/>
              <a:gd name="connsiteX3060" fmla="*/ 720056 w 1317625"/>
              <a:gd name="connsiteY3060" fmla="*/ 457200 h 1344613"/>
              <a:gd name="connsiteX3061" fmla="*/ 713419 w 1317625"/>
              <a:gd name="connsiteY3061" fmla="*/ 457200 h 1344613"/>
              <a:gd name="connsiteX3062" fmla="*/ 707224 w 1317625"/>
              <a:gd name="connsiteY3062" fmla="*/ 457200 h 1344613"/>
              <a:gd name="connsiteX3063" fmla="*/ 704127 w 1317625"/>
              <a:gd name="connsiteY3063" fmla="*/ 457200 h 1344613"/>
              <a:gd name="connsiteX3064" fmla="*/ 703242 w 1317625"/>
              <a:gd name="connsiteY3064" fmla="*/ 457200 h 1344613"/>
              <a:gd name="connsiteX3065" fmla="*/ 701914 w 1317625"/>
              <a:gd name="connsiteY3065" fmla="*/ 456678 h 1344613"/>
              <a:gd name="connsiteX3066" fmla="*/ 700587 w 1317625"/>
              <a:gd name="connsiteY3066" fmla="*/ 455634 h 1344613"/>
              <a:gd name="connsiteX3067" fmla="*/ 699260 w 1317625"/>
              <a:gd name="connsiteY3067" fmla="*/ 454589 h 1344613"/>
              <a:gd name="connsiteX3068" fmla="*/ 697047 w 1317625"/>
              <a:gd name="connsiteY3068" fmla="*/ 451456 h 1344613"/>
              <a:gd name="connsiteX3069" fmla="*/ 694392 w 1317625"/>
              <a:gd name="connsiteY3069" fmla="*/ 447279 h 1344613"/>
              <a:gd name="connsiteX3070" fmla="*/ 691295 w 1317625"/>
              <a:gd name="connsiteY3070" fmla="*/ 442579 h 1344613"/>
              <a:gd name="connsiteX3071" fmla="*/ 688640 w 1317625"/>
              <a:gd name="connsiteY3071" fmla="*/ 436835 h 1344613"/>
              <a:gd name="connsiteX3072" fmla="*/ 685986 w 1317625"/>
              <a:gd name="connsiteY3072" fmla="*/ 430569 h 1344613"/>
              <a:gd name="connsiteX3073" fmla="*/ 683773 w 1317625"/>
              <a:gd name="connsiteY3073" fmla="*/ 423781 h 1344613"/>
              <a:gd name="connsiteX3074" fmla="*/ 678906 w 1317625"/>
              <a:gd name="connsiteY3074" fmla="*/ 410204 h 1344613"/>
              <a:gd name="connsiteX3075" fmla="*/ 675366 w 1317625"/>
              <a:gd name="connsiteY3075" fmla="*/ 396106 h 1344613"/>
              <a:gd name="connsiteX3076" fmla="*/ 674039 w 1317625"/>
              <a:gd name="connsiteY3076" fmla="*/ 389839 h 1344613"/>
              <a:gd name="connsiteX3077" fmla="*/ 672712 w 1317625"/>
              <a:gd name="connsiteY3077" fmla="*/ 383573 h 1344613"/>
              <a:gd name="connsiteX3078" fmla="*/ 672269 w 1317625"/>
              <a:gd name="connsiteY3078" fmla="*/ 378352 h 1344613"/>
              <a:gd name="connsiteX3079" fmla="*/ 672269 w 1317625"/>
              <a:gd name="connsiteY3079" fmla="*/ 373652 h 1344613"/>
              <a:gd name="connsiteX3080" fmla="*/ 669172 w 1317625"/>
              <a:gd name="connsiteY3080" fmla="*/ 373130 h 1344613"/>
              <a:gd name="connsiteX3081" fmla="*/ 666960 w 1317625"/>
              <a:gd name="connsiteY3081" fmla="*/ 372085 h 1344613"/>
              <a:gd name="connsiteX3082" fmla="*/ 664747 w 1317625"/>
              <a:gd name="connsiteY3082" fmla="*/ 369997 h 1344613"/>
              <a:gd name="connsiteX3083" fmla="*/ 663420 w 1317625"/>
              <a:gd name="connsiteY3083" fmla="*/ 367908 h 1344613"/>
              <a:gd name="connsiteX3084" fmla="*/ 660765 w 1317625"/>
              <a:gd name="connsiteY3084" fmla="*/ 362686 h 1344613"/>
              <a:gd name="connsiteX3085" fmla="*/ 657225 w 1317625"/>
              <a:gd name="connsiteY3085" fmla="*/ 357465 h 1344613"/>
              <a:gd name="connsiteX3086" fmla="*/ 661207 w 1317625"/>
              <a:gd name="connsiteY3086" fmla="*/ 355898 h 1344613"/>
              <a:gd name="connsiteX3087" fmla="*/ 665632 w 1317625"/>
              <a:gd name="connsiteY3087" fmla="*/ 354854 h 1344613"/>
              <a:gd name="connsiteX3088" fmla="*/ 669172 w 1317625"/>
              <a:gd name="connsiteY3088" fmla="*/ 354331 h 1344613"/>
              <a:gd name="connsiteX3089" fmla="*/ 672269 w 1317625"/>
              <a:gd name="connsiteY3089" fmla="*/ 354331 h 1344613"/>
              <a:gd name="connsiteX3090" fmla="*/ 672269 w 1317625"/>
              <a:gd name="connsiteY3090" fmla="*/ 353305 h 1344613"/>
              <a:gd name="connsiteX3091" fmla="*/ 671168 w 1317625"/>
              <a:gd name="connsiteY3091" fmla="*/ 353157 h 1344613"/>
              <a:gd name="connsiteX3092" fmla="*/ 665969 w 1317625"/>
              <a:gd name="connsiteY3092" fmla="*/ 352633 h 1344613"/>
              <a:gd name="connsiteX3093" fmla="*/ 663370 w 1317625"/>
              <a:gd name="connsiteY3093" fmla="*/ 352633 h 1344613"/>
              <a:gd name="connsiteX3094" fmla="*/ 661204 w 1317625"/>
              <a:gd name="connsiteY3094" fmla="*/ 352633 h 1344613"/>
              <a:gd name="connsiteX3095" fmla="*/ 658604 w 1317625"/>
              <a:gd name="connsiteY3095" fmla="*/ 353157 h 1344613"/>
              <a:gd name="connsiteX3096" fmla="*/ 657305 w 1317625"/>
              <a:gd name="connsiteY3096" fmla="*/ 353682 h 1344613"/>
              <a:gd name="connsiteX3097" fmla="*/ 651673 w 1317625"/>
              <a:gd name="connsiteY3097" fmla="*/ 345289 h 1344613"/>
              <a:gd name="connsiteX3098" fmla="*/ 646907 w 1317625"/>
              <a:gd name="connsiteY3098" fmla="*/ 340043 h 1344613"/>
              <a:gd name="connsiteX3099" fmla="*/ 643008 w 1317625"/>
              <a:gd name="connsiteY3099" fmla="*/ 335322 h 1344613"/>
              <a:gd name="connsiteX3100" fmla="*/ 639975 w 1317625"/>
              <a:gd name="connsiteY3100" fmla="*/ 331125 h 1344613"/>
              <a:gd name="connsiteX3101" fmla="*/ 638676 w 1317625"/>
              <a:gd name="connsiteY3101" fmla="*/ 335847 h 1344613"/>
              <a:gd name="connsiteX3102" fmla="*/ 637376 w 1317625"/>
              <a:gd name="connsiteY3102" fmla="*/ 340568 h 1344613"/>
              <a:gd name="connsiteX3103" fmla="*/ 636943 w 1317625"/>
              <a:gd name="connsiteY3103" fmla="*/ 343190 h 1344613"/>
              <a:gd name="connsiteX3104" fmla="*/ 635210 w 1317625"/>
              <a:gd name="connsiteY3104" fmla="*/ 345813 h 1344613"/>
              <a:gd name="connsiteX3105" fmla="*/ 633477 w 1317625"/>
              <a:gd name="connsiteY3105" fmla="*/ 348961 h 1344613"/>
              <a:gd name="connsiteX3106" fmla="*/ 630444 w 1317625"/>
              <a:gd name="connsiteY3106" fmla="*/ 352108 h 1344613"/>
              <a:gd name="connsiteX3107" fmla="*/ 623512 w 1317625"/>
              <a:gd name="connsiteY3107" fmla="*/ 357878 h 1344613"/>
              <a:gd name="connsiteX3108" fmla="*/ 615714 w 1317625"/>
              <a:gd name="connsiteY3108" fmla="*/ 363124 h 1344613"/>
              <a:gd name="connsiteX3109" fmla="*/ 600551 w 1317625"/>
              <a:gd name="connsiteY3109" fmla="*/ 372566 h 1344613"/>
              <a:gd name="connsiteX3110" fmla="*/ 594053 w 1317625"/>
              <a:gd name="connsiteY3110" fmla="*/ 376238 h 1344613"/>
              <a:gd name="connsiteX3111" fmla="*/ 579756 w 1317625"/>
              <a:gd name="connsiteY3111" fmla="*/ 376238 h 1344613"/>
              <a:gd name="connsiteX3112" fmla="*/ 570658 w 1317625"/>
              <a:gd name="connsiteY3112" fmla="*/ 372566 h 1344613"/>
              <a:gd name="connsiteX3113" fmla="*/ 559394 w 1317625"/>
              <a:gd name="connsiteY3113" fmla="*/ 366796 h 1344613"/>
              <a:gd name="connsiteX3114" fmla="*/ 554195 w 1317625"/>
              <a:gd name="connsiteY3114" fmla="*/ 363649 h 1344613"/>
              <a:gd name="connsiteX3115" fmla="*/ 549430 w 1317625"/>
              <a:gd name="connsiteY3115" fmla="*/ 359452 h 1344613"/>
              <a:gd name="connsiteX3116" fmla="*/ 547264 w 1317625"/>
              <a:gd name="connsiteY3116" fmla="*/ 357354 h 1344613"/>
              <a:gd name="connsiteX3117" fmla="*/ 546397 w 1317625"/>
              <a:gd name="connsiteY3117" fmla="*/ 355255 h 1344613"/>
              <a:gd name="connsiteX3118" fmla="*/ 545531 w 1317625"/>
              <a:gd name="connsiteY3118" fmla="*/ 353157 h 1344613"/>
              <a:gd name="connsiteX3119" fmla="*/ 545097 w 1317625"/>
              <a:gd name="connsiteY3119" fmla="*/ 350534 h 1344613"/>
              <a:gd name="connsiteX3120" fmla="*/ 550729 w 1317625"/>
              <a:gd name="connsiteY3120" fmla="*/ 350534 h 1344613"/>
              <a:gd name="connsiteX3121" fmla="*/ 555062 w 1317625"/>
              <a:gd name="connsiteY3121" fmla="*/ 350010 h 1344613"/>
              <a:gd name="connsiteX3122" fmla="*/ 558528 w 1317625"/>
              <a:gd name="connsiteY3122" fmla="*/ 349485 h 1344613"/>
              <a:gd name="connsiteX3123" fmla="*/ 562427 w 1317625"/>
              <a:gd name="connsiteY3123" fmla="*/ 346862 h 1344613"/>
              <a:gd name="connsiteX3124" fmla="*/ 558961 w 1317625"/>
              <a:gd name="connsiteY3124" fmla="*/ 343190 h 1344613"/>
              <a:gd name="connsiteX3125" fmla="*/ 554629 w 1317625"/>
              <a:gd name="connsiteY3125" fmla="*/ 339519 h 1344613"/>
              <a:gd name="connsiteX3126" fmla="*/ 549863 w 1317625"/>
              <a:gd name="connsiteY3126" fmla="*/ 335847 h 1344613"/>
              <a:gd name="connsiteX3127" fmla="*/ 545097 w 1317625"/>
              <a:gd name="connsiteY3127" fmla="*/ 332175 h 1344613"/>
              <a:gd name="connsiteX3128" fmla="*/ 536866 w 1317625"/>
              <a:gd name="connsiteY3128" fmla="*/ 326929 h 1344613"/>
              <a:gd name="connsiteX3129" fmla="*/ 533400 w 1317625"/>
              <a:gd name="connsiteY3129" fmla="*/ 324831 h 1344613"/>
              <a:gd name="connsiteX3130" fmla="*/ 541198 w 1317625"/>
              <a:gd name="connsiteY3130" fmla="*/ 326929 h 1344613"/>
              <a:gd name="connsiteX3131" fmla="*/ 547264 w 1317625"/>
              <a:gd name="connsiteY3131" fmla="*/ 328503 h 1344613"/>
              <a:gd name="connsiteX3132" fmla="*/ 549863 w 1317625"/>
              <a:gd name="connsiteY3132" fmla="*/ 329027 h 1344613"/>
              <a:gd name="connsiteX3133" fmla="*/ 552029 w 1317625"/>
              <a:gd name="connsiteY3133" fmla="*/ 329027 h 1344613"/>
              <a:gd name="connsiteX3134" fmla="*/ 554629 w 1317625"/>
              <a:gd name="connsiteY3134" fmla="*/ 329027 h 1344613"/>
              <a:gd name="connsiteX3135" fmla="*/ 556795 w 1317625"/>
              <a:gd name="connsiteY3135" fmla="*/ 327978 h 1344613"/>
              <a:gd name="connsiteX3136" fmla="*/ 554629 w 1317625"/>
              <a:gd name="connsiteY3136" fmla="*/ 327454 h 1344613"/>
              <a:gd name="connsiteX3137" fmla="*/ 552462 w 1317625"/>
              <a:gd name="connsiteY3137" fmla="*/ 326404 h 1344613"/>
              <a:gd name="connsiteX3138" fmla="*/ 550729 w 1317625"/>
              <a:gd name="connsiteY3138" fmla="*/ 324306 h 1344613"/>
              <a:gd name="connsiteX3139" fmla="*/ 548996 w 1317625"/>
              <a:gd name="connsiteY3139" fmla="*/ 322208 h 1344613"/>
              <a:gd name="connsiteX3140" fmla="*/ 547264 w 1317625"/>
              <a:gd name="connsiteY3140" fmla="*/ 320110 h 1344613"/>
              <a:gd name="connsiteX3141" fmla="*/ 545964 w 1317625"/>
              <a:gd name="connsiteY3141" fmla="*/ 316438 h 1344613"/>
              <a:gd name="connsiteX3142" fmla="*/ 545531 w 1317625"/>
              <a:gd name="connsiteY3142" fmla="*/ 313815 h 1344613"/>
              <a:gd name="connsiteX3143" fmla="*/ 545097 w 1317625"/>
              <a:gd name="connsiteY3143" fmla="*/ 311717 h 1344613"/>
              <a:gd name="connsiteX3144" fmla="*/ 562427 w 1317625"/>
              <a:gd name="connsiteY3144" fmla="*/ 311717 h 1344613"/>
              <a:gd name="connsiteX3145" fmla="*/ 557661 w 1317625"/>
              <a:gd name="connsiteY3145" fmla="*/ 311192 h 1344613"/>
              <a:gd name="connsiteX3146" fmla="*/ 552896 w 1317625"/>
              <a:gd name="connsiteY3146" fmla="*/ 310143 h 1344613"/>
              <a:gd name="connsiteX3147" fmla="*/ 548563 w 1317625"/>
              <a:gd name="connsiteY3147" fmla="*/ 309094 h 1344613"/>
              <a:gd name="connsiteX3148" fmla="*/ 544231 w 1317625"/>
              <a:gd name="connsiteY3148" fmla="*/ 306995 h 1344613"/>
              <a:gd name="connsiteX3149" fmla="*/ 540332 w 1317625"/>
              <a:gd name="connsiteY3149" fmla="*/ 304897 h 1344613"/>
              <a:gd name="connsiteX3150" fmla="*/ 537732 w 1317625"/>
              <a:gd name="connsiteY3150" fmla="*/ 302274 h 1344613"/>
              <a:gd name="connsiteX3151" fmla="*/ 536866 w 1317625"/>
              <a:gd name="connsiteY3151" fmla="*/ 300701 h 1344613"/>
              <a:gd name="connsiteX3152" fmla="*/ 536433 w 1317625"/>
              <a:gd name="connsiteY3152" fmla="*/ 299127 h 1344613"/>
              <a:gd name="connsiteX3153" fmla="*/ 536433 w 1317625"/>
              <a:gd name="connsiteY3153" fmla="*/ 297553 h 1344613"/>
              <a:gd name="connsiteX3154" fmla="*/ 536433 w 1317625"/>
              <a:gd name="connsiteY3154" fmla="*/ 295455 h 1344613"/>
              <a:gd name="connsiteX3155" fmla="*/ 533400 w 1317625"/>
              <a:gd name="connsiteY3155" fmla="*/ 288636 h 1344613"/>
              <a:gd name="connsiteX3156" fmla="*/ 545964 w 1317625"/>
              <a:gd name="connsiteY3156" fmla="*/ 288636 h 1344613"/>
              <a:gd name="connsiteX3157" fmla="*/ 556795 w 1317625"/>
              <a:gd name="connsiteY3157" fmla="*/ 288636 h 1344613"/>
              <a:gd name="connsiteX3158" fmla="*/ 565459 w 1317625"/>
              <a:gd name="connsiteY3158" fmla="*/ 288636 h 1344613"/>
              <a:gd name="connsiteX3159" fmla="*/ 571091 w 1317625"/>
              <a:gd name="connsiteY3159" fmla="*/ 288636 h 1344613"/>
              <a:gd name="connsiteX3160" fmla="*/ 564593 w 1317625"/>
              <a:gd name="connsiteY3160" fmla="*/ 286537 h 1344613"/>
              <a:gd name="connsiteX3161" fmla="*/ 550296 w 1317625"/>
              <a:gd name="connsiteY3161" fmla="*/ 282341 h 1344613"/>
              <a:gd name="connsiteX3162" fmla="*/ 542931 w 1317625"/>
              <a:gd name="connsiteY3162" fmla="*/ 280243 h 1344613"/>
              <a:gd name="connsiteX3163" fmla="*/ 536866 w 1317625"/>
              <a:gd name="connsiteY3163" fmla="*/ 278144 h 1344613"/>
              <a:gd name="connsiteX3164" fmla="*/ 533400 w 1317625"/>
              <a:gd name="connsiteY3164" fmla="*/ 276571 h 1344613"/>
              <a:gd name="connsiteX3165" fmla="*/ 533400 w 1317625"/>
              <a:gd name="connsiteY3165" fmla="*/ 276046 h 1344613"/>
              <a:gd name="connsiteX3166" fmla="*/ 534267 w 1317625"/>
              <a:gd name="connsiteY3166" fmla="*/ 268702 h 1344613"/>
              <a:gd name="connsiteX3167" fmla="*/ 534700 w 1317625"/>
              <a:gd name="connsiteY3167" fmla="*/ 263981 h 1344613"/>
              <a:gd name="connsiteX3168" fmla="*/ 535133 w 1317625"/>
              <a:gd name="connsiteY3168" fmla="*/ 261883 h 1344613"/>
              <a:gd name="connsiteX3169" fmla="*/ 535133 w 1317625"/>
              <a:gd name="connsiteY3169" fmla="*/ 259260 h 1344613"/>
              <a:gd name="connsiteX3170" fmla="*/ 534700 w 1317625"/>
              <a:gd name="connsiteY3170" fmla="*/ 256637 h 1344613"/>
              <a:gd name="connsiteX3171" fmla="*/ 533400 w 1317625"/>
              <a:gd name="connsiteY3171" fmla="*/ 253490 h 1344613"/>
              <a:gd name="connsiteX3172" fmla="*/ 542065 w 1317625"/>
              <a:gd name="connsiteY3172" fmla="*/ 253490 h 1344613"/>
              <a:gd name="connsiteX3173" fmla="*/ 542498 w 1317625"/>
              <a:gd name="connsiteY3173" fmla="*/ 255588 h 1344613"/>
              <a:gd name="connsiteX3174" fmla="*/ 543798 w 1317625"/>
              <a:gd name="connsiteY3174" fmla="*/ 257162 h 1344613"/>
              <a:gd name="connsiteX3175" fmla="*/ 544231 w 1317625"/>
              <a:gd name="connsiteY3175" fmla="*/ 257686 h 1344613"/>
              <a:gd name="connsiteX3176" fmla="*/ 544664 w 1317625"/>
              <a:gd name="connsiteY3176" fmla="*/ 257686 h 1344613"/>
              <a:gd name="connsiteX3177" fmla="*/ 545097 w 1317625"/>
              <a:gd name="connsiteY3177" fmla="*/ 257162 h 1344613"/>
              <a:gd name="connsiteX3178" fmla="*/ 545097 w 1317625"/>
              <a:gd name="connsiteY3178" fmla="*/ 256637 h 1344613"/>
              <a:gd name="connsiteX3179" fmla="*/ 549430 w 1317625"/>
              <a:gd name="connsiteY3179" fmla="*/ 256113 h 1344613"/>
              <a:gd name="connsiteX3180" fmla="*/ 555495 w 1317625"/>
              <a:gd name="connsiteY3180" fmla="*/ 255064 h 1344613"/>
              <a:gd name="connsiteX3181" fmla="*/ 562427 w 1317625"/>
              <a:gd name="connsiteY3181" fmla="*/ 254014 h 1344613"/>
              <a:gd name="connsiteX3182" fmla="*/ 568492 w 1317625"/>
              <a:gd name="connsiteY3182" fmla="*/ 253490 h 1344613"/>
              <a:gd name="connsiteX3183" fmla="*/ 567192 w 1317625"/>
              <a:gd name="connsiteY3183" fmla="*/ 252965 h 1344613"/>
              <a:gd name="connsiteX3184" fmla="*/ 566759 w 1317625"/>
              <a:gd name="connsiteY3184" fmla="*/ 252441 h 1344613"/>
              <a:gd name="connsiteX3185" fmla="*/ 566759 w 1317625"/>
              <a:gd name="connsiteY3185" fmla="*/ 251392 h 1344613"/>
              <a:gd name="connsiteX3186" fmla="*/ 566759 w 1317625"/>
              <a:gd name="connsiteY3186" fmla="*/ 249818 h 1344613"/>
              <a:gd name="connsiteX3187" fmla="*/ 568059 w 1317625"/>
              <a:gd name="connsiteY3187" fmla="*/ 246670 h 1344613"/>
              <a:gd name="connsiteX3188" fmla="*/ 568492 w 1317625"/>
              <a:gd name="connsiteY3188" fmla="*/ 243523 h 1344613"/>
              <a:gd name="connsiteX3189" fmla="*/ 572824 w 1317625"/>
              <a:gd name="connsiteY3189" fmla="*/ 243523 h 1344613"/>
              <a:gd name="connsiteX3190" fmla="*/ 576723 w 1317625"/>
              <a:gd name="connsiteY3190" fmla="*/ 243523 h 1344613"/>
              <a:gd name="connsiteX3191" fmla="*/ 576290 w 1317625"/>
              <a:gd name="connsiteY3191" fmla="*/ 241425 h 1344613"/>
              <a:gd name="connsiteX3192" fmla="*/ 574990 w 1317625"/>
              <a:gd name="connsiteY3192" fmla="*/ 238802 h 1344613"/>
              <a:gd name="connsiteX3193" fmla="*/ 573258 w 1317625"/>
              <a:gd name="connsiteY3193" fmla="*/ 236704 h 1344613"/>
              <a:gd name="connsiteX3194" fmla="*/ 571091 w 1317625"/>
              <a:gd name="connsiteY3194" fmla="*/ 234081 h 1344613"/>
              <a:gd name="connsiteX3195" fmla="*/ 575424 w 1317625"/>
              <a:gd name="connsiteY3195" fmla="*/ 232507 h 1344613"/>
              <a:gd name="connsiteX3196" fmla="*/ 579756 w 1317625"/>
              <a:gd name="connsiteY3196" fmla="*/ 230934 h 1344613"/>
              <a:gd name="connsiteX3197" fmla="*/ 584088 w 1317625"/>
              <a:gd name="connsiteY3197" fmla="*/ 230409 h 1344613"/>
              <a:gd name="connsiteX3198" fmla="*/ 588421 w 1317625"/>
              <a:gd name="connsiteY3198" fmla="*/ 230409 h 1344613"/>
              <a:gd name="connsiteX3199" fmla="*/ 589287 w 1317625"/>
              <a:gd name="connsiteY3199" fmla="*/ 230409 h 1344613"/>
              <a:gd name="connsiteX3200" fmla="*/ 589720 w 1317625"/>
              <a:gd name="connsiteY3200" fmla="*/ 228835 h 1344613"/>
              <a:gd name="connsiteX3201" fmla="*/ 589720 w 1317625"/>
              <a:gd name="connsiteY3201" fmla="*/ 227262 h 1344613"/>
              <a:gd name="connsiteX3202" fmla="*/ 589287 w 1317625"/>
              <a:gd name="connsiteY3202" fmla="*/ 225163 h 1344613"/>
              <a:gd name="connsiteX3203" fmla="*/ 588854 w 1317625"/>
              <a:gd name="connsiteY3203" fmla="*/ 220967 h 1344613"/>
              <a:gd name="connsiteX3204" fmla="*/ 588421 w 1317625"/>
              <a:gd name="connsiteY3204" fmla="*/ 217819 h 1344613"/>
              <a:gd name="connsiteX3205" fmla="*/ 597085 w 1317625"/>
              <a:gd name="connsiteY3205" fmla="*/ 217819 h 1344613"/>
              <a:gd name="connsiteX3206" fmla="*/ 591020 w 1317625"/>
              <a:gd name="connsiteY3206" fmla="*/ 214672 h 1344613"/>
              <a:gd name="connsiteX3207" fmla="*/ 628711 w 1317625"/>
              <a:gd name="connsiteY3207" fmla="*/ 214672 h 1344613"/>
              <a:gd name="connsiteX3208" fmla="*/ 623079 w 1317625"/>
              <a:gd name="connsiteY3208" fmla="*/ 211525 h 1344613"/>
              <a:gd name="connsiteX3209" fmla="*/ 625679 w 1317625"/>
              <a:gd name="connsiteY3209" fmla="*/ 209951 h 1344613"/>
              <a:gd name="connsiteX3210" fmla="*/ 627845 w 1317625"/>
              <a:gd name="connsiteY3210" fmla="*/ 208377 h 1344613"/>
              <a:gd name="connsiteX3211" fmla="*/ 629145 w 1317625"/>
              <a:gd name="connsiteY3211" fmla="*/ 206804 h 1344613"/>
              <a:gd name="connsiteX3212" fmla="*/ 630444 w 1317625"/>
              <a:gd name="connsiteY3212" fmla="*/ 204181 h 1344613"/>
              <a:gd name="connsiteX3213" fmla="*/ 631744 w 1317625"/>
              <a:gd name="connsiteY3213" fmla="*/ 198410 h 1344613"/>
              <a:gd name="connsiteX3214" fmla="*/ 631744 w 1317625"/>
              <a:gd name="connsiteY3214" fmla="*/ 192116 h 1344613"/>
              <a:gd name="connsiteX3215" fmla="*/ 638676 w 1317625"/>
              <a:gd name="connsiteY3215" fmla="*/ 192116 h 1344613"/>
              <a:gd name="connsiteX3216" fmla="*/ 643875 w 1317625"/>
              <a:gd name="connsiteY3216" fmla="*/ 192116 h 1344613"/>
              <a:gd name="connsiteX3217" fmla="*/ 648640 w 1317625"/>
              <a:gd name="connsiteY3217" fmla="*/ 192116 h 1344613"/>
              <a:gd name="connsiteX3218" fmla="*/ 654272 w 1317625"/>
              <a:gd name="connsiteY3218" fmla="*/ 192116 h 1344613"/>
              <a:gd name="connsiteX3219" fmla="*/ 654272 w 1317625"/>
              <a:gd name="connsiteY3219" fmla="*/ 188968 h 1344613"/>
              <a:gd name="connsiteX3220" fmla="*/ 655572 w 1317625"/>
              <a:gd name="connsiteY3220" fmla="*/ 185821 h 1344613"/>
              <a:gd name="connsiteX3221" fmla="*/ 656005 w 1317625"/>
              <a:gd name="connsiteY3221" fmla="*/ 184772 h 1344613"/>
              <a:gd name="connsiteX3222" fmla="*/ 656871 w 1317625"/>
              <a:gd name="connsiteY3222" fmla="*/ 183723 h 1344613"/>
              <a:gd name="connsiteX3223" fmla="*/ 658171 w 1317625"/>
              <a:gd name="connsiteY3223" fmla="*/ 182674 h 1344613"/>
              <a:gd name="connsiteX3224" fmla="*/ 660337 w 1317625"/>
              <a:gd name="connsiteY3224" fmla="*/ 182674 h 1344613"/>
              <a:gd name="connsiteX3225" fmla="*/ 657305 w 1317625"/>
              <a:gd name="connsiteY3225" fmla="*/ 181100 h 1344613"/>
              <a:gd name="connsiteX3226" fmla="*/ 654272 w 1317625"/>
              <a:gd name="connsiteY3226" fmla="*/ 179001 h 1344613"/>
              <a:gd name="connsiteX3227" fmla="*/ 654705 w 1317625"/>
              <a:gd name="connsiteY3227" fmla="*/ 177952 h 1344613"/>
              <a:gd name="connsiteX3228" fmla="*/ 655572 w 1317625"/>
              <a:gd name="connsiteY3228" fmla="*/ 176903 h 1344613"/>
              <a:gd name="connsiteX3229" fmla="*/ 656438 w 1317625"/>
              <a:gd name="connsiteY3229" fmla="*/ 175854 h 1344613"/>
              <a:gd name="connsiteX3230" fmla="*/ 657738 w 1317625"/>
              <a:gd name="connsiteY3230" fmla="*/ 174280 h 1344613"/>
              <a:gd name="connsiteX3231" fmla="*/ 660771 w 1317625"/>
              <a:gd name="connsiteY3231" fmla="*/ 171657 h 1344613"/>
              <a:gd name="connsiteX3232" fmla="*/ 662937 w 1317625"/>
              <a:gd name="connsiteY3232" fmla="*/ 169035 h 1344613"/>
              <a:gd name="connsiteX3233" fmla="*/ 662504 w 1317625"/>
              <a:gd name="connsiteY3233" fmla="*/ 167461 h 1344613"/>
              <a:gd name="connsiteX3234" fmla="*/ 662070 w 1317625"/>
              <a:gd name="connsiteY3234" fmla="*/ 165363 h 1344613"/>
              <a:gd name="connsiteX3235" fmla="*/ 662504 w 1317625"/>
              <a:gd name="connsiteY3235" fmla="*/ 163789 h 1344613"/>
              <a:gd name="connsiteX3236" fmla="*/ 662937 w 1317625"/>
              <a:gd name="connsiteY3236" fmla="*/ 161691 h 1344613"/>
              <a:gd name="connsiteX3237" fmla="*/ 665536 w 1317625"/>
              <a:gd name="connsiteY3237" fmla="*/ 158019 h 1344613"/>
              <a:gd name="connsiteX3238" fmla="*/ 668136 w 1317625"/>
              <a:gd name="connsiteY3238" fmla="*/ 154347 h 1344613"/>
              <a:gd name="connsiteX3239" fmla="*/ 674201 w 1317625"/>
              <a:gd name="connsiteY3239" fmla="*/ 147527 h 1344613"/>
              <a:gd name="connsiteX3240" fmla="*/ 677667 w 1317625"/>
              <a:gd name="connsiteY3240" fmla="*/ 143331 h 1344613"/>
              <a:gd name="connsiteX3241" fmla="*/ 677667 w 1317625"/>
              <a:gd name="connsiteY3241" fmla="*/ 142282 h 1344613"/>
              <a:gd name="connsiteX3242" fmla="*/ 678533 w 1317625"/>
              <a:gd name="connsiteY3242" fmla="*/ 141757 h 1344613"/>
              <a:gd name="connsiteX3243" fmla="*/ 679833 w 1317625"/>
              <a:gd name="connsiteY3243" fmla="*/ 141757 h 1344613"/>
              <a:gd name="connsiteX3244" fmla="*/ 680699 w 1317625"/>
              <a:gd name="connsiteY3244" fmla="*/ 142282 h 1344613"/>
              <a:gd name="connsiteX3245" fmla="*/ 682432 w 1317625"/>
              <a:gd name="connsiteY3245" fmla="*/ 142806 h 1344613"/>
              <a:gd name="connsiteX3246" fmla="*/ 683299 w 1317625"/>
              <a:gd name="connsiteY3246" fmla="*/ 143331 h 1344613"/>
              <a:gd name="connsiteX3247" fmla="*/ 682432 w 1317625"/>
              <a:gd name="connsiteY3247" fmla="*/ 139659 h 1344613"/>
              <a:gd name="connsiteX3248" fmla="*/ 681999 w 1317625"/>
              <a:gd name="connsiteY3248" fmla="*/ 136512 h 1344613"/>
              <a:gd name="connsiteX3249" fmla="*/ 681999 w 1317625"/>
              <a:gd name="connsiteY3249" fmla="*/ 132840 h 1344613"/>
              <a:gd name="connsiteX3250" fmla="*/ 682432 w 1317625"/>
              <a:gd name="connsiteY3250" fmla="*/ 129692 h 1344613"/>
              <a:gd name="connsiteX3251" fmla="*/ 682865 w 1317625"/>
              <a:gd name="connsiteY3251" fmla="*/ 124447 h 1344613"/>
              <a:gd name="connsiteX3252" fmla="*/ 683299 w 1317625"/>
              <a:gd name="connsiteY3252" fmla="*/ 121299 h 1344613"/>
              <a:gd name="connsiteX3253" fmla="*/ 693696 w 1317625"/>
              <a:gd name="connsiteY3253" fmla="*/ 121299 h 1344613"/>
              <a:gd name="connsiteX3254" fmla="*/ 700195 w 1317625"/>
              <a:gd name="connsiteY3254" fmla="*/ 120775 h 1344613"/>
              <a:gd name="connsiteX3255" fmla="*/ 701494 w 1317625"/>
              <a:gd name="connsiteY3255" fmla="*/ 120250 h 1344613"/>
              <a:gd name="connsiteX3256" fmla="*/ 702361 w 1317625"/>
              <a:gd name="connsiteY3256" fmla="*/ 119201 h 1344613"/>
              <a:gd name="connsiteX3257" fmla="*/ 703227 w 1317625"/>
              <a:gd name="connsiteY3257" fmla="*/ 118152 h 1344613"/>
              <a:gd name="connsiteX3258" fmla="*/ 704094 w 1317625"/>
              <a:gd name="connsiteY3258" fmla="*/ 117103 h 1344613"/>
              <a:gd name="connsiteX3259" fmla="*/ 705394 w 1317625"/>
              <a:gd name="connsiteY3259" fmla="*/ 112906 h 1344613"/>
              <a:gd name="connsiteX3260" fmla="*/ 706260 w 1317625"/>
              <a:gd name="connsiteY3260" fmla="*/ 107661 h 1344613"/>
              <a:gd name="connsiteX3261" fmla="*/ 704527 w 1317625"/>
              <a:gd name="connsiteY3261" fmla="*/ 105038 h 1344613"/>
              <a:gd name="connsiteX3262" fmla="*/ 702361 w 1317625"/>
              <a:gd name="connsiteY3262" fmla="*/ 101366 h 1344613"/>
              <a:gd name="connsiteX3263" fmla="*/ 701061 w 1317625"/>
              <a:gd name="connsiteY3263" fmla="*/ 96645 h 1344613"/>
              <a:gd name="connsiteX3264" fmla="*/ 700628 w 1317625"/>
              <a:gd name="connsiteY3264" fmla="*/ 91924 h 1344613"/>
              <a:gd name="connsiteX3265" fmla="*/ 699761 w 1317625"/>
              <a:gd name="connsiteY3265" fmla="*/ 91924 h 1344613"/>
              <a:gd name="connsiteX3266" fmla="*/ 697595 w 1317625"/>
              <a:gd name="connsiteY3266" fmla="*/ 91399 h 1344613"/>
              <a:gd name="connsiteX3267" fmla="*/ 696729 w 1317625"/>
              <a:gd name="connsiteY3267" fmla="*/ 91399 h 1344613"/>
              <a:gd name="connsiteX3268" fmla="*/ 695862 w 1317625"/>
              <a:gd name="connsiteY3268" fmla="*/ 90874 h 1344613"/>
              <a:gd name="connsiteX3269" fmla="*/ 694996 w 1317625"/>
              <a:gd name="connsiteY3269" fmla="*/ 89825 h 1344613"/>
              <a:gd name="connsiteX3270" fmla="*/ 694996 w 1317625"/>
              <a:gd name="connsiteY3270" fmla="*/ 88776 h 1344613"/>
              <a:gd name="connsiteX3271" fmla="*/ 690664 w 1317625"/>
              <a:gd name="connsiteY3271" fmla="*/ 92973 h 1344613"/>
              <a:gd name="connsiteX3272" fmla="*/ 686331 w 1317625"/>
              <a:gd name="connsiteY3272" fmla="*/ 96120 h 1344613"/>
              <a:gd name="connsiteX3273" fmla="*/ 683732 w 1317625"/>
              <a:gd name="connsiteY3273" fmla="*/ 97169 h 1344613"/>
              <a:gd name="connsiteX3274" fmla="*/ 681999 w 1317625"/>
              <a:gd name="connsiteY3274" fmla="*/ 97694 h 1344613"/>
              <a:gd name="connsiteX3275" fmla="*/ 679833 w 1317625"/>
              <a:gd name="connsiteY3275" fmla="*/ 98218 h 1344613"/>
              <a:gd name="connsiteX3276" fmla="*/ 677667 w 1317625"/>
              <a:gd name="connsiteY3276" fmla="*/ 98218 h 1344613"/>
              <a:gd name="connsiteX3277" fmla="*/ 678100 w 1317625"/>
              <a:gd name="connsiteY3277" fmla="*/ 95071 h 1344613"/>
              <a:gd name="connsiteX3278" fmla="*/ 679833 w 1317625"/>
              <a:gd name="connsiteY3278" fmla="*/ 91924 h 1344613"/>
              <a:gd name="connsiteX3279" fmla="*/ 681132 w 1317625"/>
              <a:gd name="connsiteY3279" fmla="*/ 89301 h 1344613"/>
              <a:gd name="connsiteX3280" fmla="*/ 682865 w 1317625"/>
              <a:gd name="connsiteY3280" fmla="*/ 86678 h 1344613"/>
              <a:gd name="connsiteX3281" fmla="*/ 687198 w 1317625"/>
              <a:gd name="connsiteY3281" fmla="*/ 81432 h 1344613"/>
              <a:gd name="connsiteX3282" fmla="*/ 692397 w 1317625"/>
              <a:gd name="connsiteY3282" fmla="*/ 77236 h 1344613"/>
              <a:gd name="connsiteX3283" fmla="*/ 697162 w 1317625"/>
              <a:gd name="connsiteY3283" fmla="*/ 73039 h 1344613"/>
              <a:gd name="connsiteX3284" fmla="*/ 702361 w 1317625"/>
              <a:gd name="connsiteY3284" fmla="*/ 68318 h 1344613"/>
              <a:gd name="connsiteX3285" fmla="*/ 704527 w 1317625"/>
              <a:gd name="connsiteY3285" fmla="*/ 65695 h 1344613"/>
              <a:gd name="connsiteX3286" fmla="*/ 706260 w 1317625"/>
              <a:gd name="connsiteY3286" fmla="*/ 63073 h 1344613"/>
              <a:gd name="connsiteX3287" fmla="*/ 707993 w 1317625"/>
              <a:gd name="connsiteY3287" fmla="*/ 59925 h 1344613"/>
              <a:gd name="connsiteX3288" fmla="*/ 709293 w 1317625"/>
              <a:gd name="connsiteY3288" fmla="*/ 56253 h 1344613"/>
              <a:gd name="connsiteX3289" fmla="*/ 709726 w 1317625"/>
              <a:gd name="connsiteY3289" fmla="*/ 57827 h 1344613"/>
              <a:gd name="connsiteX3290" fmla="*/ 710592 w 1317625"/>
              <a:gd name="connsiteY3290" fmla="*/ 60450 h 1344613"/>
              <a:gd name="connsiteX3291" fmla="*/ 711459 w 1317625"/>
              <a:gd name="connsiteY3291" fmla="*/ 64646 h 1344613"/>
              <a:gd name="connsiteX3292" fmla="*/ 711892 w 1317625"/>
              <a:gd name="connsiteY3292" fmla="*/ 69367 h 1344613"/>
              <a:gd name="connsiteX3293" fmla="*/ 712758 w 1317625"/>
              <a:gd name="connsiteY3293" fmla="*/ 70416 h 1344613"/>
              <a:gd name="connsiteX3294" fmla="*/ 715358 w 1317625"/>
              <a:gd name="connsiteY3294" fmla="*/ 72515 h 1344613"/>
              <a:gd name="connsiteX3295" fmla="*/ 717957 w 1317625"/>
              <a:gd name="connsiteY3295" fmla="*/ 74613 h 1344613"/>
              <a:gd name="connsiteX3296" fmla="*/ 720557 w 1317625"/>
              <a:gd name="connsiteY3296" fmla="*/ 75662 h 1344613"/>
              <a:gd name="connsiteX3297" fmla="*/ 728355 w 1317625"/>
              <a:gd name="connsiteY3297" fmla="*/ 75138 h 1344613"/>
              <a:gd name="connsiteX3298" fmla="*/ 733987 w 1317625"/>
              <a:gd name="connsiteY3298" fmla="*/ 74088 h 1344613"/>
              <a:gd name="connsiteX3299" fmla="*/ 738319 w 1317625"/>
              <a:gd name="connsiteY3299" fmla="*/ 73039 h 1344613"/>
              <a:gd name="connsiteX3300" fmla="*/ 740919 w 1317625"/>
              <a:gd name="connsiteY3300" fmla="*/ 72515 h 1344613"/>
              <a:gd name="connsiteX3301" fmla="*/ 738752 w 1317625"/>
              <a:gd name="connsiteY3301" fmla="*/ 69892 h 1344613"/>
              <a:gd name="connsiteX3302" fmla="*/ 736586 w 1317625"/>
              <a:gd name="connsiteY3302" fmla="*/ 67269 h 1344613"/>
              <a:gd name="connsiteX3303" fmla="*/ 736153 w 1317625"/>
              <a:gd name="connsiteY3303" fmla="*/ 65695 h 1344613"/>
              <a:gd name="connsiteX3304" fmla="*/ 735720 w 1317625"/>
              <a:gd name="connsiteY3304" fmla="*/ 64122 h 1344613"/>
              <a:gd name="connsiteX3305" fmla="*/ 735287 w 1317625"/>
              <a:gd name="connsiteY3305" fmla="*/ 62023 h 1344613"/>
              <a:gd name="connsiteX3306" fmla="*/ 735287 w 1317625"/>
              <a:gd name="connsiteY3306" fmla="*/ 59925 h 1344613"/>
              <a:gd name="connsiteX3307" fmla="*/ 743518 w 1317625"/>
              <a:gd name="connsiteY3307" fmla="*/ 57827 h 1344613"/>
              <a:gd name="connsiteX3308" fmla="*/ 754349 w 1317625"/>
              <a:gd name="connsiteY3308" fmla="*/ 55204 h 1344613"/>
              <a:gd name="connsiteX3309" fmla="*/ 759981 w 1317625"/>
              <a:gd name="connsiteY3309" fmla="*/ 53630 h 1344613"/>
              <a:gd name="connsiteX3310" fmla="*/ 765613 w 1317625"/>
              <a:gd name="connsiteY3310" fmla="*/ 52057 h 1344613"/>
              <a:gd name="connsiteX3311" fmla="*/ 770812 w 1317625"/>
              <a:gd name="connsiteY3311" fmla="*/ 49434 h 1344613"/>
              <a:gd name="connsiteX3312" fmla="*/ 775144 w 1317625"/>
              <a:gd name="connsiteY3312" fmla="*/ 46286 h 1344613"/>
              <a:gd name="connsiteX3313" fmla="*/ 778177 w 1317625"/>
              <a:gd name="connsiteY3313" fmla="*/ 44188 h 1344613"/>
              <a:gd name="connsiteX3314" fmla="*/ 781642 w 1317625"/>
              <a:gd name="connsiteY3314" fmla="*/ 42090 h 1344613"/>
              <a:gd name="connsiteX3315" fmla="*/ 784242 w 1317625"/>
              <a:gd name="connsiteY3315" fmla="*/ 40516 h 1344613"/>
              <a:gd name="connsiteX3316" fmla="*/ 787274 w 1317625"/>
              <a:gd name="connsiteY3316" fmla="*/ 39992 h 1344613"/>
              <a:gd name="connsiteX3317" fmla="*/ 787708 w 1317625"/>
              <a:gd name="connsiteY3317" fmla="*/ 43139 h 1344613"/>
              <a:gd name="connsiteX3318" fmla="*/ 788574 w 1317625"/>
              <a:gd name="connsiteY3318" fmla="*/ 46286 h 1344613"/>
              <a:gd name="connsiteX3319" fmla="*/ 789441 w 1317625"/>
              <a:gd name="connsiteY3319" fmla="*/ 47336 h 1344613"/>
              <a:gd name="connsiteX3320" fmla="*/ 790307 w 1317625"/>
              <a:gd name="connsiteY3320" fmla="*/ 48385 h 1344613"/>
              <a:gd name="connsiteX3321" fmla="*/ 791607 w 1317625"/>
              <a:gd name="connsiteY3321" fmla="*/ 49434 h 1344613"/>
              <a:gd name="connsiteX3322" fmla="*/ 792906 w 1317625"/>
              <a:gd name="connsiteY3322" fmla="*/ 49434 h 1344613"/>
              <a:gd name="connsiteX3323" fmla="*/ 797239 w 1317625"/>
              <a:gd name="connsiteY3323" fmla="*/ 48909 h 1344613"/>
              <a:gd name="connsiteX3324" fmla="*/ 803737 w 1317625"/>
              <a:gd name="connsiteY3324" fmla="*/ 46286 h 1344613"/>
              <a:gd name="connsiteX3325" fmla="*/ 809803 w 1317625"/>
              <a:gd name="connsiteY3325" fmla="*/ 44188 h 1344613"/>
              <a:gd name="connsiteX3326" fmla="*/ 812835 w 1317625"/>
              <a:gd name="connsiteY3326" fmla="*/ 43139 h 1344613"/>
              <a:gd name="connsiteX3327" fmla="*/ 811969 w 1317625"/>
              <a:gd name="connsiteY3327" fmla="*/ 42090 h 1344613"/>
              <a:gd name="connsiteX3328" fmla="*/ 811102 w 1317625"/>
              <a:gd name="connsiteY3328" fmla="*/ 41041 h 1344613"/>
              <a:gd name="connsiteX3329" fmla="*/ 809803 w 1317625"/>
              <a:gd name="connsiteY3329" fmla="*/ 39467 h 1344613"/>
              <a:gd name="connsiteX3330" fmla="*/ 809803 w 1317625"/>
              <a:gd name="connsiteY3330" fmla="*/ 38418 h 1344613"/>
              <a:gd name="connsiteX3331" fmla="*/ 809803 w 1317625"/>
              <a:gd name="connsiteY3331" fmla="*/ 36320 h 1344613"/>
              <a:gd name="connsiteX3332" fmla="*/ 811102 w 1317625"/>
              <a:gd name="connsiteY3332" fmla="*/ 33697 h 1344613"/>
              <a:gd name="connsiteX3333" fmla="*/ 812835 w 1317625"/>
              <a:gd name="connsiteY3333" fmla="*/ 31599 h 1344613"/>
              <a:gd name="connsiteX3334" fmla="*/ 815001 w 1317625"/>
              <a:gd name="connsiteY3334" fmla="*/ 28976 h 1344613"/>
              <a:gd name="connsiteX3335" fmla="*/ 818034 w 1317625"/>
              <a:gd name="connsiteY3335" fmla="*/ 26878 h 1344613"/>
              <a:gd name="connsiteX3336" fmla="*/ 821500 w 1317625"/>
              <a:gd name="connsiteY3336" fmla="*/ 24779 h 1344613"/>
              <a:gd name="connsiteX3337" fmla="*/ 823830 w 1317625"/>
              <a:gd name="connsiteY3337" fmla="*/ 23839 h 1344613"/>
              <a:gd name="connsiteX3338" fmla="*/ 824925 w 1317625"/>
              <a:gd name="connsiteY3338" fmla="*/ 21821 h 1344613"/>
              <a:gd name="connsiteX3339" fmla="*/ 827091 w 1317625"/>
              <a:gd name="connsiteY3339" fmla="*/ 18096 h 1344613"/>
              <a:gd name="connsiteX3340" fmla="*/ 829257 w 1317625"/>
              <a:gd name="connsiteY3340" fmla="*/ 14902 h 1344613"/>
              <a:gd name="connsiteX3341" fmla="*/ 831423 w 1317625"/>
              <a:gd name="connsiteY3341" fmla="*/ 11709 h 1344613"/>
              <a:gd name="connsiteX3342" fmla="*/ 834455 w 1317625"/>
              <a:gd name="connsiteY3342" fmla="*/ 10112 h 1344613"/>
              <a:gd name="connsiteX3343" fmla="*/ 836621 w 1317625"/>
              <a:gd name="connsiteY3343" fmla="*/ 7983 h 1344613"/>
              <a:gd name="connsiteX3344" fmla="*/ 839654 w 1317625"/>
              <a:gd name="connsiteY3344" fmla="*/ 6919 h 1344613"/>
              <a:gd name="connsiteX3345" fmla="*/ 842686 w 1317625"/>
              <a:gd name="connsiteY3345" fmla="*/ 6387 h 1344613"/>
              <a:gd name="connsiteX3346" fmla="*/ 848752 w 1317625"/>
              <a:gd name="connsiteY3346" fmla="*/ 7983 h 1344613"/>
              <a:gd name="connsiteX3347" fmla="*/ 854383 w 1317625"/>
              <a:gd name="connsiteY3347" fmla="*/ 10112 h 1344613"/>
              <a:gd name="connsiteX3348" fmla="*/ 848752 w 1317625"/>
              <a:gd name="connsiteY3348" fmla="*/ 20225 h 1344613"/>
              <a:gd name="connsiteX3349" fmla="*/ 860015 w 1317625"/>
              <a:gd name="connsiteY3349" fmla="*/ 20225 h 1344613"/>
              <a:gd name="connsiteX3350" fmla="*/ 861790 w 1317625"/>
              <a:gd name="connsiteY3350" fmla="*/ 18978 h 1344613"/>
              <a:gd name="connsiteX3351" fmla="*/ 861790 w 1317625"/>
              <a:gd name="connsiteY3351" fmla="*/ 14288 h 1344613"/>
              <a:gd name="connsiteX3352" fmla="*/ 870013 w 1317625"/>
              <a:gd name="connsiteY3352" fmla="*/ 14288 h 1344613"/>
              <a:gd name="connsiteX3353" fmla="*/ 870846 w 1317625"/>
              <a:gd name="connsiteY3353" fmla="*/ 12241 h 1344613"/>
              <a:gd name="connsiteX3354" fmla="*/ 871279 w 1317625"/>
              <a:gd name="connsiteY3354" fmla="*/ 10112 h 1344613"/>
              <a:gd name="connsiteX3355" fmla="*/ 879510 w 1317625"/>
              <a:gd name="connsiteY3355" fmla="*/ 14370 h 1344613"/>
              <a:gd name="connsiteX3356" fmla="*/ 880350 w 1317625"/>
              <a:gd name="connsiteY3356" fmla="*/ 14886 h 1344613"/>
              <a:gd name="connsiteX3357" fmla="*/ 882586 w 1317625"/>
              <a:gd name="connsiteY3357" fmla="*/ 15337 h 1344613"/>
              <a:gd name="connsiteX3358" fmla="*/ 885618 w 1317625"/>
              <a:gd name="connsiteY3358" fmla="*/ 16386 h 1344613"/>
              <a:gd name="connsiteX3359" fmla="*/ 887351 w 1317625"/>
              <a:gd name="connsiteY3359" fmla="*/ 17435 h 1344613"/>
              <a:gd name="connsiteX3360" fmla="*/ 886392 w 1317625"/>
              <a:gd name="connsiteY3360" fmla="*/ 18597 h 1344613"/>
              <a:gd name="connsiteX3361" fmla="*/ 887308 w 1317625"/>
              <a:gd name="connsiteY3361" fmla="*/ 19160 h 1344613"/>
              <a:gd name="connsiteX3362" fmla="*/ 891275 w 1317625"/>
              <a:gd name="connsiteY3362" fmla="*/ 22705 h 1344613"/>
              <a:gd name="connsiteX3363" fmla="*/ 892073 w 1317625"/>
              <a:gd name="connsiteY3363" fmla="*/ 22185 h 1344613"/>
              <a:gd name="connsiteX3364" fmla="*/ 892073 w 1317625"/>
              <a:gd name="connsiteY3364" fmla="*/ 10112 h 1344613"/>
              <a:gd name="connsiteX3365" fmla="*/ 903770 w 1317625"/>
              <a:gd name="connsiteY3365" fmla="*/ 10112 h 1344613"/>
              <a:gd name="connsiteX3366" fmla="*/ 912868 w 1317625"/>
              <a:gd name="connsiteY3366" fmla="*/ 10112 h 1344613"/>
              <a:gd name="connsiteX3367" fmla="*/ 919366 w 1317625"/>
              <a:gd name="connsiteY3367" fmla="*/ 10112 h 1344613"/>
              <a:gd name="connsiteX3368" fmla="*/ 923265 w 1317625"/>
              <a:gd name="connsiteY3368" fmla="*/ 10112 h 1344613"/>
              <a:gd name="connsiteX3369" fmla="*/ 927597 w 1317625"/>
              <a:gd name="connsiteY3369" fmla="*/ 10112 h 1344613"/>
              <a:gd name="connsiteX3370" fmla="*/ 931929 w 1317625"/>
              <a:gd name="connsiteY3370" fmla="*/ 10112 h 1344613"/>
              <a:gd name="connsiteX3371" fmla="*/ 933229 w 1317625"/>
              <a:gd name="connsiteY3371" fmla="*/ 9048 h 1344613"/>
              <a:gd name="connsiteX3372" fmla="*/ 934962 w 1317625"/>
              <a:gd name="connsiteY3372" fmla="*/ 8516 h 1344613"/>
              <a:gd name="connsiteX3373" fmla="*/ 936695 w 1317625"/>
              <a:gd name="connsiteY3373" fmla="*/ 7451 h 1344613"/>
              <a:gd name="connsiteX3374" fmla="*/ 937561 w 1317625"/>
              <a:gd name="connsiteY3374" fmla="*/ 6387 h 1344613"/>
              <a:gd name="connsiteX3375" fmla="*/ 938861 w 1317625"/>
              <a:gd name="connsiteY3375" fmla="*/ 7451 h 1344613"/>
              <a:gd name="connsiteX3376" fmla="*/ 940594 w 1317625"/>
              <a:gd name="connsiteY3376" fmla="*/ 7451 h 1344613"/>
              <a:gd name="connsiteX3377" fmla="*/ 941893 w 1317625"/>
              <a:gd name="connsiteY3377" fmla="*/ 6919 h 1344613"/>
              <a:gd name="connsiteX3378" fmla="*/ 943193 w 1317625"/>
              <a:gd name="connsiteY3378" fmla="*/ 5854 h 1344613"/>
              <a:gd name="connsiteX3379" fmla="*/ 944059 w 1317625"/>
              <a:gd name="connsiteY3379" fmla="*/ 4258 h 1344613"/>
              <a:gd name="connsiteX3380" fmla="*/ 945792 w 1317625"/>
              <a:gd name="connsiteY3380" fmla="*/ 3193 h 1344613"/>
              <a:gd name="connsiteX3381" fmla="*/ 946226 w 1317625"/>
              <a:gd name="connsiteY3381" fmla="*/ 1597 h 1344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Lst>
            <a:rect l="l" t="t" r="r" b="b"/>
            <a:pathLst>
              <a:path w="1317625" h="1344613">
                <a:moveTo>
                  <a:pt x="0" y="1287463"/>
                </a:moveTo>
                <a:lnTo>
                  <a:pt x="6350" y="1287463"/>
                </a:lnTo>
                <a:lnTo>
                  <a:pt x="6106" y="1306513"/>
                </a:lnTo>
                <a:lnTo>
                  <a:pt x="5861" y="1323976"/>
                </a:lnTo>
                <a:lnTo>
                  <a:pt x="5617" y="1330326"/>
                </a:lnTo>
                <a:lnTo>
                  <a:pt x="5617" y="1336676"/>
                </a:lnTo>
                <a:lnTo>
                  <a:pt x="5861" y="1341438"/>
                </a:lnTo>
                <a:lnTo>
                  <a:pt x="6350" y="1344613"/>
                </a:lnTo>
                <a:lnTo>
                  <a:pt x="1465" y="1344613"/>
                </a:lnTo>
                <a:lnTo>
                  <a:pt x="1221" y="1335088"/>
                </a:lnTo>
                <a:lnTo>
                  <a:pt x="733" y="1319213"/>
                </a:lnTo>
                <a:lnTo>
                  <a:pt x="244" y="1303338"/>
                </a:lnTo>
                <a:close/>
                <a:moveTo>
                  <a:pt x="110807" y="1277938"/>
                </a:moveTo>
                <a:lnTo>
                  <a:pt x="112712" y="1277938"/>
                </a:lnTo>
                <a:lnTo>
                  <a:pt x="110807" y="1281027"/>
                </a:lnTo>
                <a:lnTo>
                  <a:pt x="108426" y="1285661"/>
                </a:lnTo>
                <a:lnTo>
                  <a:pt x="106997" y="1289523"/>
                </a:lnTo>
                <a:lnTo>
                  <a:pt x="106045" y="1294156"/>
                </a:lnTo>
                <a:lnTo>
                  <a:pt x="103663" y="1301879"/>
                </a:lnTo>
                <a:lnTo>
                  <a:pt x="101758" y="1310375"/>
                </a:lnTo>
                <a:lnTo>
                  <a:pt x="100806" y="1314236"/>
                </a:lnTo>
                <a:lnTo>
                  <a:pt x="99377" y="1317325"/>
                </a:lnTo>
                <a:lnTo>
                  <a:pt x="97948" y="1321187"/>
                </a:lnTo>
                <a:lnTo>
                  <a:pt x="96043" y="1324276"/>
                </a:lnTo>
                <a:lnTo>
                  <a:pt x="93662" y="1328137"/>
                </a:lnTo>
                <a:lnTo>
                  <a:pt x="91281" y="1331227"/>
                </a:lnTo>
                <a:lnTo>
                  <a:pt x="87947" y="1333544"/>
                </a:lnTo>
                <a:lnTo>
                  <a:pt x="84137" y="1335088"/>
                </a:lnTo>
                <a:lnTo>
                  <a:pt x="86518" y="1324276"/>
                </a:lnTo>
                <a:lnTo>
                  <a:pt x="89852" y="1314236"/>
                </a:lnTo>
                <a:lnTo>
                  <a:pt x="93186" y="1304196"/>
                </a:lnTo>
                <a:lnTo>
                  <a:pt x="96996" y="1295701"/>
                </a:lnTo>
                <a:lnTo>
                  <a:pt x="101282" y="1288750"/>
                </a:lnTo>
                <a:lnTo>
                  <a:pt x="104616" y="1282572"/>
                </a:lnTo>
                <a:lnTo>
                  <a:pt x="106997" y="1280255"/>
                </a:lnTo>
                <a:lnTo>
                  <a:pt x="108902" y="1278710"/>
                </a:lnTo>
                <a:close/>
                <a:moveTo>
                  <a:pt x="773112" y="1069975"/>
                </a:moveTo>
                <a:lnTo>
                  <a:pt x="773112" y="1106070"/>
                </a:lnTo>
                <a:lnTo>
                  <a:pt x="773112" y="1127125"/>
                </a:lnTo>
                <a:lnTo>
                  <a:pt x="763588" y="1127125"/>
                </a:lnTo>
                <a:lnTo>
                  <a:pt x="758825" y="1127125"/>
                </a:lnTo>
                <a:lnTo>
                  <a:pt x="763588" y="1106070"/>
                </a:lnTo>
                <a:close/>
                <a:moveTo>
                  <a:pt x="1015206" y="1040131"/>
                </a:moveTo>
                <a:lnTo>
                  <a:pt x="1029815" y="1041997"/>
                </a:lnTo>
                <a:lnTo>
                  <a:pt x="1042764" y="1045729"/>
                </a:lnTo>
                <a:lnTo>
                  <a:pt x="1049405" y="1047595"/>
                </a:lnTo>
                <a:lnTo>
                  <a:pt x="1055381" y="1046662"/>
                </a:lnTo>
                <a:lnTo>
                  <a:pt x="1058370" y="1045729"/>
                </a:lnTo>
                <a:lnTo>
                  <a:pt x="1060694" y="1044796"/>
                </a:lnTo>
                <a:lnTo>
                  <a:pt x="1063350" y="1042930"/>
                </a:lnTo>
                <a:lnTo>
                  <a:pt x="1066006" y="1040131"/>
                </a:lnTo>
                <a:lnTo>
                  <a:pt x="1066006" y="1048528"/>
                </a:lnTo>
                <a:lnTo>
                  <a:pt x="1066006" y="1063457"/>
                </a:lnTo>
                <a:lnTo>
                  <a:pt x="1062686" y="1069055"/>
                </a:lnTo>
                <a:lnTo>
                  <a:pt x="1059366" y="1073721"/>
                </a:lnTo>
                <a:lnTo>
                  <a:pt x="1056377" y="1077453"/>
                </a:lnTo>
                <a:lnTo>
                  <a:pt x="1053057" y="1081185"/>
                </a:lnTo>
                <a:lnTo>
                  <a:pt x="1050401" y="1083051"/>
                </a:lnTo>
                <a:lnTo>
                  <a:pt x="1048077" y="1084917"/>
                </a:lnTo>
                <a:lnTo>
                  <a:pt x="1045753" y="1085850"/>
                </a:lnTo>
                <a:lnTo>
                  <a:pt x="1044093" y="1085850"/>
                </a:lnTo>
                <a:lnTo>
                  <a:pt x="1039112" y="1084917"/>
                </a:lnTo>
                <a:lnTo>
                  <a:pt x="1035128" y="1083051"/>
                </a:lnTo>
                <a:lnTo>
                  <a:pt x="1031808" y="1080252"/>
                </a:lnTo>
                <a:lnTo>
                  <a:pt x="1028819" y="1075587"/>
                </a:lnTo>
                <a:lnTo>
                  <a:pt x="1022511" y="1067189"/>
                </a:lnTo>
                <a:lnTo>
                  <a:pt x="1015206" y="1057859"/>
                </a:lnTo>
                <a:close/>
                <a:moveTo>
                  <a:pt x="719137" y="990600"/>
                </a:moveTo>
                <a:lnTo>
                  <a:pt x="759919" y="990600"/>
                </a:lnTo>
                <a:lnTo>
                  <a:pt x="765559" y="1000125"/>
                </a:lnTo>
                <a:lnTo>
                  <a:pt x="767729" y="996950"/>
                </a:lnTo>
                <a:lnTo>
                  <a:pt x="769898" y="994834"/>
                </a:lnTo>
                <a:lnTo>
                  <a:pt x="772067" y="993246"/>
                </a:lnTo>
                <a:lnTo>
                  <a:pt x="774236" y="992188"/>
                </a:lnTo>
                <a:lnTo>
                  <a:pt x="778575" y="991129"/>
                </a:lnTo>
                <a:lnTo>
                  <a:pt x="783347" y="990600"/>
                </a:lnTo>
                <a:lnTo>
                  <a:pt x="784649" y="990600"/>
                </a:lnTo>
                <a:lnTo>
                  <a:pt x="788987" y="990600"/>
                </a:lnTo>
                <a:lnTo>
                  <a:pt x="788987" y="1039284"/>
                </a:lnTo>
                <a:lnTo>
                  <a:pt x="786384" y="1039813"/>
                </a:lnTo>
                <a:lnTo>
                  <a:pt x="784215" y="1039813"/>
                </a:lnTo>
                <a:lnTo>
                  <a:pt x="782046" y="1039284"/>
                </a:lnTo>
                <a:lnTo>
                  <a:pt x="779876" y="1038755"/>
                </a:lnTo>
                <a:lnTo>
                  <a:pt x="775104" y="1037167"/>
                </a:lnTo>
                <a:lnTo>
                  <a:pt x="771199" y="1033992"/>
                </a:lnTo>
                <a:lnTo>
                  <a:pt x="767295" y="1030288"/>
                </a:lnTo>
                <a:lnTo>
                  <a:pt x="764258" y="1026055"/>
                </a:lnTo>
                <a:lnTo>
                  <a:pt x="761221" y="1021821"/>
                </a:lnTo>
                <a:lnTo>
                  <a:pt x="759919" y="1016530"/>
                </a:lnTo>
                <a:lnTo>
                  <a:pt x="759052" y="1017059"/>
                </a:lnTo>
                <a:lnTo>
                  <a:pt x="757750" y="1017588"/>
                </a:lnTo>
                <a:lnTo>
                  <a:pt x="756448" y="1017588"/>
                </a:lnTo>
                <a:lnTo>
                  <a:pt x="755581" y="1017588"/>
                </a:lnTo>
                <a:lnTo>
                  <a:pt x="752978" y="1017059"/>
                </a:lnTo>
                <a:lnTo>
                  <a:pt x="751242" y="1016530"/>
                </a:lnTo>
                <a:lnTo>
                  <a:pt x="747338" y="1016000"/>
                </a:lnTo>
                <a:lnTo>
                  <a:pt x="742999" y="1014413"/>
                </a:lnTo>
                <a:lnTo>
                  <a:pt x="738227" y="1011767"/>
                </a:lnTo>
                <a:lnTo>
                  <a:pt x="733020" y="1008592"/>
                </a:lnTo>
                <a:lnTo>
                  <a:pt x="728248" y="1004359"/>
                </a:lnTo>
                <a:lnTo>
                  <a:pt x="724343" y="1000125"/>
                </a:lnTo>
                <a:lnTo>
                  <a:pt x="722608" y="998009"/>
                </a:lnTo>
                <a:lnTo>
                  <a:pt x="721307" y="995363"/>
                </a:lnTo>
                <a:lnTo>
                  <a:pt x="720439" y="993246"/>
                </a:lnTo>
                <a:close/>
                <a:moveTo>
                  <a:pt x="1317625" y="959644"/>
                </a:moveTo>
                <a:lnTo>
                  <a:pt x="1316948" y="961607"/>
                </a:lnTo>
                <a:lnTo>
                  <a:pt x="1316271" y="962916"/>
                </a:lnTo>
                <a:lnTo>
                  <a:pt x="1314239" y="964224"/>
                </a:lnTo>
                <a:lnTo>
                  <a:pt x="1312885" y="965533"/>
                </a:lnTo>
                <a:lnTo>
                  <a:pt x="1308145" y="967496"/>
                </a:lnTo>
                <a:lnTo>
                  <a:pt x="1304759" y="968150"/>
                </a:lnTo>
                <a:lnTo>
                  <a:pt x="1304081" y="972076"/>
                </a:lnTo>
                <a:lnTo>
                  <a:pt x="1302727" y="976656"/>
                </a:lnTo>
                <a:lnTo>
                  <a:pt x="1302050" y="980582"/>
                </a:lnTo>
                <a:lnTo>
                  <a:pt x="1300695" y="983853"/>
                </a:lnTo>
                <a:lnTo>
                  <a:pt x="1299341" y="986470"/>
                </a:lnTo>
                <a:lnTo>
                  <a:pt x="1297309" y="989088"/>
                </a:lnTo>
                <a:lnTo>
                  <a:pt x="1293923" y="991705"/>
                </a:lnTo>
                <a:lnTo>
                  <a:pt x="1291215" y="994322"/>
                </a:lnTo>
                <a:lnTo>
                  <a:pt x="1284443" y="998248"/>
                </a:lnTo>
                <a:lnTo>
                  <a:pt x="1275639" y="1002173"/>
                </a:lnTo>
                <a:lnTo>
                  <a:pt x="1266158" y="1004791"/>
                </a:lnTo>
                <a:lnTo>
                  <a:pt x="1254646" y="1008062"/>
                </a:lnTo>
                <a:lnTo>
                  <a:pt x="1241102" y="988433"/>
                </a:lnTo>
                <a:lnTo>
                  <a:pt x="1254646" y="981236"/>
                </a:lnTo>
                <a:lnTo>
                  <a:pt x="1274285" y="972076"/>
                </a:lnTo>
                <a:lnTo>
                  <a:pt x="1285120" y="968150"/>
                </a:lnTo>
                <a:lnTo>
                  <a:pt x="1296632" y="964879"/>
                </a:lnTo>
                <a:lnTo>
                  <a:pt x="1307467" y="962261"/>
                </a:lnTo>
                <a:close/>
                <a:moveTo>
                  <a:pt x="492125" y="931863"/>
                </a:moveTo>
                <a:lnTo>
                  <a:pt x="495860" y="931863"/>
                </a:lnTo>
                <a:lnTo>
                  <a:pt x="501930" y="931863"/>
                </a:lnTo>
                <a:lnTo>
                  <a:pt x="503798" y="941194"/>
                </a:lnTo>
                <a:lnTo>
                  <a:pt x="506132" y="945859"/>
                </a:lnTo>
                <a:lnTo>
                  <a:pt x="506599" y="949358"/>
                </a:lnTo>
                <a:lnTo>
                  <a:pt x="507533" y="951691"/>
                </a:lnTo>
                <a:lnTo>
                  <a:pt x="507533" y="956356"/>
                </a:lnTo>
                <a:lnTo>
                  <a:pt x="508000" y="961021"/>
                </a:lnTo>
                <a:lnTo>
                  <a:pt x="508000" y="971518"/>
                </a:lnTo>
                <a:lnTo>
                  <a:pt x="508000" y="989013"/>
                </a:lnTo>
                <a:lnTo>
                  <a:pt x="505666" y="985514"/>
                </a:lnTo>
                <a:lnTo>
                  <a:pt x="503331" y="982015"/>
                </a:lnTo>
                <a:lnTo>
                  <a:pt x="500996" y="977350"/>
                </a:lnTo>
                <a:lnTo>
                  <a:pt x="498662" y="971518"/>
                </a:lnTo>
                <a:lnTo>
                  <a:pt x="496794" y="963354"/>
                </a:lnTo>
                <a:lnTo>
                  <a:pt x="495394" y="955190"/>
                </a:lnTo>
                <a:lnTo>
                  <a:pt x="493526" y="944693"/>
                </a:lnTo>
                <a:close/>
                <a:moveTo>
                  <a:pt x="1037139" y="887842"/>
                </a:moveTo>
                <a:lnTo>
                  <a:pt x="1034397" y="890987"/>
                </a:lnTo>
                <a:lnTo>
                  <a:pt x="1031824" y="893151"/>
                </a:lnTo>
                <a:lnTo>
                  <a:pt x="1028823" y="895315"/>
                </a:lnTo>
                <a:lnTo>
                  <a:pt x="1028721" y="895358"/>
                </a:lnTo>
                <a:lnTo>
                  <a:pt x="1028767" y="895350"/>
                </a:lnTo>
                <a:lnTo>
                  <a:pt x="1030997" y="894292"/>
                </a:lnTo>
                <a:lnTo>
                  <a:pt x="1033673" y="892175"/>
                </a:lnTo>
                <a:lnTo>
                  <a:pt x="1035457" y="890058"/>
                </a:lnTo>
                <a:close/>
                <a:moveTo>
                  <a:pt x="297880" y="880096"/>
                </a:moveTo>
                <a:lnTo>
                  <a:pt x="300037" y="880334"/>
                </a:lnTo>
                <a:lnTo>
                  <a:pt x="300037" y="883468"/>
                </a:lnTo>
                <a:lnTo>
                  <a:pt x="300037" y="886601"/>
                </a:lnTo>
                <a:lnTo>
                  <a:pt x="298317" y="889735"/>
                </a:lnTo>
                <a:lnTo>
                  <a:pt x="296168" y="897047"/>
                </a:lnTo>
                <a:lnTo>
                  <a:pt x="292728" y="908014"/>
                </a:lnTo>
                <a:lnTo>
                  <a:pt x="289288" y="919504"/>
                </a:lnTo>
                <a:lnTo>
                  <a:pt x="285419" y="931516"/>
                </a:lnTo>
                <a:lnTo>
                  <a:pt x="282839" y="942484"/>
                </a:lnTo>
                <a:lnTo>
                  <a:pt x="280689" y="951363"/>
                </a:lnTo>
                <a:lnTo>
                  <a:pt x="280680" y="951487"/>
                </a:lnTo>
                <a:lnTo>
                  <a:pt x="282752" y="942942"/>
                </a:lnTo>
                <a:lnTo>
                  <a:pt x="285357" y="931877"/>
                </a:lnTo>
                <a:lnTo>
                  <a:pt x="289266" y="919758"/>
                </a:lnTo>
                <a:lnTo>
                  <a:pt x="292740" y="908165"/>
                </a:lnTo>
                <a:lnTo>
                  <a:pt x="296215" y="897100"/>
                </a:lnTo>
                <a:lnTo>
                  <a:pt x="298386" y="889723"/>
                </a:lnTo>
                <a:lnTo>
                  <a:pt x="300123" y="886562"/>
                </a:lnTo>
                <a:lnTo>
                  <a:pt x="300123" y="883400"/>
                </a:lnTo>
                <a:lnTo>
                  <a:pt x="300123" y="880239"/>
                </a:lnTo>
                <a:close/>
                <a:moveTo>
                  <a:pt x="276985" y="876326"/>
                </a:moveTo>
                <a:lnTo>
                  <a:pt x="278110" y="876678"/>
                </a:lnTo>
                <a:lnTo>
                  <a:pt x="284129" y="878245"/>
                </a:lnTo>
                <a:lnTo>
                  <a:pt x="287561" y="878840"/>
                </a:lnTo>
                <a:lnTo>
                  <a:pt x="284055" y="878131"/>
                </a:lnTo>
                <a:close/>
                <a:moveTo>
                  <a:pt x="243161" y="867038"/>
                </a:moveTo>
                <a:lnTo>
                  <a:pt x="252743" y="869366"/>
                </a:lnTo>
                <a:lnTo>
                  <a:pt x="264781" y="872500"/>
                </a:lnTo>
                <a:lnTo>
                  <a:pt x="274220" y="875459"/>
                </a:lnTo>
                <a:lnTo>
                  <a:pt x="268420" y="873389"/>
                </a:lnTo>
                <a:lnTo>
                  <a:pt x="260168" y="870755"/>
                </a:lnTo>
                <a:lnTo>
                  <a:pt x="252351" y="868647"/>
                </a:lnTo>
                <a:lnTo>
                  <a:pt x="243665" y="867066"/>
                </a:lnTo>
                <a:close/>
                <a:moveTo>
                  <a:pt x="966221" y="866642"/>
                </a:moveTo>
                <a:lnTo>
                  <a:pt x="965798" y="866909"/>
                </a:lnTo>
                <a:lnTo>
                  <a:pt x="966732" y="869543"/>
                </a:lnTo>
                <a:close/>
                <a:moveTo>
                  <a:pt x="467671" y="853571"/>
                </a:moveTo>
                <a:lnTo>
                  <a:pt x="459254" y="854046"/>
                </a:lnTo>
                <a:lnTo>
                  <a:pt x="463417" y="857582"/>
                </a:lnTo>
                <a:lnTo>
                  <a:pt x="465648" y="859872"/>
                </a:lnTo>
                <a:close/>
                <a:moveTo>
                  <a:pt x="435162" y="844060"/>
                </a:moveTo>
                <a:lnTo>
                  <a:pt x="433383" y="844587"/>
                </a:lnTo>
                <a:lnTo>
                  <a:pt x="431605" y="845641"/>
                </a:lnTo>
                <a:lnTo>
                  <a:pt x="430773" y="846381"/>
                </a:lnTo>
                <a:lnTo>
                  <a:pt x="433885" y="848097"/>
                </a:lnTo>
                <a:lnTo>
                  <a:pt x="440516" y="850396"/>
                </a:lnTo>
                <a:lnTo>
                  <a:pt x="439609" y="849858"/>
                </a:lnTo>
                <a:lnTo>
                  <a:pt x="437830" y="848277"/>
                </a:lnTo>
                <a:lnTo>
                  <a:pt x="436496" y="846168"/>
                </a:lnTo>
                <a:close/>
                <a:moveTo>
                  <a:pt x="646112" y="833438"/>
                </a:moveTo>
                <a:lnTo>
                  <a:pt x="644803" y="849416"/>
                </a:lnTo>
                <a:lnTo>
                  <a:pt x="643929" y="866007"/>
                </a:lnTo>
                <a:lnTo>
                  <a:pt x="643493" y="873382"/>
                </a:lnTo>
                <a:lnTo>
                  <a:pt x="643493" y="880756"/>
                </a:lnTo>
                <a:lnTo>
                  <a:pt x="643929" y="883828"/>
                </a:lnTo>
                <a:lnTo>
                  <a:pt x="644366" y="886287"/>
                </a:lnTo>
                <a:lnTo>
                  <a:pt x="644803" y="888745"/>
                </a:lnTo>
                <a:lnTo>
                  <a:pt x="645389" y="889570"/>
                </a:lnTo>
                <a:lnTo>
                  <a:pt x="646876" y="891025"/>
                </a:lnTo>
                <a:lnTo>
                  <a:pt x="647720" y="892573"/>
                </a:lnTo>
                <a:lnTo>
                  <a:pt x="648564" y="894636"/>
                </a:lnTo>
                <a:lnTo>
                  <a:pt x="649830" y="898764"/>
                </a:lnTo>
                <a:lnTo>
                  <a:pt x="651096" y="903923"/>
                </a:lnTo>
                <a:lnTo>
                  <a:pt x="651518" y="908051"/>
                </a:lnTo>
                <a:lnTo>
                  <a:pt x="651940" y="912694"/>
                </a:lnTo>
                <a:lnTo>
                  <a:pt x="652784" y="917338"/>
                </a:lnTo>
                <a:lnTo>
                  <a:pt x="654050" y="921981"/>
                </a:lnTo>
                <a:lnTo>
                  <a:pt x="654050" y="937975"/>
                </a:lnTo>
                <a:lnTo>
                  <a:pt x="649408" y="946746"/>
                </a:lnTo>
                <a:lnTo>
                  <a:pt x="645610" y="953969"/>
                </a:lnTo>
                <a:lnTo>
                  <a:pt x="643078" y="957581"/>
                </a:lnTo>
                <a:lnTo>
                  <a:pt x="641812" y="961708"/>
                </a:lnTo>
                <a:lnTo>
                  <a:pt x="640968" y="965320"/>
                </a:lnTo>
                <a:lnTo>
                  <a:pt x="640124" y="969963"/>
                </a:lnTo>
                <a:lnTo>
                  <a:pt x="637592" y="967383"/>
                </a:lnTo>
                <a:lnTo>
                  <a:pt x="634638" y="964804"/>
                </a:lnTo>
                <a:lnTo>
                  <a:pt x="632528" y="961708"/>
                </a:lnTo>
                <a:lnTo>
                  <a:pt x="629996" y="958097"/>
                </a:lnTo>
                <a:lnTo>
                  <a:pt x="628308" y="954485"/>
                </a:lnTo>
                <a:lnTo>
                  <a:pt x="627042" y="950873"/>
                </a:lnTo>
                <a:lnTo>
                  <a:pt x="625354" y="946746"/>
                </a:lnTo>
                <a:lnTo>
                  <a:pt x="624088" y="943134"/>
                </a:lnTo>
                <a:lnTo>
                  <a:pt x="622400" y="934363"/>
                </a:lnTo>
                <a:lnTo>
                  <a:pt x="621134" y="925077"/>
                </a:lnTo>
                <a:lnTo>
                  <a:pt x="620712" y="915790"/>
                </a:lnTo>
                <a:lnTo>
                  <a:pt x="620712" y="906503"/>
                </a:lnTo>
                <a:lnTo>
                  <a:pt x="623244" y="906503"/>
                </a:lnTo>
                <a:lnTo>
                  <a:pt x="625354" y="905987"/>
                </a:lnTo>
                <a:lnTo>
                  <a:pt x="627464" y="905471"/>
                </a:lnTo>
                <a:lnTo>
                  <a:pt x="628730" y="904439"/>
                </a:lnTo>
                <a:lnTo>
                  <a:pt x="631684" y="901859"/>
                </a:lnTo>
                <a:lnTo>
                  <a:pt x="633794" y="898764"/>
                </a:lnTo>
                <a:lnTo>
                  <a:pt x="636326" y="895668"/>
                </a:lnTo>
                <a:lnTo>
                  <a:pt x="638014" y="892573"/>
                </a:lnTo>
                <a:lnTo>
                  <a:pt x="639637" y="890588"/>
                </a:lnTo>
                <a:lnTo>
                  <a:pt x="634325" y="890588"/>
                </a:lnTo>
                <a:lnTo>
                  <a:pt x="633452" y="889974"/>
                </a:lnTo>
                <a:lnTo>
                  <a:pt x="632143" y="889359"/>
                </a:lnTo>
                <a:lnTo>
                  <a:pt x="631270" y="887516"/>
                </a:lnTo>
                <a:lnTo>
                  <a:pt x="630396" y="886287"/>
                </a:lnTo>
                <a:lnTo>
                  <a:pt x="629087" y="882599"/>
                </a:lnTo>
                <a:lnTo>
                  <a:pt x="628650" y="878298"/>
                </a:lnTo>
                <a:lnTo>
                  <a:pt x="629087" y="872767"/>
                </a:lnTo>
                <a:lnTo>
                  <a:pt x="629960" y="864164"/>
                </a:lnTo>
                <a:lnTo>
                  <a:pt x="631270" y="856175"/>
                </a:lnTo>
                <a:lnTo>
                  <a:pt x="631706" y="852488"/>
                </a:lnTo>
                <a:lnTo>
                  <a:pt x="633016" y="851874"/>
                </a:lnTo>
                <a:lnTo>
                  <a:pt x="634762" y="849416"/>
                </a:lnTo>
                <a:lnTo>
                  <a:pt x="637381" y="845728"/>
                </a:lnTo>
                <a:lnTo>
                  <a:pt x="639564" y="842656"/>
                </a:lnTo>
                <a:lnTo>
                  <a:pt x="643929" y="835896"/>
                </a:lnTo>
                <a:close/>
                <a:moveTo>
                  <a:pt x="963430" y="831987"/>
                </a:moveTo>
                <a:lnTo>
                  <a:pt x="963173" y="833829"/>
                </a:lnTo>
                <a:lnTo>
                  <a:pt x="961418" y="836456"/>
                </a:lnTo>
                <a:lnTo>
                  <a:pt x="959663" y="839083"/>
                </a:lnTo>
                <a:lnTo>
                  <a:pt x="957908" y="840660"/>
                </a:lnTo>
                <a:lnTo>
                  <a:pt x="955275" y="842761"/>
                </a:lnTo>
                <a:lnTo>
                  <a:pt x="953519" y="843812"/>
                </a:lnTo>
                <a:lnTo>
                  <a:pt x="952642" y="845389"/>
                </a:lnTo>
                <a:lnTo>
                  <a:pt x="952203" y="846965"/>
                </a:lnTo>
                <a:lnTo>
                  <a:pt x="944743" y="849592"/>
                </a:lnTo>
                <a:lnTo>
                  <a:pt x="938599" y="852745"/>
                </a:lnTo>
                <a:lnTo>
                  <a:pt x="932895" y="856423"/>
                </a:lnTo>
                <a:lnTo>
                  <a:pt x="929087" y="859462"/>
                </a:lnTo>
                <a:lnTo>
                  <a:pt x="936565" y="854944"/>
                </a:lnTo>
                <a:lnTo>
                  <a:pt x="944672" y="850819"/>
                </a:lnTo>
                <a:lnTo>
                  <a:pt x="951925" y="847725"/>
                </a:lnTo>
                <a:lnTo>
                  <a:pt x="951925" y="852366"/>
                </a:lnTo>
                <a:lnTo>
                  <a:pt x="951925" y="857006"/>
                </a:lnTo>
                <a:lnTo>
                  <a:pt x="952351" y="860615"/>
                </a:lnTo>
                <a:lnTo>
                  <a:pt x="953205" y="864224"/>
                </a:lnTo>
                <a:lnTo>
                  <a:pt x="953590" y="864689"/>
                </a:lnTo>
                <a:lnTo>
                  <a:pt x="952929" y="861773"/>
                </a:lnTo>
                <a:lnTo>
                  <a:pt x="952500" y="856905"/>
                </a:lnTo>
                <a:lnTo>
                  <a:pt x="952500" y="852036"/>
                </a:lnTo>
                <a:lnTo>
                  <a:pt x="952500" y="847167"/>
                </a:lnTo>
                <a:lnTo>
                  <a:pt x="952929" y="845544"/>
                </a:lnTo>
                <a:lnTo>
                  <a:pt x="953787" y="844462"/>
                </a:lnTo>
                <a:lnTo>
                  <a:pt x="955502" y="843380"/>
                </a:lnTo>
                <a:lnTo>
                  <a:pt x="958074" y="842298"/>
                </a:lnTo>
                <a:lnTo>
                  <a:pt x="959789" y="841216"/>
                </a:lnTo>
                <a:lnTo>
                  <a:pt x="961505" y="839052"/>
                </a:lnTo>
                <a:lnTo>
                  <a:pt x="962362" y="837970"/>
                </a:lnTo>
                <a:lnTo>
                  <a:pt x="963220" y="836888"/>
                </a:lnTo>
                <a:lnTo>
                  <a:pt x="963220" y="835265"/>
                </a:lnTo>
                <a:lnTo>
                  <a:pt x="963648" y="833642"/>
                </a:lnTo>
                <a:close/>
                <a:moveTo>
                  <a:pt x="875829" y="813822"/>
                </a:moveTo>
                <a:lnTo>
                  <a:pt x="870435" y="822771"/>
                </a:lnTo>
                <a:lnTo>
                  <a:pt x="872337" y="820167"/>
                </a:lnTo>
                <a:lnTo>
                  <a:pt x="875848" y="813862"/>
                </a:lnTo>
                <a:close/>
                <a:moveTo>
                  <a:pt x="933873" y="780327"/>
                </a:moveTo>
                <a:lnTo>
                  <a:pt x="939477" y="785488"/>
                </a:lnTo>
                <a:lnTo>
                  <a:pt x="942549" y="789167"/>
                </a:lnTo>
                <a:lnTo>
                  <a:pt x="944743" y="792845"/>
                </a:lnTo>
                <a:lnTo>
                  <a:pt x="947376" y="797048"/>
                </a:lnTo>
                <a:lnTo>
                  <a:pt x="948692" y="801252"/>
                </a:lnTo>
                <a:lnTo>
                  <a:pt x="952203" y="801252"/>
                </a:lnTo>
                <a:lnTo>
                  <a:pt x="954836" y="801252"/>
                </a:lnTo>
                <a:lnTo>
                  <a:pt x="953524" y="803346"/>
                </a:lnTo>
                <a:lnTo>
                  <a:pt x="953787" y="803346"/>
                </a:lnTo>
                <a:lnTo>
                  <a:pt x="955073" y="803346"/>
                </a:lnTo>
                <a:lnTo>
                  <a:pt x="954473" y="804355"/>
                </a:lnTo>
                <a:lnTo>
                  <a:pt x="953297" y="803753"/>
                </a:lnTo>
                <a:lnTo>
                  <a:pt x="952642" y="804930"/>
                </a:lnTo>
                <a:lnTo>
                  <a:pt x="952203" y="805981"/>
                </a:lnTo>
                <a:lnTo>
                  <a:pt x="952642" y="807557"/>
                </a:lnTo>
                <a:lnTo>
                  <a:pt x="952732" y="807880"/>
                </a:lnTo>
                <a:lnTo>
                  <a:pt x="952929" y="807133"/>
                </a:lnTo>
                <a:lnTo>
                  <a:pt x="953787" y="805510"/>
                </a:lnTo>
                <a:lnTo>
                  <a:pt x="954473" y="804355"/>
                </a:lnTo>
                <a:lnTo>
                  <a:pt x="986374" y="820658"/>
                </a:lnTo>
                <a:lnTo>
                  <a:pt x="994092" y="817953"/>
                </a:lnTo>
                <a:lnTo>
                  <a:pt x="995701" y="817163"/>
                </a:lnTo>
                <a:lnTo>
                  <a:pt x="989954" y="819150"/>
                </a:lnTo>
                <a:lnTo>
                  <a:pt x="956609" y="802341"/>
                </a:lnTo>
                <a:lnTo>
                  <a:pt x="953232" y="798664"/>
                </a:lnTo>
                <a:lnTo>
                  <a:pt x="950278" y="794987"/>
                </a:lnTo>
                <a:lnTo>
                  <a:pt x="947323" y="791836"/>
                </a:lnTo>
                <a:lnTo>
                  <a:pt x="943946" y="788684"/>
                </a:lnTo>
                <a:lnTo>
                  <a:pt x="936349" y="782381"/>
                </a:lnTo>
                <a:close/>
                <a:moveTo>
                  <a:pt x="742915" y="763881"/>
                </a:moveTo>
                <a:lnTo>
                  <a:pt x="744285" y="764212"/>
                </a:lnTo>
                <a:lnTo>
                  <a:pt x="745153" y="765260"/>
                </a:lnTo>
                <a:lnTo>
                  <a:pt x="746021" y="766309"/>
                </a:lnTo>
                <a:lnTo>
                  <a:pt x="746889" y="768405"/>
                </a:lnTo>
                <a:lnTo>
                  <a:pt x="747323" y="771026"/>
                </a:lnTo>
                <a:lnTo>
                  <a:pt x="745587" y="768405"/>
                </a:lnTo>
                <a:lnTo>
                  <a:pt x="744285" y="766309"/>
                </a:lnTo>
                <a:lnTo>
                  <a:pt x="742983" y="764212"/>
                </a:lnTo>
                <a:close/>
                <a:moveTo>
                  <a:pt x="1072988" y="753394"/>
                </a:moveTo>
                <a:lnTo>
                  <a:pt x="1073105" y="753491"/>
                </a:lnTo>
                <a:lnTo>
                  <a:pt x="1075637" y="755592"/>
                </a:lnTo>
                <a:lnTo>
                  <a:pt x="1078592" y="758218"/>
                </a:lnTo>
                <a:lnTo>
                  <a:pt x="1081426" y="759100"/>
                </a:lnTo>
                <a:lnTo>
                  <a:pt x="1079120" y="757854"/>
                </a:lnTo>
                <a:lnTo>
                  <a:pt x="1076079" y="755742"/>
                </a:lnTo>
                <a:close/>
                <a:moveTo>
                  <a:pt x="1067759" y="747713"/>
                </a:moveTo>
                <a:lnTo>
                  <a:pt x="1068462" y="748763"/>
                </a:lnTo>
                <a:lnTo>
                  <a:pt x="1070572" y="751390"/>
                </a:lnTo>
                <a:lnTo>
                  <a:pt x="1072534" y="753017"/>
                </a:lnTo>
                <a:lnTo>
                  <a:pt x="1069563" y="749406"/>
                </a:lnTo>
                <a:lnTo>
                  <a:pt x="1070723" y="747713"/>
                </a:lnTo>
                <a:close/>
                <a:moveTo>
                  <a:pt x="623094" y="739678"/>
                </a:moveTo>
                <a:lnTo>
                  <a:pt x="620903" y="741759"/>
                </a:lnTo>
                <a:lnTo>
                  <a:pt x="622778" y="740627"/>
                </a:lnTo>
                <a:lnTo>
                  <a:pt x="623139" y="740191"/>
                </a:lnTo>
                <a:close/>
                <a:moveTo>
                  <a:pt x="805058" y="716926"/>
                </a:moveTo>
                <a:lnTo>
                  <a:pt x="800977" y="720363"/>
                </a:lnTo>
                <a:lnTo>
                  <a:pt x="802971" y="721960"/>
                </a:lnTo>
                <a:lnTo>
                  <a:pt x="805319" y="725488"/>
                </a:lnTo>
                <a:lnTo>
                  <a:pt x="807668" y="729016"/>
                </a:lnTo>
                <a:lnTo>
                  <a:pt x="808972" y="730897"/>
                </a:lnTo>
                <a:lnTo>
                  <a:pt x="809190" y="730713"/>
                </a:lnTo>
                <a:lnTo>
                  <a:pt x="812235" y="728663"/>
                </a:lnTo>
                <a:lnTo>
                  <a:pt x="816584" y="732764"/>
                </a:lnTo>
                <a:lnTo>
                  <a:pt x="820933" y="735839"/>
                </a:lnTo>
                <a:lnTo>
                  <a:pt x="825718" y="739427"/>
                </a:lnTo>
                <a:lnTo>
                  <a:pt x="830502" y="741990"/>
                </a:lnTo>
                <a:lnTo>
                  <a:pt x="835286" y="744552"/>
                </a:lnTo>
                <a:lnTo>
                  <a:pt x="840940" y="746090"/>
                </a:lnTo>
                <a:lnTo>
                  <a:pt x="846594" y="747628"/>
                </a:lnTo>
                <a:lnTo>
                  <a:pt x="853118" y="747628"/>
                </a:lnTo>
                <a:lnTo>
                  <a:pt x="857033" y="747115"/>
                </a:lnTo>
                <a:lnTo>
                  <a:pt x="860077" y="746090"/>
                </a:lnTo>
                <a:lnTo>
                  <a:pt x="863557" y="745065"/>
                </a:lnTo>
                <a:lnTo>
                  <a:pt x="865029" y="744872"/>
                </a:lnTo>
                <a:lnTo>
                  <a:pt x="864928" y="744538"/>
                </a:lnTo>
                <a:lnTo>
                  <a:pt x="841873" y="744538"/>
                </a:lnTo>
                <a:lnTo>
                  <a:pt x="835823" y="741498"/>
                </a:lnTo>
                <a:lnTo>
                  <a:pt x="830206" y="738458"/>
                </a:lnTo>
                <a:lnTo>
                  <a:pt x="825453" y="734912"/>
                </a:lnTo>
                <a:lnTo>
                  <a:pt x="820700" y="731872"/>
                </a:lnTo>
                <a:lnTo>
                  <a:pt x="815947" y="727819"/>
                </a:lnTo>
                <a:lnTo>
                  <a:pt x="811626" y="723765"/>
                </a:lnTo>
                <a:lnTo>
                  <a:pt x="806872" y="718699"/>
                </a:lnTo>
                <a:close/>
                <a:moveTo>
                  <a:pt x="880446" y="673940"/>
                </a:moveTo>
                <a:lnTo>
                  <a:pt x="880100" y="673966"/>
                </a:lnTo>
                <a:lnTo>
                  <a:pt x="878077" y="675175"/>
                </a:lnTo>
                <a:close/>
                <a:moveTo>
                  <a:pt x="1046103" y="668088"/>
                </a:moveTo>
                <a:lnTo>
                  <a:pt x="1043927" y="669180"/>
                </a:lnTo>
                <a:lnTo>
                  <a:pt x="1060252" y="678131"/>
                </a:lnTo>
                <a:lnTo>
                  <a:pt x="1072307" y="684316"/>
                </a:lnTo>
                <a:lnTo>
                  <a:pt x="1084362" y="700810"/>
                </a:lnTo>
                <a:lnTo>
                  <a:pt x="1093292" y="716272"/>
                </a:lnTo>
                <a:lnTo>
                  <a:pt x="1104900" y="729158"/>
                </a:lnTo>
                <a:lnTo>
                  <a:pt x="1087041" y="732250"/>
                </a:lnTo>
                <a:lnTo>
                  <a:pt x="1075432" y="735343"/>
                </a:lnTo>
                <a:lnTo>
                  <a:pt x="1075432" y="740844"/>
                </a:lnTo>
                <a:lnTo>
                  <a:pt x="1078251" y="736733"/>
                </a:lnTo>
                <a:lnTo>
                  <a:pt x="1089547" y="733564"/>
                </a:lnTo>
                <a:lnTo>
                  <a:pt x="1106924" y="730396"/>
                </a:lnTo>
                <a:lnTo>
                  <a:pt x="1095629" y="717195"/>
                </a:lnTo>
                <a:lnTo>
                  <a:pt x="1086940" y="701354"/>
                </a:lnTo>
                <a:lnTo>
                  <a:pt x="1075210" y="684457"/>
                </a:lnTo>
                <a:lnTo>
                  <a:pt x="1063480" y="678120"/>
                </a:lnTo>
                <a:close/>
                <a:moveTo>
                  <a:pt x="818540" y="648759"/>
                </a:moveTo>
                <a:lnTo>
                  <a:pt x="819112" y="649143"/>
                </a:lnTo>
                <a:lnTo>
                  <a:pt x="820830" y="650298"/>
                </a:lnTo>
                <a:lnTo>
                  <a:pt x="822977" y="652607"/>
                </a:lnTo>
                <a:lnTo>
                  <a:pt x="825125" y="654339"/>
                </a:lnTo>
                <a:lnTo>
                  <a:pt x="827272" y="655493"/>
                </a:lnTo>
                <a:lnTo>
                  <a:pt x="829420" y="656648"/>
                </a:lnTo>
                <a:lnTo>
                  <a:pt x="831567" y="657225"/>
                </a:lnTo>
                <a:lnTo>
                  <a:pt x="833715" y="657802"/>
                </a:lnTo>
                <a:lnTo>
                  <a:pt x="835433" y="657802"/>
                </a:lnTo>
                <a:lnTo>
                  <a:pt x="837580" y="657225"/>
                </a:lnTo>
                <a:lnTo>
                  <a:pt x="839298" y="656648"/>
                </a:lnTo>
                <a:lnTo>
                  <a:pt x="839585" y="656519"/>
                </a:lnTo>
                <a:lnTo>
                  <a:pt x="838991" y="656696"/>
                </a:lnTo>
                <a:lnTo>
                  <a:pt x="836771" y="657226"/>
                </a:lnTo>
                <a:lnTo>
                  <a:pt x="834995" y="657226"/>
                </a:lnTo>
                <a:lnTo>
                  <a:pt x="832775" y="656696"/>
                </a:lnTo>
                <a:lnTo>
                  <a:pt x="830555" y="656167"/>
                </a:lnTo>
                <a:lnTo>
                  <a:pt x="828335" y="655109"/>
                </a:lnTo>
                <a:lnTo>
                  <a:pt x="826115" y="654051"/>
                </a:lnTo>
                <a:lnTo>
                  <a:pt x="823895" y="652463"/>
                </a:lnTo>
                <a:lnTo>
                  <a:pt x="821676" y="650346"/>
                </a:lnTo>
                <a:lnTo>
                  <a:pt x="819900" y="649288"/>
                </a:lnTo>
                <a:lnTo>
                  <a:pt x="819012" y="648759"/>
                </a:lnTo>
                <a:close/>
                <a:moveTo>
                  <a:pt x="861741" y="638002"/>
                </a:moveTo>
                <a:lnTo>
                  <a:pt x="859415" y="639234"/>
                </a:lnTo>
                <a:lnTo>
                  <a:pt x="859240" y="639339"/>
                </a:lnTo>
                <a:lnTo>
                  <a:pt x="861202" y="638752"/>
                </a:lnTo>
                <a:lnTo>
                  <a:pt x="862920" y="638175"/>
                </a:lnTo>
                <a:lnTo>
                  <a:pt x="863832" y="638175"/>
                </a:lnTo>
                <a:close/>
                <a:moveTo>
                  <a:pt x="707626" y="617607"/>
                </a:moveTo>
                <a:lnTo>
                  <a:pt x="709562" y="623001"/>
                </a:lnTo>
                <a:lnTo>
                  <a:pt x="712062" y="629337"/>
                </a:lnTo>
                <a:lnTo>
                  <a:pt x="713313" y="632505"/>
                </a:lnTo>
                <a:lnTo>
                  <a:pt x="715397" y="635673"/>
                </a:lnTo>
                <a:lnTo>
                  <a:pt x="717898" y="639369"/>
                </a:lnTo>
                <a:lnTo>
                  <a:pt x="720815" y="643593"/>
                </a:lnTo>
                <a:lnTo>
                  <a:pt x="724984" y="647289"/>
                </a:lnTo>
                <a:lnTo>
                  <a:pt x="729985" y="651513"/>
                </a:lnTo>
                <a:lnTo>
                  <a:pt x="736237" y="655737"/>
                </a:lnTo>
                <a:lnTo>
                  <a:pt x="743740" y="660489"/>
                </a:lnTo>
                <a:lnTo>
                  <a:pt x="738321" y="662073"/>
                </a:lnTo>
                <a:lnTo>
                  <a:pt x="732903" y="663657"/>
                </a:lnTo>
                <a:lnTo>
                  <a:pt x="732903" y="667353"/>
                </a:lnTo>
                <a:lnTo>
                  <a:pt x="732069" y="672104"/>
                </a:lnTo>
                <a:lnTo>
                  <a:pt x="731652" y="674744"/>
                </a:lnTo>
                <a:lnTo>
                  <a:pt x="730819" y="676856"/>
                </a:lnTo>
                <a:lnTo>
                  <a:pt x="729152" y="678968"/>
                </a:lnTo>
                <a:lnTo>
                  <a:pt x="727484" y="680024"/>
                </a:lnTo>
                <a:lnTo>
                  <a:pt x="728318" y="683192"/>
                </a:lnTo>
                <a:lnTo>
                  <a:pt x="729985" y="686360"/>
                </a:lnTo>
                <a:lnTo>
                  <a:pt x="732903" y="690056"/>
                </a:lnTo>
                <a:lnTo>
                  <a:pt x="735821" y="693224"/>
                </a:lnTo>
                <a:lnTo>
                  <a:pt x="728735" y="694280"/>
                </a:lnTo>
                <a:lnTo>
                  <a:pt x="720815" y="695336"/>
                </a:lnTo>
                <a:lnTo>
                  <a:pt x="712062" y="696392"/>
                </a:lnTo>
                <a:lnTo>
                  <a:pt x="702893" y="696920"/>
                </a:lnTo>
                <a:lnTo>
                  <a:pt x="692889" y="697448"/>
                </a:lnTo>
                <a:lnTo>
                  <a:pt x="682886" y="697448"/>
                </a:lnTo>
                <a:lnTo>
                  <a:pt x="672883" y="696920"/>
                </a:lnTo>
                <a:lnTo>
                  <a:pt x="663296" y="696392"/>
                </a:lnTo>
                <a:lnTo>
                  <a:pt x="661491" y="696512"/>
                </a:lnTo>
                <a:lnTo>
                  <a:pt x="650859" y="713906"/>
                </a:lnTo>
                <a:lnTo>
                  <a:pt x="650859" y="715704"/>
                </a:lnTo>
                <a:lnTo>
                  <a:pt x="650018" y="717502"/>
                </a:lnTo>
                <a:lnTo>
                  <a:pt x="649176" y="718700"/>
                </a:lnTo>
                <a:lnTo>
                  <a:pt x="648756" y="719899"/>
                </a:lnTo>
                <a:lnTo>
                  <a:pt x="647073" y="722297"/>
                </a:lnTo>
                <a:lnTo>
                  <a:pt x="646652" y="723495"/>
                </a:lnTo>
                <a:lnTo>
                  <a:pt x="646652" y="724694"/>
                </a:lnTo>
                <a:lnTo>
                  <a:pt x="647073" y="725293"/>
                </a:lnTo>
                <a:lnTo>
                  <a:pt x="647914" y="725293"/>
                </a:lnTo>
                <a:lnTo>
                  <a:pt x="649597" y="725893"/>
                </a:lnTo>
                <a:lnTo>
                  <a:pt x="655486" y="727092"/>
                </a:lnTo>
                <a:lnTo>
                  <a:pt x="665162" y="728290"/>
                </a:lnTo>
                <a:lnTo>
                  <a:pt x="663059" y="728890"/>
                </a:lnTo>
                <a:lnTo>
                  <a:pt x="659273" y="731287"/>
                </a:lnTo>
                <a:lnTo>
                  <a:pt x="655486" y="734284"/>
                </a:lnTo>
                <a:lnTo>
                  <a:pt x="650859" y="739079"/>
                </a:lnTo>
                <a:lnTo>
                  <a:pt x="646231" y="743275"/>
                </a:lnTo>
                <a:lnTo>
                  <a:pt x="644682" y="744820"/>
                </a:lnTo>
                <a:lnTo>
                  <a:pt x="646646" y="744820"/>
                </a:lnTo>
                <a:lnTo>
                  <a:pt x="648381" y="742199"/>
                </a:lnTo>
                <a:lnTo>
                  <a:pt x="652287" y="739055"/>
                </a:lnTo>
                <a:lnTo>
                  <a:pt x="657060" y="735386"/>
                </a:lnTo>
                <a:lnTo>
                  <a:pt x="662268" y="731717"/>
                </a:lnTo>
                <a:lnTo>
                  <a:pt x="667909" y="727524"/>
                </a:lnTo>
                <a:lnTo>
                  <a:pt x="672683" y="724903"/>
                </a:lnTo>
                <a:lnTo>
                  <a:pt x="676154" y="722807"/>
                </a:lnTo>
                <a:lnTo>
                  <a:pt x="678324" y="722283"/>
                </a:lnTo>
                <a:lnTo>
                  <a:pt x="706965" y="719138"/>
                </a:lnTo>
                <a:lnTo>
                  <a:pt x="708701" y="721235"/>
                </a:lnTo>
                <a:lnTo>
                  <a:pt x="710871" y="723331"/>
                </a:lnTo>
                <a:lnTo>
                  <a:pt x="712606" y="724903"/>
                </a:lnTo>
                <a:lnTo>
                  <a:pt x="714776" y="725952"/>
                </a:lnTo>
                <a:lnTo>
                  <a:pt x="718682" y="727524"/>
                </a:lnTo>
                <a:lnTo>
                  <a:pt x="724323" y="729096"/>
                </a:lnTo>
                <a:lnTo>
                  <a:pt x="726189" y="729186"/>
                </a:lnTo>
                <a:lnTo>
                  <a:pt x="723036" y="728191"/>
                </a:lnTo>
                <a:lnTo>
                  <a:pt x="718144" y="726646"/>
                </a:lnTo>
                <a:lnTo>
                  <a:pt x="714142" y="724587"/>
                </a:lnTo>
                <a:lnTo>
                  <a:pt x="711919" y="723042"/>
                </a:lnTo>
                <a:lnTo>
                  <a:pt x="710140" y="721497"/>
                </a:lnTo>
                <a:lnTo>
                  <a:pt x="707917" y="719438"/>
                </a:lnTo>
                <a:lnTo>
                  <a:pt x="706138" y="717379"/>
                </a:lnTo>
                <a:lnTo>
                  <a:pt x="679903" y="720468"/>
                </a:lnTo>
                <a:lnTo>
                  <a:pt x="669676" y="721497"/>
                </a:lnTo>
                <a:lnTo>
                  <a:pt x="662561" y="721497"/>
                </a:lnTo>
                <a:lnTo>
                  <a:pt x="660338" y="721497"/>
                </a:lnTo>
                <a:lnTo>
                  <a:pt x="659004" y="721497"/>
                </a:lnTo>
                <a:lnTo>
                  <a:pt x="657670" y="720983"/>
                </a:lnTo>
                <a:lnTo>
                  <a:pt x="657225" y="720468"/>
                </a:lnTo>
                <a:lnTo>
                  <a:pt x="657670" y="716864"/>
                </a:lnTo>
                <a:lnTo>
                  <a:pt x="659004" y="711200"/>
                </a:lnTo>
                <a:lnTo>
                  <a:pt x="674123" y="701933"/>
                </a:lnTo>
                <a:lnTo>
                  <a:pt x="680348" y="702962"/>
                </a:lnTo>
                <a:lnTo>
                  <a:pt x="686128" y="703477"/>
                </a:lnTo>
                <a:lnTo>
                  <a:pt x="691464" y="703992"/>
                </a:lnTo>
                <a:lnTo>
                  <a:pt x="696356" y="703992"/>
                </a:lnTo>
                <a:lnTo>
                  <a:pt x="705249" y="703477"/>
                </a:lnTo>
                <a:lnTo>
                  <a:pt x="712808" y="701933"/>
                </a:lnTo>
                <a:lnTo>
                  <a:pt x="726148" y="698329"/>
                </a:lnTo>
                <a:lnTo>
                  <a:pt x="739044" y="695239"/>
                </a:lnTo>
                <a:lnTo>
                  <a:pt x="735931" y="692150"/>
                </a:lnTo>
                <a:lnTo>
                  <a:pt x="732818" y="688546"/>
                </a:lnTo>
                <a:lnTo>
                  <a:pt x="731040" y="685457"/>
                </a:lnTo>
                <a:lnTo>
                  <a:pt x="730150" y="682368"/>
                </a:lnTo>
                <a:lnTo>
                  <a:pt x="731929" y="681338"/>
                </a:lnTo>
                <a:lnTo>
                  <a:pt x="733708" y="679279"/>
                </a:lnTo>
                <a:lnTo>
                  <a:pt x="734597" y="677219"/>
                </a:lnTo>
                <a:lnTo>
                  <a:pt x="735042" y="674645"/>
                </a:lnTo>
                <a:lnTo>
                  <a:pt x="735931" y="670011"/>
                </a:lnTo>
                <a:lnTo>
                  <a:pt x="735931" y="666407"/>
                </a:lnTo>
                <a:lnTo>
                  <a:pt x="741712" y="664862"/>
                </a:lnTo>
                <a:lnTo>
                  <a:pt x="747492" y="663318"/>
                </a:lnTo>
                <a:lnTo>
                  <a:pt x="791959" y="654050"/>
                </a:lnTo>
                <a:lnTo>
                  <a:pt x="799073" y="658169"/>
                </a:lnTo>
                <a:lnTo>
                  <a:pt x="803965" y="661258"/>
                </a:lnTo>
                <a:lnTo>
                  <a:pt x="805743" y="662803"/>
                </a:lnTo>
                <a:lnTo>
                  <a:pt x="808856" y="664347"/>
                </a:lnTo>
                <a:lnTo>
                  <a:pt x="811524" y="665377"/>
                </a:lnTo>
                <a:lnTo>
                  <a:pt x="814387" y="666114"/>
                </a:lnTo>
                <a:lnTo>
                  <a:pt x="814387" y="664997"/>
                </a:lnTo>
                <a:lnTo>
                  <a:pt x="811020" y="664105"/>
                </a:lnTo>
                <a:lnTo>
                  <a:pt x="808356" y="663046"/>
                </a:lnTo>
                <a:lnTo>
                  <a:pt x="805248" y="661459"/>
                </a:lnTo>
                <a:lnTo>
                  <a:pt x="803472" y="659871"/>
                </a:lnTo>
                <a:lnTo>
                  <a:pt x="798588" y="656696"/>
                </a:lnTo>
                <a:lnTo>
                  <a:pt x="791484" y="652463"/>
                </a:lnTo>
                <a:lnTo>
                  <a:pt x="747084" y="661988"/>
                </a:lnTo>
                <a:lnTo>
                  <a:pt x="739092" y="657226"/>
                </a:lnTo>
                <a:lnTo>
                  <a:pt x="732432" y="652992"/>
                </a:lnTo>
                <a:lnTo>
                  <a:pt x="727104" y="648759"/>
                </a:lnTo>
                <a:lnTo>
                  <a:pt x="722664" y="645055"/>
                </a:lnTo>
                <a:lnTo>
                  <a:pt x="719556" y="640821"/>
                </a:lnTo>
                <a:lnTo>
                  <a:pt x="716892" y="637117"/>
                </a:lnTo>
                <a:lnTo>
                  <a:pt x="714672" y="633942"/>
                </a:lnTo>
                <a:lnTo>
                  <a:pt x="713340" y="630767"/>
                </a:lnTo>
                <a:lnTo>
                  <a:pt x="710676" y="624417"/>
                </a:lnTo>
                <a:lnTo>
                  <a:pt x="708456" y="618596"/>
                </a:lnTo>
                <a:close/>
                <a:moveTo>
                  <a:pt x="468069" y="581025"/>
                </a:moveTo>
                <a:lnTo>
                  <a:pt x="468069" y="593676"/>
                </a:lnTo>
                <a:lnTo>
                  <a:pt x="476518" y="597893"/>
                </a:lnTo>
                <a:lnTo>
                  <a:pt x="484523" y="602110"/>
                </a:lnTo>
                <a:lnTo>
                  <a:pt x="492527" y="607381"/>
                </a:lnTo>
                <a:lnTo>
                  <a:pt x="500087" y="613180"/>
                </a:lnTo>
                <a:lnTo>
                  <a:pt x="508091" y="618978"/>
                </a:lnTo>
                <a:lnTo>
                  <a:pt x="516096" y="623722"/>
                </a:lnTo>
                <a:lnTo>
                  <a:pt x="524100" y="628466"/>
                </a:lnTo>
                <a:lnTo>
                  <a:pt x="532994" y="632683"/>
                </a:lnTo>
                <a:lnTo>
                  <a:pt x="536107" y="634265"/>
                </a:lnTo>
                <a:lnTo>
                  <a:pt x="542333" y="637427"/>
                </a:lnTo>
                <a:lnTo>
                  <a:pt x="546335" y="639536"/>
                </a:lnTo>
                <a:lnTo>
                  <a:pt x="549892" y="641117"/>
                </a:lnTo>
                <a:lnTo>
                  <a:pt x="553895" y="642171"/>
                </a:lnTo>
                <a:lnTo>
                  <a:pt x="556563" y="642699"/>
                </a:lnTo>
                <a:lnTo>
                  <a:pt x="565457" y="643226"/>
                </a:lnTo>
                <a:lnTo>
                  <a:pt x="569957" y="644068"/>
                </a:lnTo>
                <a:lnTo>
                  <a:pt x="570740" y="636080"/>
                </a:lnTo>
                <a:lnTo>
                  <a:pt x="570326" y="631254"/>
                </a:lnTo>
                <a:lnTo>
                  <a:pt x="570740" y="630048"/>
                </a:lnTo>
                <a:lnTo>
                  <a:pt x="571155" y="630048"/>
                </a:lnTo>
                <a:lnTo>
                  <a:pt x="572397" y="628841"/>
                </a:lnTo>
                <a:lnTo>
                  <a:pt x="575296" y="628841"/>
                </a:lnTo>
                <a:lnTo>
                  <a:pt x="588962" y="614363"/>
                </a:lnTo>
                <a:lnTo>
                  <a:pt x="588962" y="648083"/>
                </a:lnTo>
                <a:lnTo>
                  <a:pt x="592138" y="649024"/>
                </a:lnTo>
                <a:lnTo>
                  <a:pt x="589470" y="652714"/>
                </a:lnTo>
                <a:lnTo>
                  <a:pt x="588962" y="654068"/>
                </a:lnTo>
                <a:lnTo>
                  <a:pt x="588962" y="674688"/>
                </a:lnTo>
                <a:lnTo>
                  <a:pt x="586477" y="673482"/>
                </a:lnTo>
                <a:lnTo>
                  <a:pt x="583633" y="668746"/>
                </a:lnTo>
                <a:lnTo>
                  <a:pt x="580576" y="680651"/>
                </a:lnTo>
                <a:lnTo>
                  <a:pt x="576574" y="692775"/>
                </a:lnTo>
                <a:lnTo>
                  <a:pt x="572572" y="705426"/>
                </a:lnTo>
                <a:lnTo>
                  <a:pt x="567680" y="715969"/>
                </a:lnTo>
                <a:lnTo>
                  <a:pt x="565457" y="720713"/>
                </a:lnTo>
                <a:lnTo>
                  <a:pt x="562789" y="724403"/>
                </a:lnTo>
                <a:lnTo>
                  <a:pt x="559676" y="728093"/>
                </a:lnTo>
                <a:lnTo>
                  <a:pt x="556563" y="730201"/>
                </a:lnTo>
                <a:lnTo>
                  <a:pt x="557008" y="731782"/>
                </a:lnTo>
                <a:lnTo>
                  <a:pt x="558342" y="733891"/>
                </a:lnTo>
                <a:lnTo>
                  <a:pt x="560565" y="735999"/>
                </a:lnTo>
                <a:lnTo>
                  <a:pt x="563233" y="738108"/>
                </a:lnTo>
                <a:lnTo>
                  <a:pt x="566346" y="739689"/>
                </a:lnTo>
                <a:lnTo>
                  <a:pt x="569014" y="741271"/>
                </a:lnTo>
                <a:lnTo>
                  <a:pt x="571682" y="742852"/>
                </a:lnTo>
                <a:lnTo>
                  <a:pt x="573906" y="742852"/>
                </a:lnTo>
                <a:lnTo>
                  <a:pt x="573906" y="752867"/>
                </a:lnTo>
                <a:lnTo>
                  <a:pt x="573906" y="757084"/>
                </a:lnTo>
                <a:lnTo>
                  <a:pt x="573461" y="760247"/>
                </a:lnTo>
                <a:lnTo>
                  <a:pt x="573461" y="762356"/>
                </a:lnTo>
                <a:lnTo>
                  <a:pt x="572572" y="763937"/>
                </a:lnTo>
                <a:lnTo>
                  <a:pt x="571682" y="767100"/>
                </a:lnTo>
                <a:lnTo>
                  <a:pt x="571238" y="772371"/>
                </a:lnTo>
                <a:lnTo>
                  <a:pt x="571682" y="777115"/>
                </a:lnTo>
                <a:lnTo>
                  <a:pt x="571682" y="781859"/>
                </a:lnTo>
                <a:lnTo>
                  <a:pt x="572572" y="787130"/>
                </a:lnTo>
                <a:lnTo>
                  <a:pt x="573461" y="791347"/>
                </a:lnTo>
                <a:lnTo>
                  <a:pt x="574350" y="796092"/>
                </a:lnTo>
                <a:lnTo>
                  <a:pt x="576574" y="800309"/>
                </a:lnTo>
                <a:lnTo>
                  <a:pt x="577908" y="803998"/>
                </a:lnTo>
                <a:lnTo>
                  <a:pt x="580576" y="807688"/>
                </a:lnTo>
                <a:lnTo>
                  <a:pt x="573461" y="815068"/>
                </a:lnTo>
                <a:lnTo>
                  <a:pt x="567235" y="821921"/>
                </a:lnTo>
                <a:lnTo>
                  <a:pt x="560565" y="828246"/>
                </a:lnTo>
                <a:lnTo>
                  <a:pt x="553450" y="834044"/>
                </a:lnTo>
                <a:lnTo>
                  <a:pt x="549892" y="836153"/>
                </a:lnTo>
                <a:lnTo>
                  <a:pt x="546335" y="837734"/>
                </a:lnTo>
                <a:lnTo>
                  <a:pt x="541888" y="838789"/>
                </a:lnTo>
                <a:lnTo>
                  <a:pt x="537886" y="838789"/>
                </a:lnTo>
                <a:lnTo>
                  <a:pt x="533439" y="838261"/>
                </a:lnTo>
                <a:lnTo>
                  <a:pt x="528547" y="836680"/>
                </a:lnTo>
                <a:lnTo>
                  <a:pt x="523211" y="834572"/>
                </a:lnTo>
                <a:lnTo>
                  <a:pt x="517875" y="830882"/>
                </a:lnTo>
                <a:lnTo>
                  <a:pt x="513428" y="826665"/>
                </a:lnTo>
                <a:lnTo>
                  <a:pt x="508981" y="823502"/>
                </a:lnTo>
                <a:lnTo>
                  <a:pt x="507202" y="822448"/>
                </a:lnTo>
                <a:lnTo>
                  <a:pt x="504534" y="821921"/>
                </a:lnTo>
                <a:lnTo>
                  <a:pt x="502755" y="821393"/>
                </a:lnTo>
                <a:lnTo>
                  <a:pt x="500087" y="821393"/>
                </a:lnTo>
                <a:lnTo>
                  <a:pt x="496974" y="821393"/>
                </a:lnTo>
                <a:lnTo>
                  <a:pt x="493861" y="821921"/>
                </a:lnTo>
                <a:lnTo>
                  <a:pt x="490749" y="822975"/>
                </a:lnTo>
                <a:lnTo>
                  <a:pt x="487636" y="824556"/>
                </a:lnTo>
                <a:lnTo>
                  <a:pt x="484968" y="826138"/>
                </a:lnTo>
                <a:lnTo>
                  <a:pt x="482299" y="827719"/>
                </a:lnTo>
                <a:lnTo>
                  <a:pt x="479631" y="829827"/>
                </a:lnTo>
                <a:lnTo>
                  <a:pt x="477408" y="832463"/>
                </a:lnTo>
                <a:lnTo>
                  <a:pt x="473406" y="837207"/>
                </a:lnTo>
                <a:lnTo>
                  <a:pt x="470293" y="842478"/>
                </a:lnTo>
                <a:lnTo>
                  <a:pt x="469403" y="846168"/>
                </a:lnTo>
                <a:lnTo>
                  <a:pt x="468514" y="848804"/>
                </a:lnTo>
                <a:lnTo>
                  <a:pt x="468069" y="850912"/>
                </a:lnTo>
                <a:lnTo>
                  <a:pt x="468069" y="852330"/>
                </a:lnTo>
                <a:lnTo>
                  <a:pt x="469547" y="847725"/>
                </a:lnTo>
                <a:lnTo>
                  <a:pt x="473026" y="860084"/>
                </a:lnTo>
                <a:lnTo>
                  <a:pt x="473840" y="858109"/>
                </a:lnTo>
                <a:lnTo>
                  <a:pt x="475143" y="856001"/>
                </a:lnTo>
                <a:lnTo>
                  <a:pt x="476446" y="853893"/>
                </a:lnTo>
                <a:lnTo>
                  <a:pt x="477315" y="852839"/>
                </a:lnTo>
                <a:lnTo>
                  <a:pt x="478617" y="852312"/>
                </a:lnTo>
                <a:lnTo>
                  <a:pt x="481657" y="853366"/>
                </a:lnTo>
                <a:lnTo>
                  <a:pt x="484263" y="853366"/>
                </a:lnTo>
                <a:lnTo>
                  <a:pt x="487303" y="853366"/>
                </a:lnTo>
                <a:lnTo>
                  <a:pt x="489909" y="853366"/>
                </a:lnTo>
                <a:lnTo>
                  <a:pt x="493383" y="852839"/>
                </a:lnTo>
                <a:lnTo>
                  <a:pt x="496423" y="852839"/>
                </a:lnTo>
                <a:lnTo>
                  <a:pt x="499463" y="853366"/>
                </a:lnTo>
                <a:lnTo>
                  <a:pt x="502504" y="853893"/>
                </a:lnTo>
                <a:lnTo>
                  <a:pt x="503372" y="855474"/>
                </a:lnTo>
                <a:lnTo>
                  <a:pt x="504241" y="858109"/>
                </a:lnTo>
                <a:lnTo>
                  <a:pt x="505544" y="861270"/>
                </a:lnTo>
                <a:lnTo>
                  <a:pt x="505978" y="865485"/>
                </a:lnTo>
                <a:lnTo>
                  <a:pt x="506412" y="869701"/>
                </a:lnTo>
                <a:lnTo>
                  <a:pt x="506412" y="873389"/>
                </a:lnTo>
                <a:lnTo>
                  <a:pt x="505978" y="876024"/>
                </a:lnTo>
                <a:lnTo>
                  <a:pt x="505544" y="876551"/>
                </a:lnTo>
                <a:lnTo>
                  <a:pt x="499463" y="878131"/>
                </a:lnTo>
                <a:lnTo>
                  <a:pt x="493818" y="880239"/>
                </a:lnTo>
                <a:lnTo>
                  <a:pt x="489040" y="882347"/>
                </a:lnTo>
                <a:lnTo>
                  <a:pt x="484263" y="884981"/>
                </a:lnTo>
                <a:lnTo>
                  <a:pt x="479920" y="888143"/>
                </a:lnTo>
                <a:lnTo>
                  <a:pt x="476012" y="891304"/>
                </a:lnTo>
                <a:lnTo>
                  <a:pt x="472537" y="894466"/>
                </a:lnTo>
                <a:lnTo>
                  <a:pt x="470455" y="896431"/>
                </a:lnTo>
                <a:lnTo>
                  <a:pt x="468489" y="904875"/>
                </a:lnTo>
                <a:lnTo>
                  <a:pt x="467091" y="899951"/>
                </a:lnTo>
                <a:lnTo>
                  <a:pt x="456903" y="911854"/>
                </a:lnTo>
                <a:lnTo>
                  <a:pt x="447783" y="921865"/>
                </a:lnTo>
                <a:lnTo>
                  <a:pt x="444308" y="923973"/>
                </a:lnTo>
                <a:lnTo>
                  <a:pt x="442137" y="926081"/>
                </a:lnTo>
                <a:lnTo>
                  <a:pt x="439531" y="928188"/>
                </a:lnTo>
                <a:lnTo>
                  <a:pt x="437794" y="930823"/>
                </a:lnTo>
                <a:lnTo>
                  <a:pt x="434320" y="935565"/>
                </a:lnTo>
                <a:lnTo>
                  <a:pt x="432582" y="940307"/>
                </a:lnTo>
                <a:lnTo>
                  <a:pt x="431280" y="945050"/>
                </a:lnTo>
                <a:lnTo>
                  <a:pt x="430845" y="949792"/>
                </a:lnTo>
                <a:lnTo>
                  <a:pt x="430411" y="954534"/>
                </a:lnTo>
                <a:lnTo>
                  <a:pt x="430845" y="959803"/>
                </a:lnTo>
                <a:lnTo>
                  <a:pt x="430845" y="965072"/>
                </a:lnTo>
                <a:lnTo>
                  <a:pt x="431280" y="969815"/>
                </a:lnTo>
                <a:lnTo>
                  <a:pt x="430845" y="975084"/>
                </a:lnTo>
                <a:lnTo>
                  <a:pt x="430411" y="979826"/>
                </a:lnTo>
                <a:lnTo>
                  <a:pt x="429108" y="985095"/>
                </a:lnTo>
                <a:lnTo>
                  <a:pt x="426502" y="990364"/>
                </a:lnTo>
                <a:lnTo>
                  <a:pt x="425200" y="992999"/>
                </a:lnTo>
                <a:lnTo>
                  <a:pt x="423462" y="995106"/>
                </a:lnTo>
                <a:lnTo>
                  <a:pt x="420857" y="997741"/>
                </a:lnTo>
                <a:lnTo>
                  <a:pt x="418685" y="999849"/>
                </a:lnTo>
                <a:lnTo>
                  <a:pt x="410434" y="1007225"/>
                </a:lnTo>
                <a:lnTo>
                  <a:pt x="403919" y="1013548"/>
                </a:lnTo>
                <a:lnTo>
                  <a:pt x="398708" y="1018818"/>
                </a:lnTo>
                <a:lnTo>
                  <a:pt x="394799" y="1024087"/>
                </a:lnTo>
                <a:lnTo>
                  <a:pt x="391759" y="1027775"/>
                </a:lnTo>
                <a:lnTo>
                  <a:pt x="390022" y="1030937"/>
                </a:lnTo>
                <a:lnTo>
                  <a:pt x="388719" y="1033571"/>
                </a:lnTo>
                <a:lnTo>
                  <a:pt x="387850" y="1035152"/>
                </a:lnTo>
                <a:lnTo>
                  <a:pt x="387416" y="1037787"/>
                </a:lnTo>
                <a:lnTo>
                  <a:pt x="387416" y="1038840"/>
                </a:lnTo>
                <a:lnTo>
                  <a:pt x="385679" y="1038840"/>
                </a:lnTo>
                <a:lnTo>
                  <a:pt x="380902" y="1038840"/>
                </a:lnTo>
                <a:lnTo>
                  <a:pt x="370044" y="1037787"/>
                </a:lnTo>
                <a:lnTo>
                  <a:pt x="360056" y="1037260"/>
                </a:lnTo>
                <a:lnTo>
                  <a:pt x="351370" y="1037260"/>
                </a:lnTo>
                <a:lnTo>
                  <a:pt x="343553" y="1038313"/>
                </a:lnTo>
                <a:lnTo>
                  <a:pt x="337038" y="1039894"/>
                </a:lnTo>
                <a:lnTo>
                  <a:pt x="331827" y="1041475"/>
                </a:lnTo>
                <a:lnTo>
                  <a:pt x="327049" y="1043583"/>
                </a:lnTo>
                <a:lnTo>
                  <a:pt x="322707" y="1046217"/>
                </a:lnTo>
                <a:lnTo>
                  <a:pt x="316192" y="1051486"/>
                </a:lnTo>
                <a:lnTo>
                  <a:pt x="311415" y="1055702"/>
                </a:lnTo>
                <a:lnTo>
                  <a:pt x="309244" y="1057282"/>
                </a:lnTo>
                <a:lnTo>
                  <a:pt x="307506" y="1058336"/>
                </a:lnTo>
                <a:lnTo>
                  <a:pt x="304901" y="1058863"/>
                </a:lnTo>
                <a:lnTo>
                  <a:pt x="303163" y="1058336"/>
                </a:lnTo>
                <a:lnTo>
                  <a:pt x="301861" y="1057809"/>
                </a:lnTo>
                <a:lnTo>
                  <a:pt x="300123" y="1056229"/>
                </a:lnTo>
                <a:lnTo>
                  <a:pt x="298820" y="1054121"/>
                </a:lnTo>
                <a:lnTo>
                  <a:pt x="297518" y="1051486"/>
                </a:lnTo>
                <a:lnTo>
                  <a:pt x="294478" y="1045163"/>
                </a:lnTo>
                <a:lnTo>
                  <a:pt x="291872" y="1038840"/>
                </a:lnTo>
                <a:lnTo>
                  <a:pt x="289700" y="1035679"/>
                </a:lnTo>
                <a:lnTo>
                  <a:pt x="287963" y="1032517"/>
                </a:lnTo>
                <a:lnTo>
                  <a:pt x="286226" y="1029356"/>
                </a:lnTo>
                <a:lnTo>
                  <a:pt x="283620" y="1026721"/>
                </a:lnTo>
                <a:lnTo>
                  <a:pt x="281449" y="1024087"/>
                </a:lnTo>
                <a:lnTo>
                  <a:pt x="278409" y="1021979"/>
                </a:lnTo>
                <a:lnTo>
                  <a:pt x="274934" y="1020398"/>
                </a:lnTo>
                <a:lnTo>
                  <a:pt x="271894" y="1019871"/>
                </a:lnTo>
                <a:lnTo>
                  <a:pt x="274934" y="1010914"/>
                </a:lnTo>
                <a:lnTo>
                  <a:pt x="277974" y="1003537"/>
                </a:lnTo>
                <a:lnTo>
                  <a:pt x="279277" y="996160"/>
                </a:lnTo>
                <a:lnTo>
                  <a:pt x="279345" y="995540"/>
                </a:lnTo>
                <a:lnTo>
                  <a:pt x="278110" y="1002545"/>
                </a:lnTo>
                <a:lnTo>
                  <a:pt x="275100" y="1009857"/>
                </a:lnTo>
                <a:lnTo>
                  <a:pt x="272091" y="1018736"/>
                </a:lnTo>
                <a:lnTo>
                  <a:pt x="263062" y="1019780"/>
                </a:lnTo>
                <a:lnTo>
                  <a:pt x="256612" y="1021869"/>
                </a:lnTo>
                <a:lnTo>
                  <a:pt x="253173" y="1023436"/>
                </a:lnTo>
                <a:lnTo>
                  <a:pt x="250593" y="1025003"/>
                </a:lnTo>
                <a:lnTo>
                  <a:pt x="248443" y="1025525"/>
                </a:lnTo>
                <a:lnTo>
                  <a:pt x="245004" y="1025525"/>
                </a:lnTo>
                <a:lnTo>
                  <a:pt x="239844" y="1024481"/>
                </a:lnTo>
                <a:lnTo>
                  <a:pt x="231675" y="1021869"/>
                </a:lnTo>
                <a:lnTo>
                  <a:pt x="231245" y="1017169"/>
                </a:lnTo>
                <a:lnTo>
                  <a:pt x="231245" y="1013513"/>
                </a:lnTo>
                <a:lnTo>
                  <a:pt x="230386" y="1009857"/>
                </a:lnTo>
                <a:lnTo>
                  <a:pt x="229526" y="1006201"/>
                </a:lnTo>
                <a:lnTo>
                  <a:pt x="226946" y="999412"/>
                </a:lnTo>
                <a:lnTo>
                  <a:pt x="224796" y="992622"/>
                </a:lnTo>
                <a:lnTo>
                  <a:pt x="221787" y="985833"/>
                </a:lnTo>
                <a:lnTo>
                  <a:pt x="219637" y="979043"/>
                </a:lnTo>
                <a:lnTo>
                  <a:pt x="218347" y="975387"/>
                </a:lnTo>
                <a:lnTo>
                  <a:pt x="217917" y="971731"/>
                </a:lnTo>
                <a:lnTo>
                  <a:pt x="217487" y="968075"/>
                </a:lnTo>
                <a:lnTo>
                  <a:pt x="217487" y="963897"/>
                </a:lnTo>
                <a:lnTo>
                  <a:pt x="217487" y="959197"/>
                </a:lnTo>
                <a:lnTo>
                  <a:pt x="217917" y="955541"/>
                </a:lnTo>
                <a:lnTo>
                  <a:pt x="218347" y="951363"/>
                </a:lnTo>
                <a:lnTo>
                  <a:pt x="219637" y="947707"/>
                </a:lnTo>
                <a:lnTo>
                  <a:pt x="222217" y="940917"/>
                </a:lnTo>
                <a:lnTo>
                  <a:pt x="225226" y="934650"/>
                </a:lnTo>
                <a:lnTo>
                  <a:pt x="231675" y="922116"/>
                </a:lnTo>
                <a:lnTo>
                  <a:pt x="237265" y="912192"/>
                </a:lnTo>
                <a:lnTo>
                  <a:pt x="238125" y="907492"/>
                </a:lnTo>
                <a:lnTo>
                  <a:pt x="238985" y="902792"/>
                </a:lnTo>
                <a:lnTo>
                  <a:pt x="239844" y="897569"/>
                </a:lnTo>
                <a:lnTo>
                  <a:pt x="240274" y="892868"/>
                </a:lnTo>
                <a:lnTo>
                  <a:pt x="240274" y="886601"/>
                </a:lnTo>
                <a:lnTo>
                  <a:pt x="240704" y="882945"/>
                </a:lnTo>
                <a:lnTo>
                  <a:pt x="241134" y="880856"/>
                </a:lnTo>
                <a:lnTo>
                  <a:pt x="241564" y="879812"/>
                </a:lnTo>
                <a:lnTo>
                  <a:pt x="241994" y="878767"/>
                </a:lnTo>
                <a:lnTo>
                  <a:pt x="242424" y="878245"/>
                </a:lnTo>
                <a:lnTo>
                  <a:pt x="243284" y="876678"/>
                </a:lnTo>
                <a:lnTo>
                  <a:pt x="243284" y="873544"/>
                </a:lnTo>
                <a:lnTo>
                  <a:pt x="236405" y="868844"/>
                </a:lnTo>
                <a:lnTo>
                  <a:pt x="233825" y="866755"/>
                </a:lnTo>
                <a:lnTo>
                  <a:pt x="232535" y="865710"/>
                </a:lnTo>
                <a:lnTo>
                  <a:pt x="233395" y="865188"/>
                </a:lnTo>
                <a:lnTo>
                  <a:pt x="233833" y="865188"/>
                </a:lnTo>
                <a:lnTo>
                  <a:pt x="232808" y="860216"/>
                </a:lnTo>
                <a:lnTo>
                  <a:pt x="229768" y="849151"/>
                </a:lnTo>
                <a:lnTo>
                  <a:pt x="226728" y="837559"/>
                </a:lnTo>
                <a:lnTo>
                  <a:pt x="225425" y="831236"/>
                </a:lnTo>
                <a:lnTo>
                  <a:pt x="228899" y="830709"/>
                </a:lnTo>
                <a:lnTo>
                  <a:pt x="231940" y="830182"/>
                </a:lnTo>
                <a:lnTo>
                  <a:pt x="235414" y="829128"/>
                </a:lnTo>
                <a:lnTo>
                  <a:pt x="238020" y="828074"/>
                </a:lnTo>
                <a:lnTo>
                  <a:pt x="243231" y="824913"/>
                </a:lnTo>
                <a:lnTo>
                  <a:pt x="247574" y="821751"/>
                </a:lnTo>
                <a:lnTo>
                  <a:pt x="251048" y="818063"/>
                </a:lnTo>
                <a:lnTo>
                  <a:pt x="254957" y="814902"/>
                </a:lnTo>
                <a:lnTo>
                  <a:pt x="257128" y="813321"/>
                </a:lnTo>
                <a:lnTo>
                  <a:pt x="258866" y="812267"/>
                </a:lnTo>
                <a:lnTo>
                  <a:pt x="260603" y="811740"/>
                </a:lnTo>
                <a:lnTo>
                  <a:pt x="262774" y="811213"/>
                </a:lnTo>
                <a:lnTo>
                  <a:pt x="269723" y="811740"/>
                </a:lnTo>
                <a:lnTo>
                  <a:pt x="276672" y="812794"/>
                </a:lnTo>
                <a:lnTo>
                  <a:pt x="282752" y="814902"/>
                </a:lnTo>
                <a:lnTo>
                  <a:pt x="288397" y="817009"/>
                </a:lnTo>
                <a:lnTo>
                  <a:pt x="294043" y="818590"/>
                </a:lnTo>
                <a:lnTo>
                  <a:pt x="299689" y="820171"/>
                </a:lnTo>
                <a:lnTo>
                  <a:pt x="305769" y="821225"/>
                </a:lnTo>
                <a:lnTo>
                  <a:pt x="311849" y="821751"/>
                </a:lnTo>
                <a:lnTo>
                  <a:pt x="316192" y="821751"/>
                </a:lnTo>
                <a:lnTo>
                  <a:pt x="319667" y="822805"/>
                </a:lnTo>
                <a:lnTo>
                  <a:pt x="323575" y="824386"/>
                </a:lnTo>
                <a:lnTo>
                  <a:pt x="327484" y="826494"/>
                </a:lnTo>
                <a:lnTo>
                  <a:pt x="330958" y="828074"/>
                </a:lnTo>
                <a:lnTo>
                  <a:pt x="333998" y="829655"/>
                </a:lnTo>
                <a:lnTo>
                  <a:pt x="337472" y="830709"/>
                </a:lnTo>
                <a:lnTo>
                  <a:pt x="340947" y="831236"/>
                </a:lnTo>
                <a:lnTo>
                  <a:pt x="371377" y="831236"/>
                </a:lnTo>
                <a:lnTo>
                  <a:pt x="368014" y="828246"/>
                </a:lnTo>
                <a:lnTo>
                  <a:pt x="364901" y="825083"/>
                </a:lnTo>
                <a:lnTo>
                  <a:pt x="363122" y="821393"/>
                </a:lnTo>
                <a:lnTo>
                  <a:pt x="361788" y="818231"/>
                </a:lnTo>
                <a:lnTo>
                  <a:pt x="362677" y="816649"/>
                </a:lnTo>
                <a:lnTo>
                  <a:pt x="363122" y="815595"/>
                </a:lnTo>
                <a:lnTo>
                  <a:pt x="363567" y="813487"/>
                </a:lnTo>
                <a:lnTo>
                  <a:pt x="364012" y="811905"/>
                </a:lnTo>
                <a:lnTo>
                  <a:pt x="364012" y="808215"/>
                </a:lnTo>
                <a:lnTo>
                  <a:pt x="363567" y="804526"/>
                </a:lnTo>
                <a:lnTo>
                  <a:pt x="362233" y="797673"/>
                </a:lnTo>
                <a:lnTo>
                  <a:pt x="361788" y="791875"/>
                </a:lnTo>
                <a:lnTo>
                  <a:pt x="362233" y="780278"/>
                </a:lnTo>
                <a:lnTo>
                  <a:pt x="363122" y="772898"/>
                </a:lnTo>
                <a:lnTo>
                  <a:pt x="364012" y="767100"/>
                </a:lnTo>
                <a:lnTo>
                  <a:pt x="364456" y="759720"/>
                </a:lnTo>
                <a:lnTo>
                  <a:pt x="363567" y="749705"/>
                </a:lnTo>
                <a:lnTo>
                  <a:pt x="361788" y="738108"/>
                </a:lnTo>
                <a:lnTo>
                  <a:pt x="359565" y="724930"/>
                </a:lnTo>
                <a:lnTo>
                  <a:pt x="358675" y="713860"/>
                </a:lnTo>
                <a:lnTo>
                  <a:pt x="356452" y="713333"/>
                </a:lnTo>
                <a:lnTo>
                  <a:pt x="353339" y="712279"/>
                </a:lnTo>
                <a:lnTo>
                  <a:pt x="349781" y="710698"/>
                </a:lnTo>
                <a:lnTo>
                  <a:pt x="345334" y="708062"/>
                </a:lnTo>
                <a:lnTo>
                  <a:pt x="335551" y="702791"/>
                </a:lnTo>
                <a:lnTo>
                  <a:pt x="325323" y="695411"/>
                </a:lnTo>
                <a:lnTo>
                  <a:pt x="305757" y="682233"/>
                </a:lnTo>
                <a:lnTo>
                  <a:pt x="296863" y="674853"/>
                </a:lnTo>
                <a:lnTo>
                  <a:pt x="305312" y="671690"/>
                </a:lnTo>
                <a:lnTo>
                  <a:pt x="307536" y="671163"/>
                </a:lnTo>
                <a:lnTo>
                  <a:pt x="309314" y="669582"/>
                </a:lnTo>
                <a:lnTo>
                  <a:pt x="310649" y="668001"/>
                </a:lnTo>
                <a:lnTo>
                  <a:pt x="312872" y="664838"/>
                </a:lnTo>
                <a:lnTo>
                  <a:pt x="314206" y="662729"/>
                </a:lnTo>
                <a:lnTo>
                  <a:pt x="316430" y="660621"/>
                </a:lnTo>
                <a:lnTo>
                  <a:pt x="318208" y="659039"/>
                </a:lnTo>
                <a:lnTo>
                  <a:pt x="319987" y="658512"/>
                </a:lnTo>
                <a:lnTo>
                  <a:pt x="337775" y="664838"/>
                </a:lnTo>
                <a:lnTo>
                  <a:pt x="341332" y="662729"/>
                </a:lnTo>
                <a:lnTo>
                  <a:pt x="344890" y="661675"/>
                </a:lnTo>
                <a:lnTo>
                  <a:pt x="348447" y="661148"/>
                </a:lnTo>
                <a:lnTo>
                  <a:pt x="352450" y="661148"/>
                </a:lnTo>
                <a:lnTo>
                  <a:pt x="355562" y="661675"/>
                </a:lnTo>
                <a:lnTo>
                  <a:pt x="359120" y="662729"/>
                </a:lnTo>
                <a:lnTo>
                  <a:pt x="362233" y="663784"/>
                </a:lnTo>
                <a:lnTo>
                  <a:pt x="364456" y="664838"/>
                </a:lnTo>
                <a:lnTo>
                  <a:pt x="364456" y="626358"/>
                </a:lnTo>
                <a:lnTo>
                  <a:pt x="370237" y="630575"/>
                </a:lnTo>
                <a:lnTo>
                  <a:pt x="374684" y="634792"/>
                </a:lnTo>
                <a:lnTo>
                  <a:pt x="377352" y="636373"/>
                </a:lnTo>
                <a:lnTo>
                  <a:pt x="379131" y="638482"/>
                </a:lnTo>
                <a:lnTo>
                  <a:pt x="382244" y="639009"/>
                </a:lnTo>
                <a:lnTo>
                  <a:pt x="384912" y="639536"/>
                </a:lnTo>
                <a:lnTo>
                  <a:pt x="388914" y="639009"/>
                </a:lnTo>
                <a:lnTo>
                  <a:pt x="393361" y="637427"/>
                </a:lnTo>
                <a:lnTo>
                  <a:pt x="397363" y="635319"/>
                </a:lnTo>
                <a:lnTo>
                  <a:pt x="401810" y="633210"/>
                </a:lnTo>
                <a:lnTo>
                  <a:pt x="406257" y="630048"/>
                </a:lnTo>
                <a:lnTo>
                  <a:pt x="410259" y="626885"/>
                </a:lnTo>
                <a:lnTo>
                  <a:pt x="414262" y="623195"/>
                </a:lnTo>
                <a:lnTo>
                  <a:pt x="418264" y="619505"/>
                </a:lnTo>
                <a:lnTo>
                  <a:pt x="422266" y="615288"/>
                </a:lnTo>
                <a:lnTo>
                  <a:pt x="425379" y="611071"/>
                </a:lnTo>
                <a:lnTo>
                  <a:pt x="428936" y="606327"/>
                </a:lnTo>
                <a:lnTo>
                  <a:pt x="431605" y="602110"/>
                </a:lnTo>
                <a:lnTo>
                  <a:pt x="433828" y="597893"/>
                </a:lnTo>
                <a:lnTo>
                  <a:pt x="436051" y="594203"/>
                </a:lnTo>
                <a:lnTo>
                  <a:pt x="437386" y="590513"/>
                </a:lnTo>
                <a:lnTo>
                  <a:pt x="438275" y="587351"/>
                </a:lnTo>
                <a:lnTo>
                  <a:pt x="446724" y="586823"/>
                </a:lnTo>
                <a:lnTo>
                  <a:pt x="454284" y="585242"/>
                </a:lnTo>
                <a:lnTo>
                  <a:pt x="461399" y="583134"/>
                </a:lnTo>
                <a:close/>
                <a:moveTo>
                  <a:pt x="958875" y="572566"/>
                </a:moveTo>
                <a:lnTo>
                  <a:pt x="945266" y="577463"/>
                </a:lnTo>
                <a:lnTo>
                  <a:pt x="945105" y="577191"/>
                </a:lnTo>
                <a:lnTo>
                  <a:pt x="946615" y="581077"/>
                </a:lnTo>
                <a:lnTo>
                  <a:pt x="954044" y="595238"/>
                </a:lnTo>
                <a:lnTo>
                  <a:pt x="958850" y="603630"/>
                </a:lnTo>
                <a:lnTo>
                  <a:pt x="956229" y="606777"/>
                </a:lnTo>
                <a:lnTo>
                  <a:pt x="953607" y="610448"/>
                </a:lnTo>
                <a:lnTo>
                  <a:pt x="950548" y="615693"/>
                </a:lnTo>
                <a:lnTo>
                  <a:pt x="947489" y="621462"/>
                </a:lnTo>
                <a:lnTo>
                  <a:pt x="945305" y="627232"/>
                </a:lnTo>
                <a:lnTo>
                  <a:pt x="942683" y="633001"/>
                </a:lnTo>
                <a:lnTo>
                  <a:pt x="941372" y="639295"/>
                </a:lnTo>
                <a:lnTo>
                  <a:pt x="941151" y="642742"/>
                </a:lnTo>
                <a:lnTo>
                  <a:pt x="942273" y="642742"/>
                </a:lnTo>
                <a:lnTo>
                  <a:pt x="942273" y="645910"/>
                </a:lnTo>
                <a:lnTo>
                  <a:pt x="941031" y="644617"/>
                </a:lnTo>
                <a:lnTo>
                  <a:pt x="940935" y="646113"/>
                </a:lnTo>
                <a:lnTo>
                  <a:pt x="939800" y="646113"/>
                </a:lnTo>
                <a:lnTo>
                  <a:pt x="939800" y="646257"/>
                </a:lnTo>
                <a:lnTo>
                  <a:pt x="938941" y="649721"/>
                </a:lnTo>
                <a:lnTo>
                  <a:pt x="938082" y="653761"/>
                </a:lnTo>
                <a:lnTo>
                  <a:pt x="936794" y="657225"/>
                </a:lnTo>
                <a:lnTo>
                  <a:pt x="935076" y="664152"/>
                </a:lnTo>
                <a:lnTo>
                  <a:pt x="934217" y="669925"/>
                </a:lnTo>
                <a:lnTo>
                  <a:pt x="891698" y="673100"/>
                </a:lnTo>
                <a:lnTo>
                  <a:pt x="936503" y="673100"/>
                </a:lnTo>
                <a:lnTo>
                  <a:pt x="947737" y="682220"/>
                </a:lnTo>
                <a:lnTo>
                  <a:pt x="945577" y="690326"/>
                </a:lnTo>
                <a:lnTo>
                  <a:pt x="941688" y="697419"/>
                </a:lnTo>
                <a:lnTo>
                  <a:pt x="937799" y="705526"/>
                </a:lnTo>
                <a:lnTo>
                  <a:pt x="933046" y="712619"/>
                </a:lnTo>
                <a:lnTo>
                  <a:pt x="927861" y="719712"/>
                </a:lnTo>
                <a:lnTo>
                  <a:pt x="923108" y="727312"/>
                </a:lnTo>
                <a:lnTo>
                  <a:pt x="917922" y="735925"/>
                </a:lnTo>
                <a:lnTo>
                  <a:pt x="913601" y="744538"/>
                </a:lnTo>
                <a:lnTo>
                  <a:pt x="906768" y="744538"/>
                </a:lnTo>
                <a:lnTo>
                  <a:pt x="910954" y="746080"/>
                </a:lnTo>
                <a:lnTo>
                  <a:pt x="911393" y="751335"/>
                </a:lnTo>
                <a:lnTo>
                  <a:pt x="913148" y="755538"/>
                </a:lnTo>
                <a:lnTo>
                  <a:pt x="914903" y="760267"/>
                </a:lnTo>
                <a:lnTo>
                  <a:pt x="916658" y="763945"/>
                </a:lnTo>
                <a:lnTo>
                  <a:pt x="919291" y="767098"/>
                </a:lnTo>
                <a:lnTo>
                  <a:pt x="921924" y="769725"/>
                </a:lnTo>
                <a:lnTo>
                  <a:pt x="924557" y="772352"/>
                </a:lnTo>
                <a:lnTo>
                  <a:pt x="926437" y="773759"/>
                </a:lnTo>
                <a:lnTo>
                  <a:pt x="923686" y="770825"/>
                </a:lnTo>
                <a:lnTo>
                  <a:pt x="921154" y="767673"/>
                </a:lnTo>
                <a:lnTo>
                  <a:pt x="919043" y="763996"/>
                </a:lnTo>
                <a:lnTo>
                  <a:pt x="916933" y="759794"/>
                </a:lnTo>
                <a:lnTo>
                  <a:pt x="915244" y="755066"/>
                </a:lnTo>
                <a:lnTo>
                  <a:pt x="914400" y="749814"/>
                </a:lnTo>
                <a:lnTo>
                  <a:pt x="914400" y="744036"/>
                </a:lnTo>
                <a:lnTo>
                  <a:pt x="924952" y="726176"/>
                </a:lnTo>
                <a:lnTo>
                  <a:pt x="935505" y="710943"/>
                </a:lnTo>
                <a:lnTo>
                  <a:pt x="940148" y="703589"/>
                </a:lnTo>
                <a:lnTo>
                  <a:pt x="944368" y="695185"/>
                </a:lnTo>
                <a:lnTo>
                  <a:pt x="946057" y="691508"/>
                </a:lnTo>
                <a:lnTo>
                  <a:pt x="948167" y="687831"/>
                </a:lnTo>
                <a:lnTo>
                  <a:pt x="949433" y="683629"/>
                </a:lnTo>
                <a:lnTo>
                  <a:pt x="949880" y="681408"/>
                </a:lnTo>
                <a:lnTo>
                  <a:pt x="947921" y="681289"/>
                </a:lnTo>
                <a:lnTo>
                  <a:pt x="936625" y="668088"/>
                </a:lnTo>
                <a:lnTo>
                  <a:pt x="938363" y="665447"/>
                </a:lnTo>
                <a:lnTo>
                  <a:pt x="940101" y="662807"/>
                </a:lnTo>
                <a:lnTo>
                  <a:pt x="940970" y="659639"/>
                </a:lnTo>
                <a:lnTo>
                  <a:pt x="941838" y="656471"/>
                </a:lnTo>
                <a:lnTo>
                  <a:pt x="942273" y="649606"/>
                </a:lnTo>
                <a:lnTo>
                  <a:pt x="942273" y="645910"/>
                </a:lnTo>
                <a:lnTo>
                  <a:pt x="942707" y="639046"/>
                </a:lnTo>
                <a:lnTo>
                  <a:pt x="944011" y="632709"/>
                </a:lnTo>
                <a:lnTo>
                  <a:pt x="946617" y="626901"/>
                </a:lnTo>
                <a:lnTo>
                  <a:pt x="949658" y="621092"/>
                </a:lnTo>
                <a:lnTo>
                  <a:pt x="952265" y="615284"/>
                </a:lnTo>
                <a:lnTo>
                  <a:pt x="955740" y="610003"/>
                </a:lnTo>
                <a:lnTo>
                  <a:pt x="959650" y="606307"/>
                </a:lnTo>
                <a:lnTo>
                  <a:pt x="962691" y="603139"/>
                </a:lnTo>
                <a:lnTo>
                  <a:pt x="960085" y="599443"/>
                </a:lnTo>
                <a:lnTo>
                  <a:pt x="956609" y="594162"/>
                </a:lnTo>
                <a:lnTo>
                  <a:pt x="952265" y="586770"/>
                </a:lnTo>
                <a:lnTo>
                  <a:pt x="947921" y="577265"/>
                </a:lnTo>
                <a:close/>
                <a:moveTo>
                  <a:pt x="519112" y="571433"/>
                </a:moveTo>
                <a:lnTo>
                  <a:pt x="521424" y="572090"/>
                </a:lnTo>
                <a:lnTo>
                  <a:pt x="522279" y="574519"/>
                </a:lnTo>
                <a:lnTo>
                  <a:pt x="520017" y="574004"/>
                </a:lnTo>
                <a:lnTo>
                  <a:pt x="519564" y="572976"/>
                </a:lnTo>
                <a:lnTo>
                  <a:pt x="519112" y="571947"/>
                </a:lnTo>
                <a:close/>
                <a:moveTo>
                  <a:pt x="1105993" y="558287"/>
                </a:moveTo>
                <a:lnTo>
                  <a:pt x="1102969" y="571244"/>
                </a:lnTo>
                <a:lnTo>
                  <a:pt x="1102969" y="583816"/>
                </a:lnTo>
                <a:lnTo>
                  <a:pt x="1103883" y="584129"/>
                </a:lnTo>
                <a:lnTo>
                  <a:pt x="1103883" y="570929"/>
                </a:lnTo>
                <a:lnTo>
                  <a:pt x="1106795" y="558287"/>
                </a:lnTo>
                <a:close/>
                <a:moveTo>
                  <a:pt x="582442" y="514350"/>
                </a:moveTo>
                <a:lnTo>
                  <a:pt x="585608" y="514864"/>
                </a:lnTo>
                <a:lnTo>
                  <a:pt x="588775" y="515379"/>
                </a:lnTo>
                <a:lnTo>
                  <a:pt x="591037" y="515379"/>
                </a:lnTo>
                <a:lnTo>
                  <a:pt x="593751" y="515379"/>
                </a:lnTo>
                <a:lnTo>
                  <a:pt x="598727" y="514864"/>
                </a:lnTo>
                <a:lnTo>
                  <a:pt x="603250" y="514350"/>
                </a:lnTo>
                <a:lnTo>
                  <a:pt x="601893" y="519493"/>
                </a:lnTo>
                <a:lnTo>
                  <a:pt x="600988" y="524121"/>
                </a:lnTo>
                <a:lnTo>
                  <a:pt x="599631" y="527721"/>
                </a:lnTo>
                <a:lnTo>
                  <a:pt x="598727" y="530806"/>
                </a:lnTo>
                <a:lnTo>
                  <a:pt x="595560" y="534920"/>
                </a:lnTo>
                <a:lnTo>
                  <a:pt x="593751" y="537492"/>
                </a:lnTo>
                <a:lnTo>
                  <a:pt x="591037" y="540577"/>
                </a:lnTo>
                <a:lnTo>
                  <a:pt x="589679" y="544177"/>
                </a:lnTo>
                <a:lnTo>
                  <a:pt x="589227" y="546748"/>
                </a:lnTo>
                <a:lnTo>
                  <a:pt x="588775" y="549834"/>
                </a:lnTo>
                <a:lnTo>
                  <a:pt x="588322" y="553434"/>
                </a:lnTo>
                <a:lnTo>
                  <a:pt x="588322" y="558576"/>
                </a:lnTo>
                <a:lnTo>
                  <a:pt x="573395" y="587375"/>
                </a:lnTo>
                <a:lnTo>
                  <a:pt x="567644" y="582774"/>
                </a:lnTo>
                <a:lnTo>
                  <a:pt x="567986" y="583837"/>
                </a:lnTo>
                <a:lnTo>
                  <a:pt x="569739" y="587103"/>
                </a:lnTo>
                <a:lnTo>
                  <a:pt x="570615" y="588736"/>
                </a:lnTo>
                <a:lnTo>
                  <a:pt x="571930" y="590369"/>
                </a:lnTo>
                <a:lnTo>
                  <a:pt x="572368" y="592546"/>
                </a:lnTo>
                <a:lnTo>
                  <a:pt x="572806" y="594723"/>
                </a:lnTo>
                <a:lnTo>
                  <a:pt x="574559" y="595267"/>
                </a:lnTo>
                <a:lnTo>
                  <a:pt x="577627" y="595811"/>
                </a:lnTo>
                <a:lnTo>
                  <a:pt x="578942" y="596356"/>
                </a:lnTo>
                <a:lnTo>
                  <a:pt x="580256" y="596356"/>
                </a:lnTo>
                <a:lnTo>
                  <a:pt x="582447" y="595811"/>
                </a:lnTo>
                <a:lnTo>
                  <a:pt x="584200" y="594723"/>
                </a:lnTo>
                <a:lnTo>
                  <a:pt x="584200" y="611051"/>
                </a:lnTo>
                <a:lnTo>
                  <a:pt x="582885" y="611596"/>
                </a:lnTo>
                <a:lnTo>
                  <a:pt x="580694" y="612140"/>
                </a:lnTo>
                <a:lnTo>
                  <a:pt x="578942" y="612684"/>
                </a:lnTo>
                <a:lnTo>
                  <a:pt x="577627" y="614317"/>
                </a:lnTo>
                <a:lnTo>
                  <a:pt x="573683" y="617039"/>
                </a:lnTo>
                <a:lnTo>
                  <a:pt x="570177" y="620849"/>
                </a:lnTo>
                <a:lnTo>
                  <a:pt x="567548" y="624659"/>
                </a:lnTo>
                <a:lnTo>
                  <a:pt x="564480" y="628469"/>
                </a:lnTo>
                <a:lnTo>
                  <a:pt x="562727" y="631734"/>
                </a:lnTo>
                <a:lnTo>
                  <a:pt x="560975" y="635000"/>
                </a:lnTo>
                <a:lnTo>
                  <a:pt x="552648" y="630646"/>
                </a:lnTo>
                <a:lnTo>
                  <a:pt x="544760" y="626291"/>
                </a:lnTo>
                <a:lnTo>
                  <a:pt x="537749" y="621393"/>
                </a:lnTo>
                <a:lnTo>
                  <a:pt x="530299" y="616494"/>
                </a:lnTo>
                <a:lnTo>
                  <a:pt x="523288" y="611051"/>
                </a:lnTo>
                <a:lnTo>
                  <a:pt x="515838" y="606697"/>
                </a:lnTo>
                <a:lnTo>
                  <a:pt x="508388" y="601799"/>
                </a:lnTo>
                <a:lnTo>
                  <a:pt x="500062" y="597989"/>
                </a:lnTo>
                <a:lnTo>
                  <a:pt x="500062" y="584926"/>
                </a:lnTo>
                <a:lnTo>
                  <a:pt x="503130" y="581660"/>
                </a:lnTo>
                <a:lnTo>
                  <a:pt x="507074" y="580027"/>
                </a:lnTo>
                <a:lnTo>
                  <a:pt x="512770" y="578394"/>
                </a:lnTo>
                <a:lnTo>
                  <a:pt x="517591" y="577850"/>
                </a:lnTo>
                <a:lnTo>
                  <a:pt x="526355" y="578939"/>
                </a:lnTo>
                <a:lnTo>
                  <a:pt x="540816" y="580571"/>
                </a:lnTo>
                <a:lnTo>
                  <a:pt x="548704" y="581660"/>
                </a:lnTo>
                <a:lnTo>
                  <a:pt x="556154" y="581660"/>
                </a:lnTo>
                <a:lnTo>
                  <a:pt x="562727" y="581660"/>
                </a:lnTo>
                <a:lnTo>
                  <a:pt x="565778" y="581281"/>
                </a:lnTo>
                <a:lnTo>
                  <a:pt x="561181" y="577604"/>
                </a:lnTo>
                <a:lnTo>
                  <a:pt x="555301" y="577090"/>
                </a:lnTo>
                <a:lnTo>
                  <a:pt x="542635" y="575547"/>
                </a:lnTo>
                <a:lnTo>
                  <a:pt x="534945" y="574519"/>
                </a:lnTo>
                <a:lnTo>
                  <a:pt x="528159" y="573490"/>
                </a:lnTo>
                <a:lnTo>
                  <a:pt x="522731" y="572462"/>
                </a:lnTo>
                <a:lnTo>
                  <a:pt x="521424" y="572090"/>
                </a:lnTo>
                <a:lnTo>
                  <a:pt x="520469" y="569376"/>
                </a:lnTo>
                <a:lnTo>
                  <a:pt x="520017" y="565262"/>
                </a:lnTo>
                <a:lnTo>
                  <a:pt x="520469" y="562176"/>
                </a:lnTo>
                <a:lnTo>
                  <a:pt x="521826" y="559091"/>
                </a:lnTo>
                <a:lnTo>
                  <a:pt x="523183" y="556519"/>
                </a:lnTo>
                <a:lnTo>
                  <a:pt x="524993" y="553434"/>
                </a:lnTo>
                <a:lnTo>
                  <a:pt x="526802" y="549834"/>
                </a:lnTo>
                <a:lnTo>
                  <a:pt x="528159" y="545720"/>
                </a:lnTo>
                <a:lnTo>
                  <a:pt x="528159" y="543149"/>
                </a:lnTo>
                <a:lnTo>
                  <a:pt x="528612" y="540577"/>
                </a:lnTo>
                <a:lnTo>
                  <a:pt x="529516" y="538006"/>
                </a:lnTo>
                <a:lnTo>
                  <a:pt x="530421" y="535949"/>
                </a:lnTo>
                <a:lnTo>
                  <a:pt x="531778" y="533378"/>
                </a:lnTo>
                <a:lnTo>
                  <a:pt x="533135" y="531835"/>
                </a:lnTo>
                <a:lnTo>
                  <a:pt x="534945" y="530806"/>
                </a:lnTo>
                <a:lnTo>
                  <a:pt x="537206" y="530292"/>
                </a:lnTo>
                <a:lnTo>
                  <a:pt x="537659" y="533892"/>
                </a:lnTo>
                <a:lnTo>
                  <a:pt x="537659" y="536463"/>
                </a:lnTo>
                <a:lnTo>
                  <a:pt x="538563" y="539549"/>
                </a:lnTo>
                <a:lnTo>
                  <a:pt x="539468" y="542120"/>
                </a:lnTo>
                <a:lnTo>
                  <a:pt x="540373" y="544177"/>
                </a:lnTo>
                <a:lnTo>
                  <a:pt x="542182" y="546234"/>
                </a:lnTo>
                <a:lnTo>
                  <a:pt x="543992" y="547777"/>
                </a:lnTo>
                <a:lnTo>
                  <a:pt x="545801" y="548806"/>
                </a:lnTo>
                <a:lnTo>
                  <a:pt x="558467" y="548806"/>
                </a:lnTo>
                <a:lnTo>
                  <a:pt x="558467" y="536463"/>
                </a:lnTo>
                <a:lnTo>
                  <a:pt x="554848" y="535435"/>
                </a:lnTo>
                <a:lnTo>
                  <a:pt x="552586" y="533892"/>
                </a:lnTo>
                <a:lnTo>
                  <a:pt x="550325" y="532863"/>
                </a:lnTo>
                <a:lnTo>
                  <a:pt x="548968" y="531321"/>
                </a:lnTo>
                <a:lnTo>
                  <a:pt x="547610" y="529778"/>
                </a:lnTo>
                <a:lnTo>
                  <a:pt x="547158" y="528235"/>
                </a:lnTo>
                <a:lnTo>
                  <a:pt x="546706" y="526178"/>
                </a:lnTo>
                <a:lnTo>
                  <a:pt x="545801" y="523607"/>
                </a:lnTo>
                <a:lnTo>
                  <a:pt x="550777" y="523092"/>
                </a:lnTo>
                <a:lnTo>
                  <a:pt x="554848" y="522578"/>
                </a:lnTo>
                <a:lnTo>
                  <a:pt x="558467" y="521550"/>
                </a:lnTo>
                <a:lnTo>
                  <a:pt x="560729" y="520521"/>
                </a:lnTo>
                <a:lnTo>
                  <a:pt x="563443" y="519493"/>
                </a:lnTo>
                <a:lnTo>
                  <a:pt x="565705" y="518464"/>
                </a:lnTo>
                <a:lnTo>
                  <a:pt x="569324" y="517436"/>
                </a:lnTo>
                <a:lnTo>
                  <a:pt x="573395" y="517436"/>
                </a:lnTo>
                <a:lnTo>
                  <a:pt x="577918" y="515893"/>
                </a:lnTo>
                <a:close/>
                <a:moveTo>
                  <a:pt x="956117" y="500559"/>
                </a:moveTo>
                <a:lnTo>
                  <a:pt x="952709" y="502992"/>
                </a:lnTo>
                <a:lnTo>
                  <a:pt x="949330" y="505706"/>
                </a:lnTo>
                <a:lnTo>
                  <a:pt x="948063" y="507335"/>
                </a:lnTo>
                <a:lnTo>
                  <a:pt x="946796" y="508963"/>
                </a:lnTo>
                <a:lnTo>
                  <a:pt x="946312" y="509585"/>
                </a:lnTo>
                <a:lnTo>
                  <a:pt x="949674" y="513419"/>
                </a:lnTo>
                <a:lnTo>
                  <a:pt x="948800" y="519188"/>
                </a:lnTo>
                <a:lnTo>
                  <a:pt x="947052" y="525482"/>
                </a:lnTo>
                <a:lnTo>
                  <a:pt x="945305" y="531251"/>
                </a:lnTo>
                <a:lnTo>
                  <a:pt x="943994" y="535971"/>
                </a:lnTo>
                <a:lnTo>
                  <a:pt x="941372" y="540692"/>
                </a:lnTo>
                <a:lnTo>
                  <a:pt x="939624" y="544363"/>
                </a:lnTo>
                <a:lnTo>
                  <a:pt x="937439" y="546986"/>
                </a:lnTo>
                <a:lnTo>
                  <a:pt x="935255" y="548559"/>
                </a:lnTo>
                <a:lnTo>
                  <a:pt x="937002" y="556951"/>
                </a:lnTo>
                <a:lnTo>
                  <a:pt x="937810" y="559373"/>
                </a:lnTo>
                <a:lnTo>
                  <a:pt x="937057" y="556214"/>
                </a:lnTo>
                <a:lnTo>
                  <a:pt x="936625" y="552068"/>
                </a:lnTo>
                <a:lnTo>
                  <a:pt x="936625" y="548441"/>
                </a:lnTo>
                <a:lnTo>
                  <a:pt x="938786" y="546886"/>
                </a:lnTo>
                <a:lnTo>
                  <a:pt x="940946" y="544294"/>
                </a:lnTo>
                <a:lnTo>
                  <a:pt x="942674" y="540667"/>
                </a:lnTo>
                <a:lnTo>
                  <a:pt x="945266" y="536002"/>
                </a:lnTo>
                <a:lnTo>
                  <a:pt x="946563" y="531338"/>
                </a:lnTo>
                <a:lnTo>
                  <a:pt x="948291" y="525637"/>
                </a:lnTo>
                <a:lnTo>
                  <a:pt x="950019" y="519418"/>
                </a:lnTo>
                <a:lnTo>
                  <a:pt x="950883" y="513717"/>
                </a:lnTo>
                <a:lnTo>
                  <a:pt x="954340" y="504389"/>
                </a:lnTo>
                <a:lnTo>
                  <a:pt x="955636" y="501279"/>
                </a:lnTo>
                <a:close/>
                <a:moveTo>
                  <a:pt x="896937" y="474405"/>
                </a:moveTo>
                <a:lnTo>
                  <a:pt x="896937" y="490536"/>
                </a:lnTo>
                <a:lnTo>
                  <a:pt x="917758" y="492279"/>
                </a:lnTo>
                <a:lnTo>
                  <a:pt x="900342" y="488879"/>
                </a:lnTo>
                <a:close/>
                <a:moveTo>
                  <a:pt x="631825" y="462712"/>
                </a:moveTo>
                <a:lnTo>
                  <a:pt x="630912" y="463079"/>
                </a:lnTo>
                <a:lnTo>
                  <a:pt x="629603" y="463604"/>
                </a:lnTo>
                <a:lnTo>
                  <a:pt x="628651" y="463604"/>
                </a:lnTo>
                <a:lnTo>
                  <a:pt x="631825" y="465012"/>
                </a:lnTo>
                <a:close/>
                <a:moveTo>
                  <a:pt x="970164" y="441473"/>
                </a:moveTo>
                <a:lnTo>
                  <a:pt x="970446" y="442196"/>
                </a:lnTo>
                <a:lnTo>
                  <a:pt x="971713" y="442739"/>
                </a:lnTo>
                <a:lnTo>
                  <a:pt x="972980" y="443281"/>
                </a:lnTo>
                <a:lnTo>
                  <a:pt x="976780" y="443281"/>
                </a:lnTo>
                <a:lnTo>
                  <a:pt x="981214" y="443281"/>
                </a:lnTo>
                <a:lnTo>
                  <a:pt x="978097" y="442506"/>
                </a:lnTo>
                <a:lnTo>
                  <a:pt x="974596" y="441473"/>
                </a:lnTo>
                <a:close/>
                <a:moveTo>
                  <a:pt x="769937" y="398463"/>
                </a:moveTo>
                <a:lnTo>
                  <a:pt x="784225" y="398463"/>
                </a:lnTo>
                <a:lnTo>
                  <a:pt x="781164" y="410989"/>
                </a:lnTo>
                <a:lnTo>
                  <a:pt x="778612" y="421949"/>
                </a:lnTo>
                <a:lnTo>
                  <a:pt x="776061" y="432127"/>
                </a:lnTo>
                <a:lnTo>
                  <a:pt x="773509" y="441521"/>
                </a:lnTo>
                <a:lnTo>
                  <a:pt x="769937" y="455613"/>
                </a:lnTo>
                <a:lnTo>
                  <a:pt x="770958" y="435258"/>
                </a:lnTo>
                <a:lnTo>
                  <a:pt x="772999" y="420384"/>
                </a:lnTo>
                <a:lnTo>
                  <a:pt x="773509" y="414121"/>
                </a:lnTo>
                <a:lnTo>
                  <a:pt x="772999" y="408640"/>
                </a:lnTo>
                <a:lnTo>
                  <a:pt x="771978" y="403943"/>
                </a:lnTo>
                <a:close/>
                <a:moveTo>
                  <a:pt x="291544" y="393699"/>
                </a:moveTo>
                <a:lnTo>
                  <a:pt x="294987" y="394228"/>
                </a:lnTo>
                <a:lnTo>
                  <a:pt x="299291" y="395287"/>
                </a:lnTo>
                <a:lnTo>
                  <a:pt x="302304" y="404282"/>
                </a:lnTo>
                <a:lnTo>
                  <a:pt x="305747" y="411691"/>
                </a:lnTo>
                <a:lnTo>
                  <a:pt x="306177" y="413807"/>
                </a:lnTo>
                <a:lnTo>
                  <a:pt x="306608" y="415395"/>
                </a:lnTo>
                <a:lnTo>
                  <a:pt x="306608" y="416982"/>
                </a:lnTo>
                <a:lnTo>
                  <a:pt x="306608" y="418570"/>
                </a:lnTo>
                <a:lnTo>
                  <a:pt x="306177" y="420157"/>
                </a:lnTo>
                <a:lnTo>
                  <a:pt x="305317" y="421216"/>
                </a:lnTo>
                <a:lnTo>
                  <a:pt x="304025" y="423332"/>
                </a:lnTo>
                <a:lnTo>
                  <a:pt x="301873" y="424391"/>
                </a:lnTo>
                <a:lnTo>
                  <a:pt x="304886" y="424391"/>
                </a:lnTo>
                <a:lnTo>
                  <a:pt x="303595" y="427037"/>
                </a:lnTo>
                <a:lnTo>
                  <a:pt x="301873" y="429153"/>
                </a:lnTo>
                <a:lnTo>
                  <a:pt x="300582" y="431270"/>
                </a:lnTo>
                <a:lnTo>
                  <a:pt x="298861" y="433387"/>
                </a:lnTo>
                <a:lnTo>
                  <a:pt x="296709" y="434974"/>
                </a:lnTo>
                <a:lnTo>
                  <a:pt x="294987" y="436033"/>
                </a:lnTo>
                <a:lnTo>
                  <a:pt x="292405" y="437091"/>
                </a:lnTo>
                <a:lnTo>
                  <a:pt x="290683" y="437091"/>
                </a:lnTo>
                <a:lnTo>
                  <a:pt x="290683" y="439208"/>
                </a:lnTo>
                <a:lnTo>
                  <a:pt x="291544" y="441324"/>
                </a:lnTo>
                <a:lnTo>
                  <a:pt x="292405" y="442912"/>
                </a:lnTo>
                <a:lnTo>
                  <a:pt x="294126" y="444499"/>
                </a:lnTo>
                <a:lnTo>
                  <a:pt x="295418" y="446087"/>
                </a:lnTo>
                <a:lnTo>
                  <a:pt x="297139" y="447145"/>
                </a:lnTo>
                <a:lnTo>
                  <a:pt x="299291" y="447674"/>
                </a:lnTo>
                <a:lnTo>
                  <a:pt x="301443" y="448203"/>
                </a:lnTo>
                <a:lnTo>
                  <a:pt x="306177" y="449262"/>
                </a:lnTo>
                <a:lnTo>
                  <a:pt x="310912" y="449791"/>
                </a:lnTo>
                <a:lnTo>
                  <a:pt x="315216" y="449791"/>
                </a:lnTo>
                <a:lnTo>
                  <a:pt x="319089" y="449791"/>
                </a:lnTo>
                <a:lnTo>
                  <a:pt x="319089" y="459316"/>
                </a:lnTo>
                <a:lnTo>
                  <a:pt x="319089" y="466724"/>
                </a:lnTo>
                <a:lnTo>
                  <a:pt x="319089" y="474133"/>
                </a:lnTo>
                <a:lnTo>
                  <a:pt x="319089" y="483129"/>
                </a:lnTo>
                <a:lnTo>
                  <a:pt x="319089" y="484716"/>
                </a:lnTo>
                <a:lnTo>
                  <a:pt x="318659" y="486833"/>
                </a:lnTo>
                <a:lnTo>
                  <a:pt x="317798" y="488420"/>
                </a:lnTo>
                <a:lnTo>
                  <a:pt x="316937" y="490008"/>
                </a:lnTo>
                <a:lnTo>
                  <a:pt x="314785" y="492654"/>
                </a:lnTo>
                <a:lnTo>
                  <a:pt x="311772" y="495829"/>
                </a:lnTo>
                <a:lnTo>
                  <a:pt x="309621" y="499004"/>
                </a:lnTo>
                <a:lnTo>
                  <a:pt x="307038" y="502179"/>
                </a:lnTo>
                <a:lnTo>
                  <a:pt x="306177" y="503766"/>
                </a:lnTo>
                <a:lnTo>
                  <a:pt x="305317" y="505354"/>
                </a:lnTo>
                <a:lnTo>
                  <a:pt x="304886" y="506941"/>
                </a:lnTo>
                <a:lnTo>
                  <a:pt x="304886" y="508529"/>
                </a:lnTo>
                <a:lnTo>
                  <a:pt x="301443" y="509058"/>
                </a:lnTo>
                <a:lnTo>
                  <a:pt x="299291" y="509058"/>
                </a:lnTo>
                <a:lnTo>
                  <a:pt x="296278" y="510116"/>
                </a:lnTo>
                <a:lnTo>
                  <a:pt x="294557" y="511704"/>
                </a:lnTo>
                <a:lnTo>
                  <a:pt x="292835" y="512762"/>
                </a:lnTo>
                <a:lnTo>
                  <a:pt x="291544" y="514879"/>
                </a:lnTo>
                <a:lnTo>
                  <a:pt x="290683" y="516466"/>
                </a:lnTo>
                <a:lnTo>
                  <a:pt x="290683" y="518583"/>
                </a:lnTo>
                <a:lnTo>
                  <a:pt x="287240" y="519112"/>
                </a:lnTo>
                <a:lnTo>
                  <a:pt x="285088" y="520170"/>
                </a:lnTo>
                <a:lnTo>
                  <a:pt x="282506" y="521758"/>
                </a:lnTo>
                <a:lnTo>
                  <a:pt x="280784" y="523875"/>
                </a:lnTo>
                <a:lnTo>
                  <a:pt x="278632" y="525462"/>
                </a:lnTo>
                <a:lnTo>
                  <a:pt x="277341" y="527050"/>
                </a:lnTo>
                <a:lnTo>
                  <a:pt x="275620" y="528108"/>
                </a:lnTo>
                <a:lnTo>
                  <a:pt x="273037" y="528637"/>
                </a:lnTo>
                <a:lnTo>
                  <a:pt x="265721" y="528637"/>
                </a:lnTo>
                <a:lnTo>
                  <a:pt x="258834" y="529695"/>
                </a:lnTo>
                <a:lnTo>
                  <a:pt x="253239" y="530754"/>
                </a:lnTo>
                <a:lnTo>
                  <a:pt x="248075" y="531812"/>
                </a:lnTo>
                <a:lnTo>
                  <a:pt x="238606" y="534987"/>
                </a:lnTo>
                <a:lnTo>
                  <a:pt x="227846" y="538162"/>
                </a:lnTo>
                <a:lnTo>
                  <a:pt x="230429" y="531812"/>
                </a:lnTo>
                <a:lnTo>
                  <a:pt x="226555" y="531812"/>
                </a:lnTo>
                <a:lnTo>
                  <a:pt x="222251" y="531812"/>
                </a:lnTo>
                <a:lnTo>
                  <a:pt x="222251" y="508529"/>
                </a:lnTo>
                <a:lnTo>
                  <a:pt x="225694" y="507999"/>
                </a:lnTo>
                <a:lnTo>
                  <a:pt x="229568" y="506941"/>
                </a:lnTo>
                <a:lnTo>
                  <a:pt x="231289" y="505883"/>
                </a:lnTo>
                <a:lnTo>
                  <a:pt x="232581" y="504824"/>
                </a:lnTo>
                <a:lnTo>
                  <a:pt x="233011" y="503766"/>
                </a:lnTo>
                <a:lnTo>
                  <a:pt x="233441" y="502179"/>
                </a:lnTo>
                <a:lnTo>
                  <a:pt x="239467" y="502179"/>
                </a:lnTo>
                <a:lnTo>
                  <a:pt x="245492" y="501649"/>
                </a:lnTo>
                <a:lnTo>
                  <a:pt x="248075" y="500591"/>
                </a:lnTo>
                <a:lnTo>
                  <a:pt x="249796" y="499533"/>
                </a:lnTo>
                <a:lnTo>
                  <a:pt x="251948" y="497945"/>
                </a:lnTo>
                <a:lnTo>
                  <a:pt x="253239" y="495829"/>
                </a:lnTo>
                <a:lnTo>
                  <a:pt x="249796" y="496887"/>
                </a:lnTo>
                <a:lnTo>
                  <a:pt x="245492" y="498474"/>
                </a:lnTo>
                <a:lnTo>
                  <a:pt x="242910" y="498474"/>
                </a:lnTo>
                <a:lnTo>
                  <a:pt x="241188" y="498474"/>
                </a:lnTo>
                <a:lnTo>
                  <a:pt x="239897" y="498474"/>
                </a:lnTo>
                <a:lnTo>
                  <a:pt x="239467" y="497945"/>
                </a:lnTo>
                <a:lnTo>
                  <a:pt x="239036" y="496887"/>
                </a:lnTo>
                <a:lnTo>
                  <a:pt x="239036" y="495829"/>
                </a:lnTo>
                <a:lnTo>
                  <a:pt x="239036" y="493183"/>
                </a:lnTo>
                <a:lnTo>
                  <a:pt x="239897" y="490537"/>
                </a:lnTo>
                <a:lnTo>
                  <a:pt x="241188" y="487891"/>
                </a:lnTo>
                <a:lnTo>
                  <a:pt x="242049" y="485245"/>
                </a:lnTo>
                <a:lnTo>
                  <a:pt x="243771" y="481541"/>
                </a:lnTo>
                <a:lnTo>
                  <a:pt x="244631" y="479424"/>
                </a:lnTo>
                <a:lnTo>
                  <a:pt x="239036" y="478366"/>
                </a:lnTo>
                <a:lnTo>
                  <a:pt x="234302" y="476779"/>
                </a:lnTo>
                <a:lnTo>
                  <a:pt x="231289" y="475191"/>
                </a:lnTo>
                <a:lnTo>
                  <a:pt x="228277" y="473074"/>
                </a:lnTo>
                <a:lnTo>
                  <a:pt x="226555" y="470428"/>
                </a:lnTo>
                <a:lnTo>
                  <a:pt x="225264" y="466724"/>
                </a:lnTo>
                <a:lnTo>
                  <a:pt x="224833" y="462491"/>
                </a:lnTo>
                <a:lnTo>
                  <a:pt x="224833" y="457199"/>
                </a:lnTo>
                <a:lnTo>
                  <a:pt x="228707" y="455612"/>
                </a:lnTo>
                <a:lnTo>
                  <a:pt x="231720" y="454553"/>
                </a:lnTo>
                <a:lnTo>
                  <a:pt x="233441" y="452966"/>
                </a:lnTo>
                <a:lnTo>
                  <a:pt x="235163" y="451378"/>
                </a:lnTo>
                <a:lnTo>
                  <a:pt x="237315" y="447674"/>
                </a:lnTo>
                <a:lnTo>
                  <a:pt x="239036" y="443441"/>
                </a:lnTo>
                <a:lnTo>
                  <a:pt x="246353" y="443441"/>
                </a:lnTo>
                <a:lnTo>
                  <a:pt x="251518" y="443441"/>
                </a:lnTo>
                <a:lnTo>
                  <a:pt x="255391" y="443441"/>
                </a:lnTo>
                <a:lnTo>
                  <a:pt x="258834" y="443441"/>
                </a:lnTo>
                <a:lnTo>
                  <a:pt x="260986" y="443441"/>
                </a:lnTo>
                <a:lnTo>
                  <a:pt x="262708" y="442912"/>
                </a:lnTo>
                <a:lnTo>
                  <a:pt x="263999" y="441853"/>
                </a:lnTo>
                <a:lnTo>
                  <a:pt x="265290" y="440266"/>
                </a:lnTo>
                <a:lnTo>
                  <a:pt x="267012" y="437091"/>
                </a:lnTo>
                <a:lnTo>
                  <a:pt x="267873" y="432328"/>
                </a:lnTo>
                <a:lnTo>
                  <a:pt x="268733" y="421216"/>
                </a:lnTo>
                <a:lnTo>
                  <a:pt x="270455" y="411162"/>
                </a:lnTo>
                <a:lnTo>
                  <a:pt x="272607" y="410632"/>
                </a:lnTo>
                <a:lnTo>
                  <a:pt x="273898" y="410103"/>
                </a:lnTo>
                <a:lnTo>
                  <a:pt x="275620" y="409045"/>
                </a:lnTo>
                <a:lnTo>
                  <a:pt x="276480" y="407457"/>
                </a:lnTo>
                <a:lnTo>
                  <a:pt x="278202" y="404282"/>
                </a:lnTo>
                <a:lnTo>
                  <a:pt x="280784" y="400578"/>
                </a:lnTo>
                <a:lnTo>
                  <a:pt x="281645" y="398991"/>
                </a:lnTo>
                <a:lnTo>
                  <a:pt x="282936" y="397403"/>
                </a:lnTo>
                <a:lnTo>
                  <a:pt x="284658" y="395816"/>
                </a:lnTo>
                <a:lnTo>
                  <a:pt x="286379" y="394757"/>
                </a:lnTo>
                <a:lnTo>
                  <a:pt x="288962" y="394228"/>
                </a:lnTo>
                <a:close/>
                <a:moveTo>
                  <a:pt x="813329" y="376238"/>
                </a:moveTo>
                <a:lnTo>
                  <a:pt x="817827" y="384082"/>
                </a:lnTo>
                <a:lnTo>
                  <a:pt x="822325" y="390806"/>
                </a:lnTo>
                <a:lnTo>
                  <a:pt x="821875" y="398650"/>
                </a:lnTo>
                <a:lnTo>
                  <a:pt x="820526" y="408735"/>
                </a:lnTo>
                <a:lnTo>
                  <a:pt x="819626" y="414338"/>
                </a:lnTo>
                <a:lnTo>
                  <a:pt x="818727" y="418820"/>
                </a:lnTo>
                <a:lnTo>
                  <a:pt x="817377" y="423303"/>
                </a:lnTo>
                <a:lnTo>
                  <a:pt x="815578" y="426665"/>
                </a:lnTo>
                <a:lnTo>
                  <a:pt x="813779" y="430026"/>
                </a:lnTo>
                <a:lnTo>
                  <a:pt x="811980" y="432267"/>
                </a:lnTo>
                <a:lnTo>
                  <a:pt x="809281" y="433388"/>
                </a:lnTo>
                <a:lnTo>
                  <a:pt x="807482" y="433388"/>
                </a:lnTo>
                <a:lnTo>
                  <a:pt x="804333" y="432267"/>
                </a:lnTo>
                <a:lnTo>
                  <a:pt x="802084" y="428906"/>
                </a:lnTo>
                <a:lnTo>
                  <a:pt x="798486" y="424423"/>
                </a:lnTo>
                <a:lnTo>
                  <a:pt x="795337" y="417700"/>
                </a:lnTo>
                <a:lnTo>
                  <a:pt x="798036" y="409856"/>
                </a:lnTo>
                <a:lnTo>
                  <a:pt x="802084" y="397529"/>
                </a:lnTo>
                <a:lnTo>
                  <a:pt x="804333" y="390806"/>
                </a:lnTo>
                <a:lnTo>
                  <a:pt x="807482" y="385203"/>
                </a:lnTo>
                <a:lnTo>
                  <a:pt x="810181" y="380720"/>
                </a:lnTo>
                <a:close/>
                <a:moveTo>
                  <a:pt x="923153" y="328613"/>
                </a:moveTo>
                <a:lnTo>
                  <a:pt x="930447" y="328613"/>
                </a:lnTo>
                <a:lnTo>
                  <a:pt x="937312" y="328613"/>
                </a:lnTo>
                <a:lnTo>
                  <a:pt x="944177" y="328613"/>
                </a:lnTo>
                <a:lnTo>
                  <a:pt x="952329" y="329118"/>
                </a:lnTo>
                <a:lnTo>
                  <a:pt x="959193" y="330127"/>
                </a:lnTo>
                <a:lnTo>
                  <a:pt x="964342" y="331640"/>
                </a:lnTo>
                <a:lnTo>
                  <a:pt x="968633" y="333154"/>
                </a:lnTo>
                <a:lnTo>
                  <a:pt x="971636" y="334668"/>
                </a:lnTo>
                <a:lnTo>
                  <a:pt x="975498" y="336181"/>
                </a:lnTo>
                <a:lnTo>
                  <a:pt x="979359" y="337190"/>
                </a:lnTo>
                <a:lnTo>
                  <a:pt x="984079" y="337695"/>
                </a:lnTo>
                <a:lnTo>
                  <a:pt x="989656" y="338200"/>
                </a:lnTo>
                <a:lnTo>
                  <a:pt x="999525" y="338200"/>
                </a:lnTo>
                <a:lnTo>
                  <a:pt x="1004244" y="338200"/>
                </a:lnTo>
                <a:lnTo>
                  <a:pt x="1008535" y="337695"/>
                </a:lnTo>
                <a:lnTo>
                  <a:pt x="1010251" y="337190"/>
                </a:lnTo>
                <a:lnTo>
                  <a:pt x="1011538" y="336686"/>
                </a:lnTo>
                <a:lnTo>
                  <a:pt x="1012396" y="335677"/>
                </a:lnTo>
                <a:lnTo>
                  <a:pt x="1012825" y="334668"/>
                </a:lnTo>
                <a:lnTo>
                  <a:pt x="1011967" y="343245"/>
                </a:lnTo>
                <a:lnTo>
                  <a:pt x="1010251" y="353841"/>
                </a:lnTo>
                <a:lnTo>
                  <a:pt x="1009822" y="360400"/>
                </a:lnTo>
                <a:lnTo>
                  <a:pt x="1009822" y="368977"/>
                </a:lnTo>
                <a:lnTo>
                  <a:pt x="1011109" y="380077"/>
                </a:lnTo>
                <a:lnTo>
                  <a:pt x="1012825" y="393700"/>
                </a:lnTo>
                <a:lnTo>
                  <a:pt x="1011014" y="393294"/>
                </a:lnTo>
                <a:lnTo>
                  <a:pt x="1011795" y="394955"/>
                </a:lnTo>
                <a:lnTo>
                  <a:pt x="1016171" y="405809"/>
                </a:lnTo>
                <a:lnTo>
                  <a:pt x="1021861" y="419765"/>
                </a:lnTo>
                <a:lnTo>
                  <a:pt x="1027112" y="431136"/>
                </a:lnTo>
                <a:lnTo>
                  <a:pt x="997791" y="447675"/>
                </a:lnTo>
                <a:lnTo>
                  <a:pt x="994290" y="446641"/>
                </a:lnTo>
                <a:lnTo>
                  <a:pt x="993202" y="446356"/>
                </a:lnTo>
                <a:lnTo>
                  <a:pt x="994518" y="447624"/>
                </a:lnTo>
                <a:lnTo>
                  <a:pt x="995362" y="449795"/>
                </a:lnTo>
                <a:lnTo>
                  <a:pt x="995362" y="452509"/>
                </a:lnTo>
                <a:lnTo>
                  <a:pt x="978470" y="472594"/>
                </a:lnTo>
                <a:lnTo>
                  <a:pt x="977203" y="473137"/>
                </a:lnTo>
                <a:lnTo>
                  <a:pt x="976358" y="475308"/>
                </a:lnTo>
                <a:lnTo>
                  <a:pt x="975091" y="478022"/>
                </a:lnTo>
                <a:lnTo>
                  <a:pt x="973402" y="481279"/>
                </a:lnTo>
                <a:lnTo>
                  <a:pt x="971290" y="487793"/>
                </a:lnTo>
                <a:lnTo>
                  <a:pt x="970446" y="492136"/>
                </a:lnTo>
                <a:lnTo>
                  <a:pt x="968394" y="493191"/>
                </a:lnTo>
                <a:lnTo>
                  <a:pt x="969030" y="492987"/>
                </a:lnTo>
                <a:lnTo>
                  <a:pt x="974215" y="490914"/>
                </a:lnTo>
                <a:lnTo>
                  <a:pt x="974215" y="489878"/>
                </a:lnTo>
                <a:lnTo>
                  <a:pt x="975079" y="488323"/>
                </a:lnTo>
                <a:lnTo>
                  <a:pt x="975943" y="486768"/>
                </a:lnTo>
                <a:lnTo>
                  <a:pt x="977239" y="485213"/>
                </a:lnTo>
                <a:lnTo>
                  <a:pt x="978967" y="483659"/>
                </a:lnTo>
                <a:lnTo>
                  <a:pt x="980263" y="482622"/>
                </a:lnTo>
                <a:lnTo>
                  <a:pt x="981128" y="482104"/>
                </a:lnTo>
                <a:lnTo>
                  <a:pt x="982424" y="481586"/>
                </a:lnTo>
                <a:lnTo>
                  <a:pt x="982424" y="475367"/>
                </a:lnTo>
                <a:lnTo>
                  <a:pt x="982424" y="472775"/>
                </a:lnTo>
                <a:lnTo>
                  <a:pt x="982856" y="470702"/>
                </a:lnTo>
                <a:lnTo>
                  <a:pt x="983720" y="469666"/>
                </a:lnTo>
                <a:lnTo>
                  <a:pt x="984152" y="468629"/>
                </a:lnTo>
                <a:lnTo>
                  <a:pt x="985448" y="468111"/>
                </a:lnTo>
                <a:lnTo>
                  <a:pt x="987176" y="468629"/>
                </a:lnTo>
                <a:lnTo>
                  <a:pt x="989337" y="469148"/>
                </a:lnTo>
                <a:lnTo>
                  <a:pt x="991065" y="469148"/>
                </a:lnTo>
                <a:lnTo>
                  <a:pt x="991929" y="469148"/>
                </a:lnTo>
                <a:lnTo>
                  <a:pt x="992361" y="468629"/>
                </a:lnTo>
                <a:lnTo>
                  <a:pt x="993657" y="467593"/>
                </a:lnTo>
                <a:lnTo>
                  <a:pt x="994089" y="465520"/>
                </a:lnTo>
                <a:lnTo>
                  <a:pt x="994522" y="462410"/>
                </a:lnTo>
                <a:lnTo>
                  <a:pt x="995818" y="458264"/>
                </a:lnTo>
                <a:lnTo>
                  <a:pt x="996682" y="456191"/>
                </a:lnTo>
                <a:lnTo>
                  <a:pt x="997978" y="454636"/>
                </a:lnTo>
                <a:lnTo>
                  <a:pt x="998842" y="453600"/>
                </a:lnTo>
                <a:lnTo>
                  <a:pt x="999706" y="453082"/>
                </a:lnTo>
                <a:lnTo>
                  <a:pt x="1028654" y="433388"/>
                </a:lnTo>
                <a:lnTo>
                  <a:pt x="1025630" y="436498"/>
                </a:lnTo>
                <a:lnTo>
                  <a:pt x="1045505" y="443753"/>
                </a:lnTo>
                <a:lnTo>
                  <a:pt x="1062787" y="443753"/>
                </a:lnTo>
                <a:lnTo>
                  <a:pt x="1066244" y="456191"/>
                </a:lnTo>
                <a:lnTo>
                  <a:pt x="1083094" y="449972"/>
                </a:lnTo>
                <a:lnTo>
                  <a:pt x="1097352" y="456191"/>
                </a:lnTo>
                <a:lnTo>
                  <a:pt x="1100377" y="481586"/>
                </a:lnTo>
                <a:lnTo>
                  <a:pt x="1120252" y="501279"/>
                </a:lnTo>
                <a:lnTo>
                  <a:pt x="1134942" y="510608"/>
                </a:lnTo>
                <a:lnTo>
                  <a:pt x="1146175" y="519937"/>
                </a:lnTo>
                <a:lnTo>
                  <a:pt x="1134942" y="529783"/>
                </a:lnTo>
                <a:lnTo>
                  <a:pt x="1114635" y="523046"/>
                </a:lnTo>
                <a:lnTo>
                  <a:pt x="1117227" y="536002"/>
                </a:lnTo>
                <a:lnTo>
                  <a:pt x="1123708" y="542221"/>
                </a:lnTo>
                <a:lnTo>
                  <a:pt x="1123708" y="557728"/>
                </a:lnTo>
                <a:lnTo>
                  <a:pt x="1124736" y="557728"/>
                </a:lnTo>
                <a:lnTo>
                  <a:pt x="1138638" y="557728"/>
                </a:lnTo>
                <a:lnTo>
                  <a:pt x="1147326" y="550863"/>
                </a:lnTo>
                <a:lnTo>
                  <a:pt x="1167311" y="550863"/>
                </a:lnTo>
                <a:lnTo>
                  <a:pt x="1175999" y="557728"/>
                </a:lnTo>
                <a:lnTo>
                  <a:pt x="1188163" y="570929"/>
                </a:lnTo>
                <a:lnTo>
                  <a:pt x="1182081" y="584129"/>
                </a:lnTo>
                <a:lnTo>
                  <a:pt x="1205106" y="584129"/>
                </a:lnTo>
                <a:lnTo>
                  <a:pt x="1213795" y="609475"/>
                </a:lnTo>
                <a:lnTo>
                  <a:pt x="1225090" y="606307"/>
                </a:lnTo>
                <a:lnTo>
                  <a:pt x="1237255" y="616340"/>
                </a:lnTo>
                <a:lnTo>
                  <a:pt x="1251591" y="609475"/>
                </a:lnTo>
                <a:lnTo>
                  <a:pt x="1265927" y="622676"/>
                </a:lnTo>
                <a:lnTo>
                  <a:pt x="1282870" y="622676"/>
                </a:lnTo>
                <a:lnTo>
                  <a:pt x="1300682" y="632709"/>
                </a:lnTo>
                <a:lnTo>
                  <a:pt x="1317625" y="639046"/>
                </a:lnTo>
                <a:lnTo>
                  <a:pt x="1315019" y="655415"/>
                </a:lnTo>
                <a:lnTo>
                  <a:pt x="1311978" y="674952"/>
                </a:lnTo>
                <a:lnTo>
                  <a:pt x="1317625" y="687625"/>
                </a:lnTo>
                <a:lnTo>
                  <a:pt x="1303289" y="687625"/>
                </a:lnTo>
                <a:lnTo>
                  <a:pt x="1285911" y="694490"/>
                </a:lnTo>
                <a:lnTo>
                  <a:pt x="1282870" y="710859"/>
                </a:lnTo>
                <a:lnTo>
                  <a:pt x="1274182" y="714027"/>
                </a:lnTo>
                <a:lnTo>
                  <a:pt x="1264190" y="716139"/>
                </a:lnTo>
                <a:lnTo>
                  <a:pt x="1254198" y="718779"/>
                </a:lnTo>
                <a:lnTo>
                  <a:pt x="1244640" y="721948"/>
                </a:lnTo>
                <a:lnTo>
                  <a:pt x="1235517" y="725116"/>
                </a:lnTo>
                <a:lnTo>
                  <a:pt x="1232041" y="727228"/>
                </a:lnTo>
                <a:lnTo>
                  <a:pt x="1228132" y="728812"/>
                </a:lnTo>
                <a:lnTo>
                  <a:pt x="1224656" y="731980"/>
                </a:lnTo>
                <a:lnTo>
                  <a:pt x="1221615" y="734092"/>
                </a:lnTo>
                <a:lnTo>
                  <a:pt x="1219877" y="736733"/>
                </a:lnTo>
                <a:lnTo>
                  <a:pt x="1218139" y="739901"/>
                </a:lnTo>
                <a:lnTo>
                  <a:pt x="1217271" y="743069"/>
                </a:lnTo>
                <a:lnTo>
                  <a:pt x="1216402" y="746237"/>
                </a:lnTo>
                <a:lnTo>
                  <a:pt x="1217271" y="748878"/>
                </a:lnTo>
                <a:lnTo>
                  <a:pt x="1217705" y="751518"/>
                </a:lnTo>
                <a:lnTo>
                  <a:pt x="1219008" y="754158"/>
                </a:lnTo>
                <a:lnTo>
                  <a:pt x="1220312" y="756798"/>
                </a:lnTo>
                <a:lnTo>
                  <a:pt x="1221615" y="759438"/>
                </a:lnTo>
                <a:lnTo>
                  <a:pt x="1223787" y="761550"/>
                </a:lnTo>
                <a:lnTo>
                  <a:pt x="1225959" y="762607"/>
                </a:lnTo>
                <a:lnTo>
                  <a:pt x="1228132" y="763135"/>
                </a:lnTo>
                <a:lnTo>
                  <a:pt x="1237255" y="762078"/>
                </a:lnTo>
                <a:lnTo>
                  <a:pt x="1245509" y="759966"/>
                </a:lnTo>
                <a:lnTo>
                  <a:pt x="1249853" y="759438"/>
                </a:lnTo>
                <a:lnTo>
                  <a:pt x="1254198" y="758910"/>
                </a:lnTo>
                <a:lnTo>
                  <a:pt x="1258542" y="758910"/>
                </a:lnTo>
                <a:lnTo>
                  <a:pt x="1262886" y="759966"/>
                </a:lnTo>
                <a:lnTo>
                  <a:pt x="1258976" y="761550"/>
                </a:lnTo>
                <a:lnTo>
                  <a:pt x="1255501" y="763663"/>
                </a:lnTo>
                <a:lnTo>
                  <a:pt x="1252894" y="766303"/>
                </a:lnTo>
                <a:lnTo>
                  <a:pt x="1249853" y="769471"/>
                </a:lnTo>
                <a:lnTo>
                  <a:pt x="1247681" y="773167"/>
                </a:lnTo>
                <a:lnTo>
                  <a:pt x="1245074" y="776336"/>
                </a:lnTo>
                <a:lnTo>
                  <a:pt x="1242902" y="779504"/>
                </a:lnTo>
                <a:lnTo>
                  <a:pt x="1239861" y="782144"/>
                </a:lnTo>
                <a:lnTo>
                  <a:pt x="1238558" y="777920"/>
                </a:lnTo>
                <a:lnTo>
                  <a:pt x="1237689" y="774751"/>
                </a:lnTo>
                <a:lnTo>
                  <a:pt x="1235951" y="772111"/>
                </a:lnTo>
                <a:lnTo>
                  <a:pt x="1235082" y="770527"/>
                </a:lnTo>
                <a:lnTo>
                  <a:pt x="1232041" y="768415"/>
                </a:lnTo>
                <a:lnTo>
                  <a:pt x="1228132" y="766303"/>
                </a:lnTo>
                <a:lnTo>
                  <a:pt x="1228132" y="768943"/>
                </a:lnTo>
                <a:lnTo>
                  <a:pt x="1227263" y="771583"/>
                </a:lnTo>
                <a:lnTo>
                  <a:pt x="1225959" y="774223"/>
                </a:lnTo>
                <a:lnTo>
                  <a:pt x="1224656" y="776336"/>
                </a:lnTo>
                <a:lnTo>
                  <a:pt x="1220746" y="780560"/>
                </a:lnTo>
                <a:lnTo>
                  <a:pt x="1215967" y="784256"/>
                </a:lnTo>
                <a:lnTo>
                  <a:pt x="1211623" y="788480"/>
                </a:lnTo>
                <a:lnTo>
                  <a:pt x="1207713" y="791649"/>
                </a:lnTo>
                <a:lnTo>
                  <a:pt x="1205541" y="793761"/>
                </a:lnTo>
                <a:lnTo>
                  <a:pt x="1204238" y="795345"/>
                </a:lnTo>
                <a:lnTo>
                  <a:pt x="1202934" y="796929"/>
                </a:lnTo>
                <a:lnTo>
                  <a:pt x="1202065" y="798513"/>
                </a:lnTo>
                <a:lnTo>
                  <a:pt x="1199459" y="797985"/>
                </a:lnTo>
                <a:lnTo>
                  <a:pt x="1197287" y="796929"/>
                </a:lnTo>
                <a:lnTo>
                  <a:pt x="1195114" y="795873"/>
                </a:lnTo>
                <a:lnTo>
                  <a:pt x="1193377" y="794289"/>
                </a:lnTo>
                <a:lnTo>
                  <a:pt x="1191639" y="793233"/>
                </a:lnTo>
                <a:lnTo>
                  <a:pt x="1190336" y="791121"/>
                </a:lnTo>
                <a:lnTo>
                  <a:pt x="1189467" y="789536"/>
                </a:lnTo>
                <a:lnTo>
                  <a:pt x="1188163" y="786896"/>
                </a:lnTo>
                <a:lnTo>
                  <a:pt x="1186426" y="782672"/>
                </a:lnTo>
                <a:lnTo>
                  <a:pt x="1185557" y="777392"/>
                </a:lnTo>
                <a:lnTo>
                  <a:pt x="1185122" y="772111"/>
                </a:lnTo>
                <a:lnTo>
                  <a:pt x="1185122" y="766303"/>
                </a:lnTo>
                <a:lnTo>
                  <a:pt x="1181212" y="765775"/>
                </a:lnTo>
                <a:lnTo>
                  <a:pt x="1177737" y="765247"/>
                </a:lnTo>
                <a:lnTo>
                  <a:pt x="1174696" y="764191"/>
                </a:lnTo>
                <a:lnTo>
                  <a:pt x="1171220" y="762607"/>
                </a:lnTo>
                <a:lnTo>
                  <a:pt x="1165573" y="759438"/>
                </a:lnTo>
                <a:lnTo>
                  <a:pt x="1161663" y="756270"/>
                </a:lnTo>
                <a:lnTo>
                  <a:pt x="1167745" y="754158"/>
                </a:lnTo>
                <a:lnTo>
                  <a:pt x="1174262" y="752046"/>
                </a:lnTo>
                <a:lnTo>
                  <a:pt x="1179475" y="750990"/>
                </a:lnTo>
                <a:lnTo>
                  <a:pt x="1185122" y="749934"/>
                </a:lnTo>
                <a:lnTo>
                  <a:pt x="1195983" y="748349"/>
                </a:lnTo>
                <a:lnTo>
                  <a:pt x="1208147" y="746237"/>
                </a:lnTo>
                <a:lnTo>
                  <a:pt x="1159056" y="746237"/>
                </a:lnTo>
                <a:lnTo>
                  <a:pt x="1155146" y="742013"/>
                </a:lnTo>
                <a:lnTo>
                  <a:pt x="1150802" y="737789"/>
                </a:lnTo>
                <a:lnTo>
                  <a:pt x="1145589" y="734620"/>
                </a:lnTo>
                <a:lnTo>
                  <a:pt x="1140376" y="731452"/>
                </a:lnTo>
                <a:lnTo>
                  <a:pt x="1129949" y="726700"/>
                </a:lnTo>
                <a:lnTo>
                  <a:pt x="1121260" y="723532"/>
                </a:lnTo>
                <a:lnTo>
                  <a:pt x="1115613" y="735677"/>
                </a:lnTo>
                <a:lnTo>
                  <a:pt x="1109531" y="745709"/>
                </a:lnTo>
                <a:lnTo>
                  <a:pt x="1107358" y="750462"/>
                </a:lnTo>
                <a:lnTo>
                  <a:pt x="1104317" y="754686"/>
                </a:lnTo>
                <a:lnTo>
                  <a:pt x="1101711" y="759438"/>
                </a:lnTo>
                <a:lnTo>
                  <a:pt x="1098235" y="763135"/>
                </a:lnTo>
                <a:lnTo>
                  <a:pt x="1093891" y="762607"/>
                </a:lnTo>
                <a:lnTo>
                  <a:pt x="1092780" y="762457"/>
                </a:lnTo>
                <a:lnTo>
                  <a:pt x="1090833" y="765572"/>
                </a:lnTo>
                <a:lnTo>
                  <a:pt x="1087034" y="770299"/>
                </a:lnTo>
                <a:lnTo>
                  <a:pt x="1082391" y="775027"/>
                </a:lnTo>
                <a:lnTo>
                  <a:pt x="1076904" y="779754"/>
                </a:lnTo>
                <a:lnTo>
                  <a:pt x="1076060" y="784482"/>
                </a:lnTo>
                <a:lnTo>
                  <a:pt x="1076060" y="788684"/>
                </a:lnTo>
                <a:lnTo>
                  <a:pt x="1076482" y="792361"/>
                </a:lnTo>
                <a:lnTo>
                  <a:pt x="1076904" y="795513"/>
                </a:lnTo>
                <a:lnTo>
                  <a:pt x="1078592" y="800765"/>
                </a:lnTo>
                <a:lnTo>
                  <a:pt x="1079858" y="805493"/>
                </a:lnTo>
                <a:lnTo>
                  <a:pt x="1072683" y="804442"/>
                </a:lnTo>
                <a:lnTo>
                  <a:pt x="1064663" y="802341"/>
                </a:lnTo>
                <a:lnTo>
                  <a:pt x="1060864" y="801291"/>
                </a:lnTo>
                <a:lnTo>
                  <a:pt x="1056221" y="800240"/>
                </a:lnTo>
                <a:lnTo>
                  <a:pt x="1051156" y="799715"/>
                </a:lnTo>
                <a:lnTo>
                  <a:pt x="1045669" y="799190"/>
                </a:lnTo>
                <a:lnTo>
                  <a:pt x="1038916" y="799715"/>
                </a:lnTo>
                <a:lnTo>
                  <a:pt x="1031740" y="801291"/>
                </a:lnTo>
                <a:lnTo>
                  <a:pt x="1030055" y="801990"/>
                </a:lnTo>
                <a:lnTo>
                  <a:pt x="1036112" y="800641"/>
                </a:lnTo>
                <a:lnTo>
                  <a:pt x="1042972" y="800100"/>
                </a:lnTo>
                <a:lnTo>
                  <a:pt x="1048547" y="800641"/>
                </a:lnTo>
                <a:lnTo>
                  <a:pt x="1053692" y="801182"/>
                </a:lnTo>
                <a:lnTo>
                  <a:pt x="1058408" y="802264"/>
                </a:lnTo>
                <a:lnTo>
                  <a:pt x="1062267" y="803346"/>
                </a:lnTo>
                <a:lnTo>
                  <a:pt x="1070414" y="805510"/>
                </a:lnTo>
                <a:lnTo>
                  <a:pt x="1077703" y="806592"/>
                </a:lnTo>
                <a:lnTo>
                  <a:pt x="1076846" y="811461"/>
                </a:lnTo>
                <a:lnTo>
                  <a:pt x="1075560" y="815248"/>
                </a:lnTo>
                <a:lnTo>
                  <a:pt x="1073844" y="819576"/>
                </a:lnTo>
                <a:lnTo>
                  <a:pt x="1071701" y="822822"/>
                </a:lnTo>
                <a:lnTo>
                  <a:pt x="1069557" y="826068"/>
                </a:lnTo>
                <a:lnTo>
                  <a:pt x="1067842" y="828773"/>
                </a:lnTo>
                <a:lnTo>
                  <a:pt x="1066555" y="830937"/>
                </a:lnTo>
                <a:lnTo>
                  <a:pt x="1066126" y="833642"/>
                </a:lnTo>
                <a:lnTo>
                  <a:pt x="1066126" y="834724"/>
                </a:lnTo>
                <a:lnTo>
                  <a:pt x="1066555" y="835806"/>
                </a:lnTo>
                <a:lnTo>
                  <a:pt x="1067842" y="837429"/>
                </a:lnTo>
                <a:lnTo>
                  <a:pt x="1068699" y="838511"/>
                </a:lnTo>
                <a:lnTo>
                  <a:pt x="1071272" y="840675"/>
                </a:lnTo>
                <a:lnTo>
                  <a:pt x="1074702" y="842839"/>
                </a:lnTo>
                <a:lnTo>
                  <a:pt x="1081562" y="847167"/>
                </a:lnTo>
                <a:lnTo>
                  <a:pt x="1085850" y="850413"/>
                </a:lnTo>
                <a:lnTo>
                  <a:pt x="1080276" y="854200"/>
                </a:lnTo>
                <a:lnTo>
                  <a:pt x="1075560" y="857987"/>
                </a:lnTo>
                <a:lnTo>
                  <a:pt x="1073844" y="859610"/>
                </a:lnTo>
                <a:lnTo>
                  <a:pt x="1072987" y="862314"/>
                </a:lnTo>
                <a:lnTo>
                  <a:pt x="1071701" y="865560"/>
                </a:lnTo>
                <a:lnTo>
                  <a:pt x="1071701" y="869888"/>
                </a:lnTo>
                <a:lnTo>
                  <a:pt x="1068699" y="870970"/>
                </a:lnTo>
                <a:lnTo>
                  <a:pt x="1060552" y="873675"/>
                </a:lnTo>
                <a:lnTo>
                  <a:pt x="1051119" y="877462"/>
                </a:lnTo>
                <a:lnTo>
                  <a:pt x="1043620" y="879952"/>
                </a:lnTo>
                <a:lnTo>
                  <a:pt x="1044378" y="882650"/>
                </a:lnTo>
                <a:lnTo>
                  <a:pt x="1045270" y="886883"/>
                </a:lnTo>
                <a:lnTo>
                  <a:pt x="1045716" y="891646"/>
                </a:lnTo>
                <a:lnTo>
                  <a:pt x="1045716" y="896409"/>
                </a:lnTo>
                <a:lnTo>
                  <a:pt x="1046162" y="905404"/>
                </a:lnTo>
                <a:lnTo>
                  <a:pt x="1046162" y="909109"/>
                </a:lnTo>
                <a:lnTo>
                  <a:pt x="1007803" y="899054"/>
                </a:lnTo>
                <a:lnTo>
                  <a:pt x="1001113" y="900642"/>
                </a:lnTo>
                <a:lnTo>
                  <a:pt x="994868" y="902759"/>
                </a:lnTo>
                <a:lnTo>
                  <a:pt x="989516" y="905934"/>
                </a:lnTo>
                <a:lnTo>
                  <a:pt x="984610" y="909109"/>
                </a:lnTo>
                <a:lnTo>
                  <a:pt x="982826" y="910696"/>
                </a:lnTo>
                <a:lnTo>
                  <a:pt x="981041" y="912813"/>
                </a:lnTo>
                <a:lnTo>
                  <a:pt x="979703" y="914929"/>
                </a:lnTo>
                <a:lnTo>
                  <a:pt x="979257" y="917575"/>
                </a:lnTo>
                <a:lnTo>
                  <a:pt x="978811" y="920221"/>
                </a:lnTo>
                <a:lnTo>
                  <a:pt x="979257" y="922338"/>
                </a:lnTo>
                <a:lnTo>
                  <a:pt x="979703" y="925513"/>
                </a:lnTo>
                <a:lnTo>
                  <a:pt x="981041" y="928159"/>
                </a:lnTo>
                <a:lnTo>
                  <a:pt x="980595" y="929217"/>
                </a:lnTo>
                <a:lnTo>
                  <a:pt x="979257" y="931334"/>
                </a:lnTo>
                <a:lnTo>
                  <a:pt x="978365" y="932921"/>
                </a:lnTo>
                <a:lnTo>
                  <a:pt x="977473" y="933450"/>
                </a:lnTo>
                <a:lnTo>
                  <a:pt x="976135" y="935038"/>
                </a:lnTo>
                <a:lnTo>
                  <a:pt x="975243" y="935038"/>
                </a:lnTo>
                <a:lnTo>
                  <a:pt x="973459" y="935038"/>
                </a:lnTo>
                <a:lnTo>
                  <a:pt x="972121" y="933450"/>
                </a:lnTo>
                <a:lnTo>
                  <a:pt x="970783" y="932392"/>
                </a:lnTo>
                <a:lnTo>
                  <a:pt x="969891" y="931334"/>
                </a:lnTo>
                <a:lnTo>
                  <a:pt x="969445" y="928159"/>
                </a:lnTo>
                <a:lnTo>
                  <a:pt x="969445" y="924984"/>
                </a:lnTo>
                <a:lnTo>
                  <a:pt x="964984" y="924454"/>
                </a:lnTo>
                <a:lnTo>
                  <a:pt x="960524" y="922867"/>
                </a:lnTo>
                <a:lnTo>
                  <a:pt x="957402" y="921279"/>
                </a:lnTo>
                <a:lnTo>
                  <a:pt x="954725" y="918634"/>
                </a:lnTo>
                <a:lnTo>
                  <a:pt x="954725" y="923396"/>
                </a:lnTo>
                <a:lnTo>
                  <a:pt x="954725" y="928159"/>
                </a:lnTo>
                <a:lnTo>
                  <a:pt x="955171" y="930275"/>
                </a:lnTo>
                <a:lnTo>
                  <a:pt x="956064" y="932921"/>
                </a:lnTo>
                <a:lnTo>
                  <a:pt x="958740" y="937154"/>
                </a:lnTo>
                <a:lnTo>
                  <a:pt x="960524" y="940859"/>
                </a:lnTo>
                <a:lnTo>
                  <a:pt x="963646" y="944034"/>
                </a:lnTo>
                <a:lnTo>
                  <a:pt x="965876" y="946679"/>
                </a:lnTo>
                <a:lnTo>
                  <a:pt x="967214" y="947738"/>
                </a:lnTo>
                <a:lnTo>
                  <a:pt x="968106" y="948267"/>
                </a:lnTo>
                <a:lnTo>
                  <a:pt x="968552" y="948267"/>
                </a:lnTo>
                <a:lnTo>
                  <a:pt x="969445" y="948267"/>
                </a:lnTo>
                <a:lnTo>
                  <a:pt x="969445" y="957263"/>
                </a:lnTo>
                <a:lnTo>
                  <a:pt x="969445" y="965730"/>
                </a:lnTo>
                <a:lnTo>
                  <a:pt x="969445" y="973138"/>
                </a:lnTo>
                <a:lnTo>
                  <a:pt x="969445" y="980546"/>
                </a:lnTo>
                <a:lnTo>
                  <a:pt x="969445" y="992188"/>
                </a:lnTo>
                <a:lnTo>
                  <a:pt x="969445" y="1004888"/>
                </a:lnTo>
                <a:lnTo>
                  <a:pt x="968998" y="1007534"/>
                </a:lnTo>
                <a:lnTo>
                  <a:pt x="968552" y="1010180"/>
                </a:lnTo>
                <a:lnTo>
                  <a:pt x="968106" y="1012296"/>
                </a:lnTo>
                <a:lnTo>
                  <a:pt x="967214" y="1013884"/>
                </a:lnTo>
                <a:lnTo>
                  <a:pt x="965430" y="1015471"/>
                </a:lnTo>
                <a:lnTo>
                  <a:pt x="964092" y="1016530"/>
                </a:lnTo>
                <a:lnTo>
                  <a:pt x="962754" y="1016530"/>
                </a:lnTo>
                <a:lnTo>
                  <a:pt x="960524" y="1016530"/>
                </a:lnTo>
                <a:lnTo>
                  <a:pt x="963200" y="1019176"/>
                </a:lnTo>
                <a:lnTo>
                  <a:pt x="967214" y="1022351"/>
                </a:lnTo>
                <a:lnTo>
                  <a:pt x="968998" y="1024467"/>
                </a:lnTo>
                <a:lnTo>
                  <a:pt x="970783" y="1025526"/>
                </a:lnTo>
                <a:lnTo>
                  <a:pt x="973013" y="1026055"/>
                </a:lnTo>
                <a:lnTo>
                  <a:pt x="975243" y="1026584"/>
                </a:lnTo>
                <a:lnTo>
                  <a:pt x="973013" y="1030817"/>
                </a:lnTo>
                <a:lnTo>
                  <a:pt x="970337" y="1033463"/>
                </a:lnTo>
                <a:lnTo>
                  <a:pt x="968998" y="1034521"/>
                </a:lnTo>
                <a:lnTo>
                  <a:pt x="967660" y="1035580"/>
                </a:lnTo>
                <a:lnTo>
                  <a:pt x="965430" y="1036109"/>
                </a:lnTo>
                <a:lnTo>
                  <a:pt x="963646" y="1036109"/>
                </a:lnTo>
                <a:lnTo>
                  <a:pt x="960970" y="1036638"/>
                </a:lnTo>
                <a:lnTo>
                  <a:pt x="959632" y="1037696"/>
                </a:lnTo>
                <a:lnTo>
                  <a:pt x="958294" y="1039284"/>
                </a:lnTo>
                <a:lnTo>
                  <a:pt x="956510" y="1041930"/>
                </a:lnTo>
                <a:lnTo>
                  <a:pt x="955618" y="1044046"/>
                </a:lnTo>
                <a:lnTo>
                  <a:pt x="955171" y="1046692"/>
                </a:lnTo>
                <a:lnTo>
                  <a:pt x="954725" y="1049338"/>
                </a:lnTo>
                <a:lnTo>
                  <a:pt x="954725" y="1052513"/>
                </a:lnTo>
                <a:lnTo>
                  <a:pt x="952941" y="1044046"/>
                </a:lnTo>
                <a:lnTo>
                  <a:pt x="952495" y="1038226"/>
                </a:lnTo>
                <a:lnTo>
                  <a:pt x="952495" y="1036109"/>
                </a:lnTo>
                <a:lnTo>
                  <a:pt x="952941" y="1033992"/>
                </a:lnTo>
                <a:lnTo>
                  <a:pt x="953833" y="1031876"/>
                </a:lnTo>
                <a:lnTo>
                  <a:pt x="954725" y="1029759"/>
                </a:lnTo>
                <a:lnTo>
                  <a:pt x="950265" y="1029759"/>
                </a:lnTo>
                <a:lnTo>
                  <a:pt x="947143" y="1030817"/>
                </a:lnTo>
                <a:lnTo>
                  <a:pt x="944467" y="1031876"/>
                </a:lnTo>
                <a:lnTo>
                  <a:pt x="942237" y="1032934"/>
                </a:lnTo>
                <a:lnTo>
                  <a:pt x="940006" y="1033992"/>
                </a:lnTo>
                <a:lnTo>
                  <a:pt x="938222" y="1035051"/>
                </a:lnTo>
                <a:lnTo>
                  <a:pt x="935546" y="1035580"/>
                </a:lnTo>
                <a:lnTo>
                  <a:pt x="933762" y="1036109"/>
                </a:lnTo>
                <a:lnTo>
                  <a:pt x="933316" y="1023409"/>
                </a:lnTo>
                <a:lnTo>
                  <a:pt x="931532" y="1012296"/>
                </a:lnTo>
                <a:lnTo>
                  <a:pt x="931086" y="1007534"/>
                </a:lnTo>
                <a:lnTo>
                  <a:pt x="931086" y="1003300"/>
                </a:lnTo>
                <a:lnTo>
                  <a:pt x="932424" y="998538"/>
                </a:lnTo>
                <a:lnTo>
                  <a:pt x="933762" y="993775"/>
                </a:lnTo>
                <a:lnTo>
                  <a:pt x="928856" y="993775"/>
                </a:lnTo>
                <a:lnTo>
                  <a:pt x="923949" y="992188"/>
                </a:lnTo>
                <a:lnTo>
                  <a:pt x="919935" y="991130"/>
                </a:lnTo>
                <a:lnTo>
                  <a:pt x="916367" y="989013"/>
                </a:lnTo>
                <a:lnTo>
                  <a:pt x="913690" y="986896"/>
                </a:lnTo>
                <a:lnTo>
                  <a:pt x="911014" y="984250"/>
                </a:lnTo>
                <a:lnTo>
                  <a:pt x="908784" y="981605"/>
                </a:lnTo>
                <a:lnTo>
                  <a:pt x="907446" y="978430"/>
                </a:lnTo>
                <a:lnTo>
                  <a:pt x="904324" y="971021"/>
                </a:lnTo>
                <a:lnTo>
                  <a:pt x="902540" y="963084"/>
                </a:lnTo>
                <a:lnTo>
                  <a:pt x="900309" y="955675"/>
                </a:lnTo>
                <a:lnTo>
                  <a:pt x="898525" y="948267"/>
                </a:lnTo>
                <a:lnTo>
                  <a:pt x="902986" y="945092"/>
                </a:lnTo>
                <a:lnTo>
                  <a:pt x="907000" y="941917"/>
                </a:lnTo>
                <a:lnTo>
                  <a:pt x="911014" y="938213"/>
                </a:lnTo>
                <a:lnTo>
                  <a:pt x="915028" y="932921"/>
                </a:lnTo>
                <a:lnTo>
                  <a:pt x="918597" y="928159"/>
                </a:lnTo>
                <a:lnTo>
                  <a:pt x="920827" y="922338"/>
                </a:lnTo>
                <a:lnTo>
                  <a:pt x="923503" y="915988"/>
                </a:lnTo>
                <a:lnTo>
                  <a:pt x="924841" y="909109"/>
                </a:lnTo>
                <a:lnTo>
                  <a:pt x="931086" y="908579"/>
                </a:lnTo>
                <a:lnTo>
                  <a:pt x="937776" y="906992"/>
                </a:lnTo>
                <a:lnTo>
                  <a:pt x="944021" y="904346"/>
                </a:lnTo>
                <a:lnTo>
                  <a:pt x="949819" y="901171"/>
                </a:lnTo>
                <a:lnTo>
                  <a:pt x="960970" y="894821"/>
                </a:lnTo>
                <a:lnTo>
                  <a:pt x="972567" y="889529"/>
                </a:lnTo>
                <a:lnTo>
                  <a:pt x="978811" y="886883"/>
                </a:lnTo>
                <a:lnTo>
                  <a:pt x="984164" y="884767"/>
                </a:lnTo>
                <a:lnTo>
                  <a:pt x="988615" y="883954"/>
                </a:lnTo>
                <a:lnTo>
                  <a:pt x="988089" y="883954"/>
                </a:lnTo>
                <a:lnTo>
                  <a:pt x="980800" y="883954"/>
                </a:lnTo>
                <a:lnTo>
                  <a:pt x="977798" y="884495"/>
                </a:lnTo>
                <a:lnTo>
                  <a:pt x="974368" y="885036"/>
                </a:lnTo>
                <a:lnTo>
                  <a:pt x="971795" y="886118"/>
                </a:lnTo>
                <a:lnTo>
                  <a:pt x="969891" y="886919"/>
                </a:lnTo>
                <a:lnTo>
                  <a:pt x="960031" y="893098"/>
                </a:lnTo>
                <a:lnTo>
                  <a:pt x="948511" y="900316"/>
                </a:lnTo>
                <a:lnTo>
                  <a:pt x="942538" y="902894"/>
                </a:lnTo>
                <a:lnTo>
                  <a:pt x="935712" y="905988"/>
                </a:lnTo>
                <a:lnTo>
                  <a:pt x="929739" y="907535"/>
                </a:lnTo>
                <a:lnTo>
                  <a:pt x="923340" y="908050"/>
                </a:lnTo>
                <a:lnTo>
                  <a:pt x="919738" y="902827"/>
                </a:lnTo>
                <a:lnTo>
                  <a:pt x="922337" y="907445"/>
                </a:lnTo>
                <a:lnTo>
                  <a:pt x="920697" y="913198"/>
                </a:lnTo>
                <a:lnTo>
                  <a:pt x="919056" y="918952"/>
                </a:lnTo>
                <a:lnTo>
                  <a:pt x="916596" y="924705"/>
                </a:lnTo>
                <a:lnTo>
                  <a:pt x="914545" y="929936"/>
                </a:lnTo>
                <a:lnTo>
                  <a:pt x="911265" y="935166"/>
                </a:lnTo>
                <a:lnTo>
                  <a:pt x="908394" y="939351"/>
                </a:lnTo>
                <a:lnTo>
                  <a:pt x="904293" y="943012"/>
                </a:lnTo>
                <a:lnTo>
                  <a:pt x="900602" y="946150"/>
                </a:lnTo>
                <a:lnTo>
                  <a:pt x="900192" y="944581"/>
                </a:lnTo>
                <a:lnTo>
                  <a:pt x="899782" y="943535"/>
                </a:lnTo>
                <a:lnTo>
                  <a:pt x="898551" y="941966"/>
                </a:lnTo>
                <a:lnTo>
                  <a:pt x="897731" y="940920"/>
                </a:lnTo>
                <a:lnTo>
                  <a:pt x="895271" y="937781"/>
                </a:lnTo>
                <a:lnTo>
                  <a:pt x="891990" y="934643"/>
                </a:lnTo>
                <a:lnTo>
                  <a:pt x="888299" y="931505"/>
                </a:lnTo>
                <a:lnTo>
                  <a:pt x="885428" y="928367"/>
                </a:lnTo>
                <a:lnTo>
                  <a:pt x="882968" y="925751"/>
                </a:lnTo>
                <a:lnTo>
                  <a:pt x="881327" y="923136"/>
                </a:lnTo>
                <a:lnTo>
                  <a:pt x="879277" y="915813"/>
                </a:lnTo>
                <a:lnTo>
                  <a:pt x="877226" y="907445"/>
                </a:lnTo>
                <a:lnTo>
                  <a:pt x="875176" y="898553"/>
                </a:lnTo>
                <a:lnTo>
                  <a:pt x="873125" y="891230"/>
                </a:lnTo>
                <a:lnTo>
                  <a:pt x="874766" y="887569"/>
                </a:lnTo>
                <a:lnTo>
                  <a:pt x="876406" y="883908"/>
                </a:lnTo>
                <a:lnTo>
                  <a:pt x="877226" y="880769"/>
                </a:lnTo>
                <a:lnTo>
                  <a:pt x="878046" y="877631"/>
                </a:lnTo>
                <a:lnTo>
                  <a:pt x="878867" y="871355"/>
                </a:lnTo>
                <a:lnTo>
                  <a:pt x="879277" y="866124"/>
                </a:lnTo>
                <a:lnTo>
                  <a:pt x="879277" y="863509"/>
                </a:lnTo>
                <a:lnTo>
                  <a:pt x="879687" y="861940"/>
                </a:lnTo>
                <a:lnTo>
                  <a:pt x="880917" y="859847"/>
                </a:lnTo>
                <a:lnTo>
                  <a:pt x="881737" y="858278"/>
                </a:lnTo>
                <a:lnTo>
                  <a:pt x="882968" y="857232"/>
                </a:lnTo>
                <a:lnTo>
                  <a:pt x="884198" y="856186"/>
                </a:lnTo>
                <a:lnTo>
                  <a:pt x="886659" y="855663"/>
                </a:lnTo>
                <a:lnTo>
                  <a:pt x="889119" y="855663"/>
                </a:lnTo>
                <a:lnTo>
                  <a:pt x="890760" y="856186"/>
                </a:lnTo>
                <a:lnTo>
                  <a:pt x="890957" y="856312"/>
                </a:lnTo>
                <a:lnTo>
                  <a:pt x="890329" y="855372"/>
                </a:lnTo>
                <a:lnTo>
                  <a:pt x="889013" y="853796"/>
                </a:lnTo>
                <a:lnTo>
                  <a:pt x="887257" y="853270"/>
                </a:lnTo>
                <a:lnTo>
                  <a:pt x="884624" y="853270"/>
                </a:lnTo>
                <a:lnTo>
                  <a:pt x="881992" y="853796"/>
                </a:lnTo>
                <a:lnTo>
                  <a:pt x="880675" y="854847"/>
                </a:lnTo>
                <a:lnTo>
                  <a:pt x="879359" y="855897"/>
                </a:lnTo>
                <a:lnTo>
                  <a:pt x="878481" y="857474"/>
                </a:lnTo>
                <a:lnTo>
                  <a:pt x="877164" y="859575"/>
                </a:lnTo>
                <a:lnTo>
                  <a:pt x="876726" y="861152"/>
                </a:lnTo>
                <a:lnTo>
                  <a:pt x="876726" y="863779"/>
                </a:lnTo>
                <a:lnTo>
                  <a:pt x="876287" y="869033"/>
                </a:lnTo>
                <a:lnTo>
                  <a:pt x="875409" y="874813"/>
                </a:lnTo>
                <a:lnTo>
                  <a:pt x="874532" y="878491"/>
                </a:lnTo>
                <a:lnTo>
                  <a:pt x="873654" y="881644"/>
                </a:lnTo>
                <a:lnTo>
                  <a:pt x="871899" y="885322"/>
                </a:lnTo>
                <a:lnTo>
                  <a:pt x="870143" y="889000"/>
                </a:lnTo>
                <a:lnTo>
                  <a:pt x="868827" y="877440"/>
                </a:lnTo>
                <a:lnTo>
                  <a:pt x="867072" y="867457"/>
                </a:lnTo>
                <a:lnTo>
                  <a:pt x="865755" y="862728"/>
                </a:lnTo>
                <a:lnTo>
                  <a:pt x="863122" y="859050"/>
                </a:lnTo>
                <a:lnTo>
                  <a:pt x="861806" y="857474"/>
                </a:lnTo>
                <a:lnTo>
                  <a:pt x="860489" y="855897"/>
                </a:lnTo>
                <a:lnTo>
                  <a:pt x="857856" y="854321"/>
                </a:lnTo>
                <a:lnTo>
                  <a:pt x="855662" y="853270"/>
                </a:lnTo>
                <a:lnTo>
                  <a:pt x="855662" y="852395"/>
                </a:lnTo>
                <a:lnTo>
                  <a:pt x="832397" y="842694"/>
                </a:lnTo>
                <a:lnTo>
                  <a:pt x="829197" y="842963"/>
                </a:lnTo>
                <a:lnTo>
                  <a:pt x="822238" y="842963"/>
                </a:lnTo>
                <a:lnTo>
                  <a:pt x="819194" y="842963"/>
                </a:lnTo>
                <a:lnTo>
                  <a:pt x="816149" y="842451"/>
                </a:lnTo>
                <a:lnTo>
                  <a:pt x="813105" y="841425"/>
                </a:lnTo>
                <a:lnTo>
                  <a:pt x="809625" y="839375"/>
                </a:lnTo>
                <a:lnTo>
                  <a:pt x="806581" y="837838"/>
                </a:lnTo>
                <a:lnTo>
                  <a:pt x="804406" y="835787"/>
                </a:lnTo>
                <a:lnTo>
                  <a:pt x="802666" y="832712"/>
                </a:lnTo>
                <a:lnTo>
                  <a:pt x="801362" y="830149"/>
                </a:lnTo>
                <a:lnTo>
                  <a:pt x="800057" y="827074"/>
                </a:lnTo>
                <a:lnTo>
                  <a:pt x="798752" y="824511"/>
                </a:lnTo>
                <a:lnTo>
                  <a:pt x="797012" y="822461"/>
                </a:lnTo>
                <a:lnTo>
                  <a:pt x="795273" y="820923"/>
                </a:lnTo>
                <a:lnTo>
                  <a:pt x="790488" y="811697"/>
                </a:lnTo>
                <a:lnTo>
                  <a:pt x="785704" y="802984"/>
                </a:lnTo>
                <a:lnTo>
                  <a:pt x="780920" y="794783"/>
                </a:lnTo>
                <a:lnTo>
                  <a:pt x="775701" y="786582"/>
                </a:lnTo>
                <a:lnTo>
                  <a:pt x="772656" y="782482"/>
                </a:lnTo>
                <a:lnTo>
                  <a:pt x="770046" y="779406"/>
                </a:lnTo>
                <a:lnTo>
                  <a:pt x="767002" y="776331"/>
                </a:lnTo>
                <a:lnTo>
                  <a:pt x="765897" y="775028"/>
                </a:lnTo>
                <a:lnTo>
                  <a:pt x="760695" y="773466"/>
                </a:lnTo>
                <a:lnTo>
                  <a:pt x="752475" y="771349"/>
                </a:lnTo>
                <a:lnTo>
                  <a:pt x="752475" y="767207"/>
                </a:lnTo>
                <a:lnTo>
                  <a:pt x="751779" y="767105"/>
                </a:lnTo>
                <a:lnTo>
                  <a:pt x="750040" y="764542"/>
                </a:lnTo>
                <a:lnTo>
                  <a:pt x="747865" y="761979"/>
                </a:lnTo>
                <a:lnTo>
                  <a:pt x="746995" y="760442"/>
                </a:lnTo>
                <a:lnTo>
                  <a:pt x="746560" y="758391"/>
                </a:lnTo>
                <a:lnTo>
                  <a:pt x="746125" y="756341"/>
                </a:lnTo>
                <a:lnTo>
                  <a:pt x="746125" y="753778"/>
                </a:lnTo>
                <a:lnTo>
                  <a:pt x="752475" y="755139"/>
                </a:lnTo>
                <a:lnTo>
                  <a:pt x="752475" y="753710"/>
                </a:lnTo>
                <a:lnTo>
                  <a:pt x="752475" y="743127"/>
                </a:lnTo>
                <a:lnTo>
                  <a:pt x="752475" y="731838"/>
                </a:lnTo>
                <a:lnTo>
                  <a:pt x="757955" y="731838"/>
                </a:lnTo>
                <a:lnTo>
                  <a:pt x="761087" y="731838"/>
                </a:lnTo>
                <a:lnTo>
                  <a:pt x="764610" y="731838"/>
                </a:lnTo>
                <a:lnTo>
                  <a:pt x="768133" y="731838"/>
                </a:lnTo>
                <a:lnTo>
                  <a:pt x="772830" y="731838"/>
                </a:lnTo>
                <a:lnTo>
                  <a:pt x="777136" y="730427"/>
                </a:lnTo>
                <a:lnTo>
                  <a:pt x="781050" y="729016"/>
                </a:lnTo>
                <a:lnTo>
                  <a:pt x="784965" y="726899"/>
                </a:lnTo>
                <a:lnTo>
                  <a:pt x="791630" y="722894"/>
                </a:lnTo>
                <a:lnTo>
                  <a:pt x="791069" y="723042"/>
                </a:lnTo>
                <a:lnTo>
                  <a:pt x="783510" y="726131"/>
                </a:lnTo>
                <a:lnTo>
                  <a:pt x="779508" y="727676"/>
                </a:lnTo>
                <a:lnTo>
                  <a:pt x="775061" y="728706"/>
                </a:lnTo>
                <a:lnTo>
                  <a:pt x="770615" y="730250"/>
                </a:lnTo>
                <a:lnTo>
                  <a:pt x="765279" y="730250"/>
                </a:lnTo>
                <a:lnTo>
                  <a:pt x="760832" y="730250"/>
                </a:lnTo>
                <a:lnTo>
                  <a:pt x="755941" y="730250"/>
                </a:lnTo>
                <a:lnTo>
                  <a:pt x="750605" y="730250"/>
                </a:lnTo>
                <a:lnTo>
                  <a:pt x="747259" y="730250"/>
                </a:lnTo>
                <a:lnTo>
                  <a:pt x="746889" y="736958"/>
                </a:lnTo>
                <a:lnTo>
                  <a:pt x="746021" y="743247"/>
                </a:lnTo>
                <a:lnTo>
                  <a:pt x="744285" y="748489"/>
                </a:lnTo>
                <a:lnTo>
                  <a:pt x="742983" y="753206"/>
                </a:lnTo>
                <a:lnTo>
                  <a:pt x="742115" y="757923"/>
                </a:lnTo>
                <a:lnTo>
                  <a:pt x="742549" y="762116"/>
                </a:lnTo>
                <a:lnTo>
                  <a:pt x="742915" y="763881"/>
                </a:lnTo>
                <a:lnTo>
                  <a:pt x="742115" y="763688"/>
                </a:lnTo>
                <a:lnTo>
                  <a:pt x="739946" y="763688"/>
                </a:lnTo>
                <a:lnTo>
                  <a:pt x="738644" y="763688"/>
                </a:lnTo>
                <a:lnTo>
                  <a:pt x="737342" y="763688"/>
                </a:lnTo>
                <a:lnTo>
                  <a:pt x="736040" y="763164"/>
                </a:lnTo>
                <a:lnTo>
                  <a:pt x="735172" y="762116"/>
                </a:lnTo>
                <a:lnTo>
                  <a:pt x="733870" y="760543"/>
                </a:lnTo>
                <a:lnTo>
                  <a:pt x="732134" y="758447"/>
                </a:lnTo>
                <a:lnTo>
                  <a:pt x="731266" y="755302"/>
                </a:lnTo>
                <a:lnTo>
                  <a:pt x="730399" y="751109"/>
                </a:lnTo>
                <a:lnTo>
                  <a:pt x="722587" y="753730"/>
                </a:lnTo>
                <a:lnTo>
                  <a:pt x="717380" y="755826"/>
                </a:lnTo>
                <a:lnTo>
                  <a:pt x="715210" y="757399"/>
                </a:lnTo>
                <a:lnTo>
                  <a:pt x="713474" y="758971"/>
                </a:lnTo>
                <a:lnTo>
                  <a:pt x="712173" y="760019"/>
                </a:lnTo>
                <a:lnTo>
                  <a:pt x="711305" y="761592"/>
                </a:lnTo>
                <a:lnTo>
                  <a:pt x="710437" y="764736"/>
                </a:lnTo>
                <a:lnTo>
                  <a:pt x="710003" y="768929"/>
                </a:lnTo>
                <a:lnTo>
                  <a:pt x="710003" y="774170"/>
                </a:lnTo>
                <a:lnTo>
                  <a:pt x="710003" y="780460"/>
                </a:lnTo>
                <a:lnTo>
                  <a:pt x="710437" y="787797"/>
                </a:lnTo>
                <a:lnTo>
                  <a:pt x="711305" y="794087"/>
                </a:lnTo>
                <a:lnTo>
                  <a:pt x="713040" y="799328"/>
                </a:lnTo>
                <a:lnTo>
                  <a:pt x="715644" y="804045"/>
                </a:lnTo>
                <a:lnTo>
                  <a:pt x="716946" y="806141"/>
                </a:lnTo>
                <a:lnTo>
                  <a:pt x="718682" y="807714"/>
                </a:lnTo>
                <a:lnTo>
                  <a:pt x="720418" y="809286"/>
                </a:lnTo>
                <a:lnTo>
                  <a:pt x="722153" y="810334"/>
                </a:lnTo>
                <a:lnTo>
                  <a:pt x="724323" y="811383"/>
                </a:lnTo>
                <a:lnTo>
                  <a:pt x="726059" y="811907"/>
                </a:lnTo>
                <a:lnTo>
                  <a:pt x="727795" y="812431"/>
                </a:lnTo>
                <a:lnTo>
                  <a:pt x="730399" y="812431"/>
                </a:lnTo>
                <a:lnTo>
                  <a:pt x="730399" y="814527"/>
                </a:lnTo>
                <a:lnTo>
                  <a:pt x="731266" y="817148"/>
                </a:lnTo>
                <a:lnTo>
                  <a:pt x="732568" y="819244"/>
                </a:lnTo>
                <a:lnTo>
                  <a:pt x="734738" y="821341"/>
                </a:lnTo>
                <a:lnTo>
                  <a:pt x="739512" y="825534"/>
                </a:lnTo>
                <a:lnTo>
                  <a:pt x="745153" y="829727"/>
                </a:lnTo>
                <a:lnTo>
                  <a:pt x="755568" y="837064"/>
                </a:lnTo>
                <a:lnTo>
                  <a:pt x="761643" y="841781"/>
                </a:lnTo>
                <a:lnTo>
                  <a:pt x="793756" y="874277"/>
                </a:lnTo>
                <a:lnTo>
                  <a:pt x="795492" y="877945"/>
                </a:lnTo>
                <a:lnTo>
                  <a:pt x="798095" y="881090"/>
                </a:lnTo>
                <a:lnTo>
                  <a:pt x="800265" y="883711"/>
                </a:lnTo>
                <a:lnTo>
                  <a:pt x="803303" y="885807"/>
                </a:lnTo>
                <a:lnTo>
                  <a:pt x="806774" y="886855"/>
                </a:lnTo>
                <a:lnTo>
                  <a:pt x="810246" y="887904"/>
                </a:lnTo>
                <a:lnTo>
                  <a:pt x="814585" y="887904"/>
                </a:lnTo>
                <a:lnTo>
                  <a:pt x="819359" y="887380"/>
                </a:lnTo>
                <a:lnTo>
                  <a:pt x="820227" y="888952"/>
                </a:lnTo>
                <a:lnTo>
                  <a:pt x="821963" y="891048"/>
                </a:lnTo>
                <a:lnTo>
                  <a:pt x="823265" y="893145"/>
                </a:lnTo>
                <a:lnTo>
                  <a:pt x="825000" y="895765"/>
                </a:lnTo>
                <a:lnTo>
                  <a:pt x="830208" y="900482"/>
                </a:lnTo>
                <a:lnTo>
                  <a:pt x="835849" y="905724"/>
                </a:lnTo>
                <a:lnTo>
                  <a:pt x="841491" y="909917"/>
                </a:lnTo>
                <a:lnTo>
                  <a:pt x="846698" y="913061"/>
                </a:lnTo>
                <a:lnTo>
                  <a:pt x="851038" y="915158"/>
                </a:lnTo>
                <a:lnTo>
                  <a:pt x="854075" y="916206"/>
                </a:lnTo>
                <a:lnTo>
                  <a:pt x="853641" y="919875"/>
                </a:lnTo>
                <a:lnTo>
                  <a:pt x="852339" y="924068"/>
                </a:lnTo>
                <a:lnTo>
                  <a:pt x="850604" y="928785"/>
                </a:lnTo>
                <a:lnTo>
                  <a:pt x="848434" y="932454"/>
                </a:lnTo>
                <a:lnTo>
                  <a:pt x="842792" y="922495"/>
                </a:lnTo>
                <a:lnTo>
                  <a:pt x="838019" y="921971"/>
                </a:lnTo>
                <a:lnTo>
                  <a:pt x="833245" y="920399"/>
                </a:lnTo>
                <a:lnTo>
                  <a:pt x="831510" y="919875"/>
                </a:lnTo>
                <a:lnTo>
                  <a:pt x="829340" y="918826"/>
                </a:lnTo>
                <a:lnTo>
                  <a:pt x="828472" y="917254"/>
                </a:lnTo>
                <a:lnTo>
                  <a:pt x="828038" y="916206"/>
                </a:lnTo>
                <a:lnTo>
                  <a:pt x="823699" y="916206"/>
                </a:lnTo>
                <a:lnTo>
                  <a:pt x="819359" y="916206"/>
                </a:lnTo>
                <a:lnTo>
                  <a:pt x="819359" y="919351"/>
                </a:lnTo>
                <a:lnTo>
                  <a:pt x="819359" y="923019"/>
                </a:lnTo>
                <a:lnTo>
                  <a:pt x="819359" y="927212"/>
                </a:lnTo>
                <a:lnTo>
                  <a:pt x="819359" y="932454"/>
                </a:lnTo>
                <a:lnTo>
                  <a:pt x="819793" y="936122"/>
                </a:lnTo>
                <a:lnTo>
                  <a:pt x="821963" y="940315"/>
                </a:lnTo>
                <a:lnTo>
                  <a:pt x="822831" y="942412"/>
                </a:lnTo>
                <a:lnTo>
                  <a:pt x="824132" y="943984"/>
                </a:lnTo>
                <a:lnTo>
                  <a:pt x="826302" y="945032"/>
                </a:lnTo>
                <a:lnTo>
                  <a:pt x="828038" y="945556"/>
                </a:lnTo>
                <a:lnTo>
                  <a:pt x="826302" y="950798"/>
                </a:lnTo>
                <a:lnTo>
                  <a:pt x="823699" y="957087"/>
                </a:lnTo>
                <a:lnTo>
                  <a:pt x="822831" y="960232"/>
                </a:lnTo>
                <a:lnTo>
                  <a:pt x="821963" y="962852"/>
                </a:lnTo>
                <a:lnTo>
                  <a:pt x="820227" y="964425"/>
                </a:lnTo>
                <a:lnTo>
                  <a:pt x="819359" y="964949"/>
                </a:lnTo>
                <a:lnTo>
                  <a:pt x="817189" y="973335"/>
                </a:lnTo>
                <a:lnTo>
                  <a:pt x="814152" y="980148"/>
                </a:lnTo>
                <a:lnTo>
                  <a:pt x="812850" y="983817"/>
                </a:lnTo>
                <a:lnTo>
                  <a:pt x="811982" y="986962"/>
                </a:lnTo>
                <a:lnTo>
                  <a:pt x="811548" y="990630"/>
                </a:lnTo>
                <a:lnTo>
                  <a:pt x="810680" y="993775"/>
                </a:lnTo>
                <a:lnTo>
                  <a:pt x="805039" y="992727"/>
                </a:lnTo>
                <a:lnTo>
                  <a:pt x="798529" y="990630"/>
                </a:lnTo>
                <a:lnTo>
                  <a:pt x="793322" y="988010"/>
                </a:lnTo>
                <a:lnTo>
                  <a:pt x="790718" y="986962"/>
                </a:lnTo>
                <a:lnTo>
                  <a:pt x="792454" y="983817"/>
                </a:lnTo>
                <a:lnTo>
                  <a:pt x="794190" y="980672"/>
                </a:lnTo>
                <a:lnTo>
                  <a:pt x="796359" y="978052"/>
                </a:lnTo>
                <a:lnTo>
                  <a:pt x="798963" y="975431"/>
                </a:lnTo>
                <a:lnTo>
                  <a:pt x="801133" y="972810"/>
                </a:lnTo>
                <a:lnTo>
                  <a:pt x="803303" y="969666"/>
                </a:lnTo>
                <a:lnTo>
                  <a:pt x="804171" y="968093"/>
                </a:lnTo>
                <a:lnTo>
                  <a:pt x="804605" y="965997"/>
                </a:lnTo>
                <a:lnTo>
                  <a:pt x="805039" y="963900"/>
                </a:lnTo>
                <a:lnTo>
                  <a:pt x="805039" y="961804"/>
                </a:lnTo>
                <a:lnTo>
                  <a:pt x="804605" y="957611"/>
                </a:lnTo>
                <a:lnTo>
                  <a:pt x="804171" y="953942"/>
                </a:lnTo>
                <a:lnTo>
                  <a:pt x="803303" y="950273"/>
                </a:lnTo>
                <a:lnTo>
                  <a:pt x="802001" y="946605"/>
                </a:lnTo>
                <a:lnTo>
                  <a:pt x="798095" y="939267"/>
                </a:lnTo>
                <a:lnTo>
                  <a:pt x="793756" y="932454"/>
                </a:lnTo>
                <a:lnTo>
                  <a:pt x="788548" y="926164"/>
                </a:lnTo>
                <a:lnTo>
                  <a:pt x="783341" y="920399"/>
                </a:lnTo>
                <a:lnTo>
                  <a:pt x="778133" y="916206"/>
                </a:lnTo>
                <a:lnTo>
                  <a:pt x="773360" y="913061"/>
                </a:lnTo>
                <a:lnTo>
                  <a:pt x="770322" y="912537"/>
                </a:lnTo>
                <a:lnTo>
                  <a:pt x="767285" y="911489"/>
                </a:lnTo>
                <a:lnTo>
                  <a:pt x="764681" y="909917"/>
                </a:lnTo>
                <a:lnTo>
                  <a:pt x="762077" y="908868"/>
                </a:lnTo>
                <a:lnTo>
                  <a:pt x="757304" y="905724"/>
                </a:lnTo>
                <a:lnTo>
                  <a:pt x="754266" y="902055"/>
                </a:lnTo>
                <a:lnTo>
                  <a:pt x="749059" y="896289"/>
                </a:lnTo>
                <a:lnTo>
                  <a:pt x="747323" y="893669"/>
                </a:lnTo>
                <a:lnTo>
                  <a:pt x="741247" y="892097"/>
                </a:lnTo>
                <a:lnTo>
                  <a:pt x="735606" y="890524"/>
                </a:lnTo>
                <a:lnTo>
                  <a:pt x="729965" y="888428"/>
                </a:lnTo>
                <a:lnTo>
                  <a:pt x="724757" y="886331"/>
                </a:lnTo>
                <a:lnTo>
                  <a:pt x="719550" y="884235"/>
                </a:lnTo>
                <a:lnTo>
                  <a:pt x="714776" y="881614"/>
                </a:lnTo>
                <a:lnTo>
                  <a:pt x="710437" y="878470"/>
                </a:lnTo>
                <a:lnTo>
                  <a:pt x="706097" y="875849"/>
                </a:lnTo>
                <a:lnTo>
                  <a:pt x="697852" y="868511"/>
                </a:lnTo>
                <a:lnTo>
                  <a:pt x="690909" y="861698"/>
                </a:lnTo>
                <a:lnTo>
                  <a:pt x="683966" y="854360"/>
                </a:lnTo>
                <a:lnTo>
                  <a:pt x="678324" y="847023"/>
                </a:lnTo>
                <a:lnTo>
                  <a:pt x="673551" y="839161"/>
                </a:lnTo>
                <a:lnTo>
                  <a:pt x="669211" y="831823"/>
                </a:lnTo>
                <a:lnTo>
                  <a:pt x="665740" y="825010"/>
                </a:lnTo>
                <a:lnTo>
                  <a:pt x="662702" y="818196"/>
                </a:lnTo>
                <a:lnTo>
                  <a:pt x="657928" y="807190"/>
                </a:lnTo>
                <a:lnTo>
                  <a:pt x="654891" y="799852"/>
                </a:lnTo>
                <a:lnTo>
                  <a:pt x="647513" y="799852"/>
                </a:lnTo>
                <a:lnTo>
                  <a:pt x="641872" y="799852"/>
                </a:lnTo>
                <a:lnTo>
                  <a:pt x="636665" y="799852"/>
                </a:lnTo>
                <a:lnTo>
                  <a:pt x="632325" y="799852"/>
                </a:lnTo>
                <a:lnTo>
                  <a:pt x="629721" y="800376"/>
                </a:lnTo>
                <a:lnTo>
                  <a:pt x="627986" y="800376"/>
                </a:lnTo>
                <a:lnTo>
                  <a:pt x="625382" y="801424"/>
                </a:lnTo>
                <a:lnTo>
                  <a:pt x="623212" y="802473"/>
                </a:lnTo>
                <a:lnTo>
                  <a:pt x="618005" y="805093"/>
                </a:lnTo>
                <a:lnTo>
                  <a:pt x="612363" y="809286"/>
                </a:lnTo>
                <a:lnTo>
                  <a:pt x="609759" y="805617"/>
                </a:lnTo>
                <a:lnTo>
                  <a:pt x="608458" y="801949"/>
                </a:lnTo>
                <a:lnTo>
                  <a:pt x="606288" y="797756"/>
                </a:lnTo>
                <a:lnTo>
                  <a:pt x="605420" y="793039"/>
                </a:lnTo>
                <a:lnTo>
                  <a:pt x="604552" y="788846"/>
                </a:lnTo>
                <a:lnTo>
                  <a:pt x="603684" y="783604"/>
                </a:lnTo>
                <a:lnTo>
                  <a:pt x="603684" y="778887"/>
                </a:lnTo>
                <a:lnTo>
                  <a:pt x="603250" y="774170"/>
                </a:lnTo>
                <a:lnTo>
                  <a:pt x="603684" y="767881"/>
                </a:lnTo>
                <a:lnTo>
                  <a:pt x="604552" y="762640"/>
                </a:lnTo>
                <a:lnTo>
                  <a:pt x="605420" y="756350"/>
                </a:lnTo>
                <a:lnTo>
                  <a:pt x="605538" y="754063"/>
                </a:lnTo>
                <a:lnTo>
                  <a:pt x="597432" y="754063"/>
                </a:lnTo>
                <a:lnTo>
                  <a:pt x="595328" y="754063"/>
                </a:lnTo>
                <a:lnTo>
                  <a:pt x="592804" y="752265"/>
                </a:lnTo>
                <a:lnTo>
                  <a:pt x="590280" y="750467"/>
                </a:lnTo>
                <a:lnTo>
                  <a:pt x="587335" y="748669"/>
                </a:lnTo>
                <a:lnTo>
                  <a:pt x="584811" y="746271"/>
                </a:lnTo>
                <a:lnTo>
                  <a:pt x="582708" y="743874"/>
                </a:lnTo>
                <a:lnTo>
                  <a:pt x="581446" y="741476"/>
                </a:lnTo>
                <a:lnTo>
                  <a:pt x="581025" y="739678"/>
                </a:lnTo>
                <a:lnTo>
                  <a:pt x="583129" y="737880"/>
                </a:lnTo>
                <a:lnTo>
                  <a:pt x="585232" y="735483"/>
                </a:lnTo>
                <a:lnTo>
                  <a:pt x="586915" y="731287"/>
                </a:lnTo>
                <a:lnTo>
                  <a:pt x="589439" y="727092"/>
                </a:lnTo>
                <a:lnTo>
                  <a:pt x="590701" y="722297"/>
                </a:lnTo>
                <a:lnTo>
                  <a:pt x="592384" y="717502"/>
                </a:lnTo>
                <a:lnTo>
                  <a:pt x="593646" y="712107"/>
                </a:lnTo>
                <a:lnTo>
                  <a:pt x="594908" y="706713"/>
                </a:lnTo>
                <a:lnTo>
                  <a:pt x="608790" y="703716"/>
                </a:lnTo>
                <a:lnTo>
                  <a:pt x="624356" y="700719"/>
                </a:lnTo>
                <a:lnTo>
                  <a:pt x="640530" y="697976"/>
                </a:lnTo>
                <a:lnTo>
                  <a:pt x="634953" y="697976"/>
                </a:lnTo>
                <a:lnTo>
                  <a:pt x="629118" y="697976"/>
                </a:lnTo>
                <a:lnTo>
                  <a:pt x="623282" y="697976"/>
                </a:lnTo>
                <a:lnTo>
                  <a:pt x="617030" y="699032"/>
                </a:lnTo>
                <a:lnTo>
                  <a:pt x="610778" y="700088"/>
                </a:lnTo>
                <a:lnTo>
                  <a:pt x="614946" y="686360"/>
                </a:lnTo>
                <a:lnTo>
                  <a:pt x="617864" y="673160"/>
                </a:lnTo>
                <a:lnTo>
                  <a:pt x="619531" y="666297"/>
                </a:lnTo>
                <a:lnTo>
                  <a:pt x="621198" y="660489"/>
                </a:lnTo>
                <a:lnTo>
                  <a:pt x="622449" y="655209"/>
                </a:lnTo>
                <a:lnTo>
                  <a:pt x="624950" y="650985"/>
                </a:lnTo>
                <a:lnTo>
                  <a:pt x="616613" y="648345"/>
                </a:lnTo>
                <a:lnTo>
                  <a:pt x="607860" y="646761"/>
                </a:lnTo>
                <a:lnTo>
                  <a:pt x="599941" y="645177"/>
                </a:lnTo>
                <a:lnTo>
                  <a:pt x="591605" y="644649"/>
                </a:lnTo>
                <a:lnTo>
                  <a:pt x="591605" y="624585"/>
                </a:lnTo>
                <a:lnTo>
                  <a:pt x="594106" y="608217"/>
                </a:lnTo>
                <a:lnTo>
                  <a:pt x="588687" y="592377"/>
                </a:lnTo>
                <a:lnTo>
                  <a:pt x="587020" y="592905"/>
                </a:lnTo>
                <a:lnTo>
                  <a:pt x="585353" y="592905"/>
                </a:lnTo>
                <a:lnTo>
                  <a:pt x="584102" y="591849"/>
                </a:lnTo>
                <a:lnTo>
                  <a:pt x="583269" y="590265"/>
                </a:lnTo>
                <a:lnTo>
                  <a:pt x="582435" y="588681"/>
                </a:lnTo>
                <a:lnTo>
                  <a:pt x="580768" y="587625"/>
                </a:lnTo>
                <a:lnTo>
                  <a:pt x="579517" y="586569"/>
                </a:lnTo>
                <a:lnTo>
                  <a:pt x="577850" y="586042"/>
                </a:lnTo>
                <a:lnTo>
                  <a:pt x="591605" y="556474"/>
                </a:lnTo>
                <a:lnTo>
                  <a:pt x="591605" y="551194"/>
                </a:lnTo>
                <a:lnTo>
                  <a:pt x="592022" y="547498"/>
                </a:lnTo>
                <a:lnTo>
                  <a:pt x="592438" y="544330"/>
                </a:lnTo>
                <a:lnTo>
                  <a:pt x="592855" y="541690"/>
                </a:lnTo>
                <a:lnTo>
                  <a:pt x="594106" y="537994"/>
                </a:lnTo>
                <a:lnTo>
                  <a:pt x="596606" y="534826"/>
                </a:lnTo>
                <a:lnTo>
                  <a:pt x="598274" y="532186"/>
                </a:lnTo>
                <a:lnTo>
                  <a:pt x="601191" y="527962"/>
                </a:lnTo>
                <a:lnTo>
                  <a:pt x="602025" y="524794"/>
                </a:lnTo>
                <a:lnTo>
                  <a:pt x="603275" y="521098"/>
                </a:lnTo>
                <a:lnTo>
                  <a:pt x="604109" y="516346"/>
                </a:lnTo>
                <a:lnTo>
                  <a:pt x="605359" y="511066"/>
                </a:lnTo>
                <a:lnTo>
                  <a:pt x="611195" y="506315"/>
                </a:lnTo>
                <a:lnTo>
                  <a:pt x="616613" y="502091"/>
                </a:lnTo>
                <a:lnTo>
                  <a:pt x="619114" y="500507"/>
                </a:lnTo>
                <a:lnTo>
                  <a:pt x="621615" y="499451"/>
                </a:lnTo>
                <a:lnTo>
                  <a:pt x="624533" y="498395"/>
                </a:lnTo>
                <a:lnTo>
                  <a:pt x="627450" y="498395"/>
                </a:lnTo>
                <a:lnTo>
                  <a:pt x="623699" y="495227"/>
                </a:lnTo>
                <a:lnTo>
                  <a:pt x="619948" y="491003"/>
                </a:lnTo>
                <a:lnTo>
                  <a:pt x="618697" y="489419"/>
                </a:lnTo>
                <a:lnTo>
                  <a:pt x="617447" y="487835"/>
                </a:lnTo>
                <a:lnTo>
                  <a:pt x="616613" y="486251"/>
                </a:lnTo>
                <a:lnTo>
                  <a:pt x="616613" y="484667"/>
                </a:lnTo>
                <a:lnTo>
                  <a:pt x="616613" y="480443"/>
                </a:lnTo>
                <a:lnTo>
                  <a:pt x="617030" y="476747"/>
                </a:lnTo>
                <a:lnTo>
                  <a:pt x="617447" y="474107"/>
                </a:lnTo>
                <a:lnTo>
                  <a:pt x="618697" y="471467"/>
                </a:lnTo>
                <a:lnTo>
                  <a:pt x="621198" y="466715"/>
                </a:lnTo>
                <a:lnTo>
                  <a:pt x="624245" y="462856"/>
                </a:lnTo>
                <a:lnTo>
                  <a:pt x="623490" y="462553"/>
                </a:lnTo>
                <a:lnTo>
                  <a:pt x="622181" y="461502"/>
                </a:lnTo>
                <a:lnTo>
                  <a:pt x="619561" y="460976"/>
                </a:lnTo>
                <a:lnTo>
                  <a:pt x="616505" y="459399"/>
                </a:lnTo>
                <a:lnTo>
                  <a:pt x="613013" y="456771"/>
                </a:lnTo>
                <a:lnTo>
                  <a:pt x="609957" y="454143"/>
                </a:lnTo>
                <a:lnTo>
                  <a:pt x="606464" y="450464"/>
                </a:lnTo>
                <a:lnTo>
                  <a:pt x="604282" y="446785"/>
                </a:lnTo>
                <a:lnTo>
                  <a:pt x="602972" y="444683"/>
                </a:lnTo>
                <a:lnTo>
                  <a:pt x="602535" y="443106"/>
                </a:lnTo>
                <a:lnTo>
                  <a:pt x="602099" y="441004"/>
                </a:lnTo>
                <a:lnTo>
                  <a:pt x="601662" y="439427"/>
                </a:lnTo>
                <a:lnTo>
                  <a:pt x="602535" y="432068"/>
                </a:lnTo>
                <a:lnTo>
                  <a:pt x="605155" y="422608"/>
                </a:lnTo>
                <a:lnTo>
                  <a:pt x="607774" y="412096"/>
                </a:lnTo>
                <a:lnTo>
                  <a:pt x="610393" y="403161"/>
                </a:lnTo>
                <a:lnTo>
                  <a:pt x="615632" y="402635"/>
                </a:lnTo>
                <a:lnTo>
                  <a:pt x="619998" y="402110"/>
                </a:lnTo>
                <a:lnTo>
                  <a:pt x="623927" y="401058"/>
                </a:lnTo>
                <a:lnTo>
                  <a:pt x="626983" y="399482"/>
                </a:lnTo>
                <a:lnTo>
                  <a:pt x="632222" y="396328"/>
                </a:lnTo>
                <a:lnTo>
                  <a:pt x="636588" y="393700"/>
                </a:lnTo>
                <a:lnTo>
                  <a:pt x="638770" y="394751"/>
                </a:lnTo>
                <a:lnTo>
                  <a:pt x="642263" y="397379"/>
                </a:lnTo>
                <a:lnTo>
                  <a:pt x="644446" y="398956"/>
                </a:lnTo>
                <a:lnTo>
                  <a:pt x="646192" y="400533"/>
                </a:lnTo>
                <a:lnTo>
                  <a:pt x="647938" y="402110"/>
                </a:lnTo>
                <a:lnTo>
                  <a:pt x="648375" y="403161"/>
                </a:lnTo>
                <a:lnTo>
                  <a:pt x="645319" y="408417"/>
                </a:lnTo>
                <a:lnTo>
                  <a:pt x="642263" y="413147"/>
                </a:lnTo>
                <a:lnTo>
                  <a:pt x="643136" y="415775"/>
                </a:lnTo>
                <a:lnTo>
                  <a:pt x="644446" y="419454"/>
                </a:lnTo>
                <a:lnTo>
                  <a:pt x="646192" y="423133"/>
                </a:lnTo>
                <a:lnTo>
                  <a:pt x="648375" y="426813"/>
                </a:lnTo>
                <a:lnTo>
                  <a:pt x="651867" y="433120"/>
                </a:lnTo>
                <a:lnTo>
                  <a:pt x="654050" y="435222"/>
                </a:lnTo>
                <a:lnTo>
                  <a:pt x="650994" y="436273"/>
                </a:lnTo>
                <a:lnTo>
                  <a:pt x="648375" y="437850"/>
                </a:lnTo>
                <a:lnTo>
                  <a:pt x="645319" y="439427"/>
                </a:lnTo>
                <a:lnTo>
                  <a:pt x="643573" y="441529"/>
                </a:lnTo>
                <a:lnTo>
                  <a:pt x="640953" y="443632"/>
                </a:lnTo>
                <a:lnTo>
                  <a:pt x="639644" y="445734"/>
                </a:lnTo>
                <a:lnTo>
                  <a:pt x="637461" y="448362"/>
                </a:lnTo>
                <a:lnTo>
                  <a:pt x="636588" y="450990"/>
                </a:lnTo>
                <a:lnTo>
                  <a:pt x="636213" y="452116"/>
                </a:lnTo>
                <a:lnTo>
                  <a:pt x="638175" y="450879"/>
                </a:lnTo>
                <a:lnTo>
                  <a:pt x="641562" y="448743"/>
                </a:lnTo>
                <a:lnTo>
                  <a:pt x="645795" y="447675"/>
                </a:lnTo>
                <a:lnTo>
                  <a:pt x="646219" y="454083"/>
                </a:lnTo>
                <a:lnTo>
                  <a:pt x="646642" y="460491"/>
                </a:lnTo>
                <a:lnTo>
                  <a:pt x="648335" y="465830"/>
                </a:lnTo>
                <a:lnTo>
                  <a:pt x="649605" y="471170"/>
                </a:lnTo>
                <a:lnTo>
                  <a:pt x="652920" y="483716"/>
                </a:lnTo>
                <a:lnTo>
                  <a:pt x="657044" y="487307"/>
                </a:lnTo>
                <a:lnTo>
                  <a:pt x="663296" y="492587"/>
                </a:lnTo>
                <a:lnTo>
                  <a:pt x="668051" y="496602"/>
                </a:lnTo>
                <a:lnTo>
                  <a:pt x="666334" y="492434"/>
                </a:lnTo>
                <a:lnTo>
                  <a:pt x="663367" y="480729"/>
                </a:lnTo>
                <a:lnTo>
                  <a:pt x="661884" y="475326"/>
                </a:lnTo>
                <a:lnTo>
                  <a:pt x="661389" y="469924"/>
                </a:lnTo>
                <a:lnTo>
                  <a:pt x="660895" y="464522"/>
                </a:lnTo>
                <a:lnTo>
                  <a:pt x="660400" y="459120"/>
                </a:lnTo>
                <a:lnTo>
                  <a:pt x="660400" y="451016"/>
                </a:lnTo>
                <a:lnTo>
                  <a:pt x="660400" y="442913"/>
                </a:lnTo>
                <a:lnTo>
                  <a:pt x="663367" y="444714"/>
                </a:lnTo>
                <a:lnTo>
                  <a:pt x="665345" y="445614"/>
                </a:lnTo>
                <a:lnTo>
                  <a:pt x="666828" y="446515"/>
                </a:lnTo>
                <a:lnTo>
                  <a:pt x="669301" y="446515"/>
                </a:lnTo>
                <a:lnTo>
                  <a:pt x="674245" y="445614"/>
                </a:lnTo>
                <a:lnTo>
                  <a:pt x="680673" y="442913"/>
                </a:lnTo>
                <a:lnTo>
                  <a:pt x="686607" y="455518"/>
                </a:lnTo>
                <a:lnTo>
                  <a:pt x="690562" y="464522"/>
                </a:lnTo>
                <a:lnTo>
                  <a:pt x="689573" y="471725"/>
                </a:lnTo>
                <a:lnTo>
                  <a:pt x="688584" y="478928"/>
                </a:lnTo>
                <a:lnTo>
                  <a:pt x="686607" y="485231"/>
                </a:lnTo>
                <a:lnTo>
                  <a:pt x="684134" y="490633"/>
                </a:lnTo>
                <a:lnTo>
                  <a:pt x="683320" y="491868"/>
                </a:lnTo>
                <a:lnTo>
                  <a:pt x="686220" y="489419"/>
                </a:lnTo>
                <a:lnTo>
                  <a:pt x="689555" y="486779"/>
                </a:lnTo>
                <a:lnTo>
                  <a:pt x="692889" y="484139"/>
                </a:lnTo>
                <a:lnTo>
                  <a:pt x="695390" y="483083"/>
                </a:lnTo>
                <a:lnTo>
                  <a:pt x="697474" y="482555"/>
                </a:lnTo>
                <a:lnTo>
                  <a:pt x="699975" y="482027"/>
                </a:lnTo>
                <a:lnTo>
                  <a:pt x="702059" y="481499"/>
                </a:lnTo>
                <a:lnTo>
                  <a:pt x="705810" y="482027"/>
                </a:lnTo>
                <a:lnTo>
                  <a:pt x="708728" y="482027"/>
                </a:lnTo>
                <a:lnTo>
                  <a:pt x="711229" y="483083"/>
                </a:lnTo>
                <a:lnTo>
                  <a:pt x="713730" y="483611"/>
                </a:lnTo>
                <a:lnTo>
                  <a:pt x="717481" y="485723"/>
                </a:lnTo>
                <a:lnTo>
                  <a:pt x="720399" y="487835"/>
                </a:lnTo>
                <a:lnTo>
                  <a:pt x="723316" y="490475"/>
                </a:lnTo>
                <a:lnTo>
                  <a:pt x="726234" y="492587"/>
                </a:lnTo>
                <a:lnTo>
                  <a:pt x="727484" y="493643"/>
                </a:lnTo>
                <a:lnTo>
                  <a:pt x="729152" y="494171"/>
                </a:lnTo>
                <a:lnTo>
                  <a:pt x="730819" y="494699"/>
                </a:lnTo>
                <a:lnTo>
                  <a:pt x="732903" y="494699"/>
                </a:lnTo>
                <a:lnTo>
                  <a:pt x="736237" y="501035"/>
                </a:lnTo>
                <a:lnTo>
                  <a:pt x="739155" y="506842"/>
                </a:lnTo>
                <a:lnTo>
                  <a:pt x="741656" y="512122"/>
                </a:lnTo>
                <a:lnTo>
                  <a:pt x="743740" y="517930"/>
                </a:lnTo>
                <a:lnTo>
                  <a:pt x="747908" y="529546"/>
                </a:lnTo>
                <a:lnTo>
                  <a:pt x="750826" y="540106"/>
                </a:lnTo>
                <a:lnTo>
                  <a:pt x="752910" y="551194"/>
                </a:lnTo>
                <a:lnTo>
                  <a:pt x="755411" y="562282"/>
                </a:lnTo>
                <a:lnTo>
                  <a:pt x="757495" y="573898"/>
                </a:lnTo>
                <a:lnTo>
                  <a:pt x="760412" y="586042"/>
                </a:lnTo>
                <a:lnTo>
                  <a:pt x="755827" y="586569"/>
                </a:lnTo>
                <a:lnTo>
                  <a:pt x="751242" y="587097"/>
                </a:lnTo>
                <a:lnTo>
                  <a:pt x="747491" y="588681"/>
                </a:lnTo>
                <a:lnTo>
                  <a:pt x="743740" y="590265"/>
                </a:lnTo>
                <a:lnTo>
                  <a:pt x="737488" y="594489"/>
                </a:lnTo>
                <a:lnTo>
                  <a:pt x="731652" y="599241"/>
                </a:lnTo>
                <a:lnTo>
                  <a:pt x="728735" y="601353"/>
                </a:lnTo>
                <a:lnTo>
                  <a:pt x="725400" y="603465"/>
                </a:lnTo>
                <a:lnTo>
                  <a:pt x="722066" y="605049"/>
                </a:lnTo>
                <a:lnTo>
                  <a:pt x="717898" y="606105"/>
                </a:lnTo>
                <a:lnTo>
                  <a:pt x="713730" y="607161"/>
                </a:lnTo>
                <a:lnTo>
                  <a:pt x="708728" y="607161"/>
                </a:lnTo>
                <a:lnTo>
                  <a:pt x="703310" y="606633"/>
                </a:lnTo>
                <a:lnTo>
                  <a:pt x="696641" y="605049"/>
                </a:lnTo>
                <a:lnTo>
                  <a:pt x="698758" y="606838"/>
                </a:lnTo>
                <a:lnTo>
                  <a:pt x="704016" y="608013"/>
                </a:lnTo>
                <a:lnTo>
                  <a:pt x="709788" y="608542"/>
                </a:lnTo>
                <a:lnTo>
                  <a:pt x="715116" y="608542"/>
                </a:lnTo>
                <a:lnTo>
                  <a:pt x="720000" y="607484"/>
                </a:lnTo>
                <a:lnTo>
                  <a:pt x="724440" y="606425"/>
                </a:lnTo>
                <a:lnTo>
                  <a:pt x="728880" y="604838"/>
                </a:lnTo>
                <a:lnTo>
                  <a:pt x="731988" y="602721"/>
                </a:lnTo>
                <a:lnTo>
                  <a:pt x="735540" y="600604"/>
                </a:lnTo>
                <a:lnTo>
                  <a:pt x="742200" y="595842"/>
                </a:lnTo>
                <a:lnTo>
                  <a:pt x="749748" y="591608"/>
                </a:lnTo>
                <a:lnTo>
                  <a:pt x="753744" y="590021"/>
                </a:lnTo>
                <a:lnTo>
                  <a:pt x="758184" y="588433"/>
                </a:lnTo>
                <a:lnTo>
                  <a:pt x="763068" y="587904"/>
                </a:lnTo>
                <a:lnTo>
                  <a:pt x="766543" y="587490"/>
                </a:lnTo>
                <a:lnTo>
                  <a:pt x="765279" y="576357"/>
                </a:lnTo>
                <a:lnTo>
                  <a:pt x="763094" y="566392"/>
                </a:lnTo>
                <a:lnTo>
                  <a:pt x="760909" y="556951"/>
                </a:lnTo>
                <a:lnTo>
                  <a:pt x="758724" y="548035"/>
                </a:lnTo>
                <a:lnTo>
                  <a:pt x="753918" y="533349"/>
                </a:lnTo>
                <a:lnTo>
                  <a:pt x="749111" y="520761"/>
                </a:lnTo>
                <a:lnTo>
                  <a:pt x="744742" y="511845"/>
                </a:lnTo>
                <a:lnTo>
                  <a:pt x="741246" y="505551"/>
                </a:lnTo>
                <a:lnTo>
                  <a:pt x="739061" y="501880"/>
                </a:lnTo>
                <a:lnTo>
                  <a:pt x="738187" y="500831"/>
                </a:lnTo>
                <a:lnTo>
                  <a:pt x="740372" y="500307"/>
                </a:lnTo>
                <a:lnTo>
                  <a:pt x="741683" y="499258"/>
                </a:lnTo>
                <a:lnTo>
                  <a:pt x="742994" y="497684"/>
                </a:lnTo>
                <a:lnTo>
                  <a:pt x="742994" y="495062"/>
                </a:lnTo>
                <a:lnTo>
                  <a:pt x="742994" y="493488"/>
                </a:lnTo>
                <a:lnTo>
                  <a:pt x="742994" y="491915"/>
                </a:lnTo>
                <a:lnTo>
                  <a:pt x="742994" y="490866"/>
                </a:lnTo>
                <a:lnTo>
                  <a:pt x="743868" y="490341"/>
                </a:lnTo>
                <a:lnTo>
                  <a:pt x="753044" y="486146"/>
                </a:lnTo>
                <a:lnTo>
                  <a:pt x="762220" y="482474"/>
                </a:lnTo>
                <a:lnTo>
                  <a:pt x="770085" y="479852"/>
                </a:lnTo>
                <a:lnTo>
                  <a:pt x="778387" y="477229"/>
                </a:lnTo>
                <a:lnTo>
                  <a:pt x="794118" y="472509"/>
                </a:lnTo>
                <a:lnTo>
                  <a:pt x="810285" y="468313"/>
                </a:lnTo>
                <a:lnTo>
                  <a:pt x="813781" y="474082"/>
                </a:lnTo>
                <a:lnTo>
                  <a:pt x="818150" y="480376"/>
                </a:lnTo>
                <a:lnTo>
                  <a:pt x="820335" y="482999"/>
                </a:lnTo>
                <a:lnTo>
                  <a:pt x="822957" y="485097"/>
                </a:lnTo>
                <a:lnTo>
                  <a:pt x="826015" y="486670"/>
                </a:lnTo>
                <a:lnTo>
                  <a:pt x="827763" y="487194"/>
                </a:lnTo>
                <a:lnTo>
                  <a:pt x="833881" y="487194"/>
                </a:lnTo>
                <a:lnTo>
                  <a:pt x="838687" y="487194"/>
                </a:lnTo>
                <a:lnTo>
                  <a:pt x="842620" y="487194"/>
                </a:lnTo>
                <a:lnTo>
                  <a:pt x="845679" y="487194"/>
                </a:lnTo>
                <a:lnTo>
                  <a:pt x="851359" y="480901"/>
                </a:lnTo>
                <a:lnTo>
                  <a:pt x="854072" y="483907"/>
                </a:lnTo>
                <a:lnTo>
                  <a:pt x="854075" y="483899"/>
                </a:lnTo>
                <a:lnTo>
                  <a:pt x="856932" y="476423"/>
                </a:lnTo>
                <a:lnTo>
                  <a:pt x="862171" y="462540"/>
                </a:lnTo>
                <a:lnTo>
                  <a:pt x="865028" y="457200"/>
                </a:lnTo>
                <a:lnTo>
                  <a:pt x="895797" y="469558"/>
                </a:lnTo>
                <a:lnTo>
                  <a:pt x="894851" y="465537"/>
                </a:lnTo>
                <a:lnTo>
                  <a:pt x="863600" y="455766"/>
                </a:lnTo>
                <a:lnTo>
                  <a:pt x="865290" y="455224"/>
                </a:lnTo>
                <a:lnTo>
                  <a:pt x="867401" y="454681"/>
                </a:lnTo>
                <a:lnTo>
                  <a:pt x="868668" y="453052"/>
                </a:lnTo>
                <a:lnTo>
                  <a:pt x="869935" y="451424"/>
                </a:lnTo>
                <a:lnTo>
                  <a:pt x="871202" y="449795"/>
                </a:lnTo>
                <a:lnTo>
                  <a:pt x="871624" y="447624"/>
                </a:lnTo>
                <a:lnTo>
                  <a:pt x="872047" y="444910"/>
                </a:lnTo>
                <a:lnTo>
                  <a:pt x="872047" y="442739"/>
                </a:lnTo>
                <a:lnTo>
                  <a:pt x="872047" y="440567"/>
                </a:lnTo>
                <a:lnTo>
                  <a:pt x="871624" y="439482"/>
                </a:lnTo>
                <a:lnTo>
                  <a:pt x="871202" y="439482"/>
                </a:lnTo>
                <a:lnTo>
                  <a:pt x="869935" y="439482"/>
                </a:lnTo>
                <a:lnTo>
                  <a:pt x="869090" y="438939"/>
                </a:lnTo>
                <a:lnTo>
                  <a:pt x="868246" y="438939"/>
                </a:lnTo>
                <a:lnTo>
                  <a:pt x="867401" y="437853"/>
                </a:lnTo>
                <a:lnTo>
                  <a:pt x="866556" y="435139"/>
                </a:lnTo>
                <a:lnTo>
                  <a:pt x="871202" y="434053"/>
                </a:lnTo>
                <a:lnTo>
                  <a:pt x="877959" y="432968"/>
                </a:lnTo>
                <a:lnTo>
                  <a:pt x="885983" y="431882"/>
                </a:lnTo>
                <a:lnTo>
                  <a:pt x="894851" y="430796"/>
                </a:lnTo>
                <a:lnTo>
                  <a:pt x="910055" y="429168"/>
                </a:lnTo>
                <a:lnTo>
                  <a:pt x="916812" y="428625"/>
                </a:lnTo>
                <a:lnTo>
                  <a:pt x="925258" y="429168"/>
                </a:lnTo>
                <a:lnTo>
                  <a:pt x="932437" y="430254"/>
                </a:lnTo>
                <a:lnTo>
                  <a:pt x="938350" y="431882"/>
                </a:lnTo>
                <a:lnTo>
                  <a:pt x="943418" y="433510"/>
                </a:lnTo>
                <a:lnTo>
                  <a:pt x="948908" y="435682"/>
                </a:lnTo>
                <a:lnTo>
                  <a:pt x="954820" y="437853"/>
                </a:lnTo>
                <a:lnTo>
                  <a:pt x="961577" y="438939"/>
                </a:lnTo>
                <a:lnTo>
                  <a:pt x="968907" y="439387"/>
                </a:lnTo>
                <a:lnTo>
                  <a:pt x="968907" y="438372"/>
                </a:lnTo>
                <a:lnTo>
                  <a:pt x="960154" y="437855"/>
                </a:lnTo>
                <a:lnTo>
                  <a:pt x="953152" y="436821"/>
                </a:lnTo>
                <a:lnTo>
                  <a:pt x="947900" y="434754"/>
                </a:lnTo>
                <a:lnTo>
                  <a:pt x="942649" y="432686"/>
                </a:lnTo>
                <a:lnTo>
                  <a:pt x="937835" y="431136"/>
                </a:lnTo>
                <a:lnTo>
                  <a:pt x="931708" y="429585"/>
                </a:lnTo>
                <a:lnTo>
                  <a:pt x="925143" y="428551"/>
                </a:lnTo>
                <a:lnTo>
                  <a:pt x="916391" y="428034"/>
                </a:lnTo>
                <a:lnTo>
                  <a:pt x="909826" y="428551"/>
                </a:lnTo>
                <a:lnTo>
                  <a:pt x="895384" y="430102"/>
                </a:lnTo>
                <a:lnTo>
                  <a:pt x="887069" y="431136"/>
                </a:lnTo>
                <a:lnTo>
                  <a:pt x="879629" y="432169"/>
                </a:lnTo>
                <a:lnTo>
                  <a:pt x="873940" y="433203"/>
                </a:lnTo>
                <a:lnTo>
                  <a:pt x="870001" y="434237"/>
                </a:lnTo>
                <a:lnTo>
                  <a:pt x="867813" y="430619"/>
                </a:lnTo>
                <a:lnTo>
                  <a:pt x="866500" y="426484"/>
                </a:lnTo>
                <a:lnTo>
                  <a:pt x="865625" y="423383"/>
                </a:lnTo>
                <a:lnTo>
                  <a:pt x="865187" y="419765"/>
                </a:lnTo>
                <a:lnTo>
                  <a:pt x="865187" y="416663"/>
                </a:lnTo>
                <a:lnTo>
                  <a:pt x="865625" y="413562"/>
                </a:lnTo>
                <a:lnTo>
                  <a:pt x="866500" y="410461"/>
                </a:lnTo>
                <a:lnTo>
                  <a:pt x="867375" y="407877"/>
                </a:lnTo>
                <a:lnTo>
                  <a:pt x="869126" y="404776"/>
                </a:lnTo>
                <a:lnTo>
                  <a:pt x="870439" y="402191"/>
                </a:lnTo>
                <a:lnTo>
                  <a:pt x="872189" y="400124"/>
                </a:lnTo>
                <a:lnTo>
                  <a:pt x="874378" y="398056"/>
                </a:lnTo>
                <a:lnTo>
                  <a:pt x="879192" y="393922"/>
                </a:lnTo>
                <a:lnTo>
                  <a:pt x="884443" y="390304"/>
                </a:lnTo>
                <a:lnTo>
                  <a:pt x="891445" y="394438"/>
                </a:lnTo>
                <a:lnTo>
                  <a:pt x="901949" y="400641"/>
                </a:lnTo>
                <a:lnTo>
                  <a:pt x="908075" y="403742"/>
                </a:lnTo>
                <a:lnTo>
                  <a:pt x="913765" y="406326"/>
                </a:lnTo>
                <a:lnTo>
                  <a:pt x="918579" y="408911"/>
                </a:lnTo>
                <a:lnTo>
                  <a:pt x="922517" y="409427"/>
                </a:lnTo>
                <a:lnTo>
                  <a:pt x="923830" y="405809"/>
                </a:lnTo>
                <a:lnTo>
                  <a:pt x="926456" y="399090"/>
                </a:lnTo>
                <a:lnTo>
                  <a:pt x="929520" y="391854"/>
                </a:lnTo>
                <a:lnTo>
                  <a:pt x="930833" y="387202"/>
                </a:lnTo>
                <a:lnTo>
                  <a:pt x="936084" y="384618"/>
                </a:lnTo>
                <a:lnTo>
                  <a:pt x="937260" y="383924"/>
                </a:lnTo>
                <a:lnTo>
                  <a:pt x="936454" y="384114"/>
                </a:lnTo>
                <a:lnTo>
                  <a:pt x="930018" y="384618"/>
                </a:lnTo>
                <a:lnTo>
                  <a:pt x="930447" y="381591"/>
                </a:lnTo>
                <a:lnTo>
                  <a:pt x="930447" y="378564"/>
                </a:lnTo>
                <a:lnTo>
                  <a:pt x="929589" y="376545"/>
                </a:lnTo>
                <a:lnTo>
                  <a:pt x="927873" y="375032"/>
                </a:lnTo>
                <a:lnTo>
                  <a:pt x="923153" y="373013"/>
                </a:lnTo>
                <a:lnTo>
                  <a:pt x="917575" y="371500"/>
                </a:lnTo>
                <a:lnTo>
                  <a:pt x="915001" y="370491"/>
                </a:lnTo>
                <a:lnTo>
                  <a:pt x="911998" y="368977"/>
                </a:lnTo>
                <a:lnTo>
                  <a:pt x="908994" y="366959"/>
                </a:lnTo>
                <a:lnTo>
                  <a:pt x="906849" y="364436"/>
                </a:lnTo>
                <a:lnTo>
                  <a:pt x="904275" y="361409"/>
                </a:lnTo>
                <a:lnTo>
                  <a:pt x="902987" y="357877"/>
                </a:lnTo>
                <a:lnTo>
                  <a:pt x="901700" y="352831"/>
                </a:lnTo>
                <a:lnTo>
                  <a:pt x="901700" y="346777"/>
                </a:lnTo>
                <a:lnTo>
                  <a:pt x="901700" y="343245"/>
                </a:lnTo>
                <a:lnTo>
                  <a:pt x="902558" y="339713"/>
                </a:lnTo>
                <a:lnTo>
                  <a:pt x="903846" y="337190"/>
                </a:lnTo>
                <a:lnTo>
                  <a:pt x="905991" y="335172"/>
                </a:lnTo>
                <a:lnTo>
                  <a:pt x="907707" y="333154"/>
                </a:lnTo>
                <a:lnTo>
                  <a:pt x="910710" y="331640"/>
                </a:lnTo>
                <a:lnTo>
                  <a:pt x="913285" y="330631"/>
                </a:lnTo>
                <a:lnTo>
                  <a:pt x="916288" y="329622"/>
                </a:lnTo>
                <a:close/>
                <a:moveTo>
                  <a:pt x="307385" y="327025"/>
                </a:moveTo>
                <a:lnTo>
                  <a:pt x="311262" y="327546"/>
                </a:lnTo>
                <a:lnTo>
                  <a:pt x="316000" y="328067"/>
                </a:lnTo>
                <a:lnTo>
                  <a:pt x="321601" y="329630"/>
                </a:lnTo>
                <a:lnTo>
                  <a:pt x="328924" y="331193"/>
                </a:lnTo>
                <a:lnTo>
                  <a:pt x="337109" y="332756"/>
                </a:lnTo>
                <a:lnTo>
                  <a:pt x="345724" y="333798"/>
                </a:lnTo>
                <a:lnTo>
                  <a:pt x="356494" y="333798"/>
                </a:lnTo>
                <a:lnTo>
                  <a:pt x="356494" y="335882"/>
                </a:lnTo>
                <a:lnTo>
                  <a:pt x="355632" y="337445"/>
                </a:lnTo>
                <a:lnTo>
                  <a:pt x="354770" y="339008"/>
                </a:lnTo>
                <a:lnTo>
                  <a:pt x="353909" y="340571"/>
                </a:lnTo>
                <a:lnTo>
                  <a:pt x="350893" y="343697"/>
                </a:lnTo>
                <a:lnTo>
                  <a:pt x="347447" y="346302"/>
                </a:lnTo>
                <a:lnTo>
                  <a:pt x="339262" y="351512"/>
                </a:lnTo>
                <a:lnTo>
                  <a:pt x="333232" y="356722"/>
                </a:lnTo>
                <a:lnTo>
                  <a:pt x="332801" y="357764"/>
                </a:lnTo>
                <a:lnTo>
                  <a:pt x="332370" y="358806"/>
                </a:lnTo>
                <a:lnTo>
                  <a:pt x="332370" y="359327"/>
                </a:lnTo>
                <a:lnTo>
                  <a:pt x="332801" y="360369"/>
                </a:lnTo>
                <a:lnTo>
                  <a:pt x="334093" y="361411"/>
                </a:lnTo>
                <a:lnTo>
                  <a:pt x="335385" y="361932"/>
                </a:lnTo>
                <a:lnTo>
                  <a:pt x="337970" y="362974"/>
                </a:lnTo>
                <a:lnTo>
                  <a:pt x="340986" y="363495"/>
                </a:lnTo>
                <a:lnTo>
                  <a:pt x="349170" y="365058"/>
                </a:lnTo>
                <a:lnTo>
                  <a:pt x="361232" y="366621"/>
                </a:lnTo>
                <a:lnTo>
                  <a:pt x="376740" y="368184"/>
                </a:lnTo>
                <a:lnTo>
                  <a:pt x="396556" y="369226"/>
                </a:lnTo>
                <a:lnTo>
                  <a:pt x="396556" y="374436"/>
                </a:lnTo>
                <a:lnTo>
                  <a:pt x="396556" y="381729"/>
                </a:lnTo>
                <a:lnTo>
                  <a:pt x="395264" y="383813"/>
                </a:lnTo>
                <a:lnTo>
                  <a:pt x="391817" y="385376"/>
                </a:lnTo>
                <a:lnTo>
                  <a:pt x="387079" y="387460"/>
                </a:lnTo>
                <a:lnTo>
                  <a:pt x="381910" y="389544"/>
                </a:lnTo>
                <a:lnTo>
                  <a:pt x="371140" y="393191"/>
                </a:lnTo>
                <a:lnTo>
                  <a:pt x="364678" y="394754"/>
                </a:lnTo>
                <a:lnTo>
                  <a:pt x="365971" y="396317"/>
                </a:lnTo>
                <a:lnTo>
                  <a:pt x="366832" y="397880"/>
                </a:lnTo>
                <a:lnTo>
                  <a:pt x="368125" y="398922"/>
                </a:lnTo>
                <a:lnTo>
                  <a:pt x="369417" y="399964"/>
                </a:lnTo>
                <a:lnTo>
                  <a:pt x="373725" y="401006"/>
                </a:lnTo>
                <a:lnTo>
                  <a:pt x="378033" y="401527"/>
                </a:lnTo>
                <a:lnTo>
                  <a:pt x="387079" y="401527"/>
                </a:lnTo>
                <a:lnTo>
                  <a:pt x="393541" y="401006"/>
                </a:lnTo>
                <a:lnTo>
                  <a:pt x="393541" y="403611"/>
                </a:lnTo>
                <a:lnTo>
                  <a:pt x="394402" y="406216"/>
                </a:lnTo>
                <a:lnTo>
                  <a:pt x="395694" y="408300"/>
                </a:lnTo>
                <a:lnTo>
                  <a:pt x="396987" y="410905"/>
                </a:lnTo>
                <a:lnTo>
                  <a:pt x="400864" y="416636"/>
                </a:lnTo>
                <a:lnTo>
                  <a:pt x="405172" y="421846"/>
                </a:lnTo>
                <a:lnTo>
                  <a:pt x="409479" y="426535"/>
                </a:lnTo>
                <a:lnTo>
                  <a:pt x="412495" y="431224"/>
                </a:lnTo>
                <a:lnTo>
                  <a:pt x="414218" y="433829"/>
                </a:lnTo>
                <a:lnTo>
                  <a:pt x="415510" y="435913"/>
                </a:lnTo>
                <a:lnTo>
                  <a:pt x="415941" y="437476"/>
                </a:lnTo>
                <a:lnTo>
                  <a:pt x="416372" y="439560"/>
                </a:lnTo>
                <a:lnTo>
                  <a:pt x="416372" y="443207"/>
                </a:lnTo>
                <a:lnTo>
                  <a:pt x="416803" y="447896"/>
                </a:lnTo>
                <a:lnTo>
                  <a:pt x="416803" y="450501"/>
                </a:lnTo>
                <a:lnTo>
                  <a:pt x="417664" y="452585"/>
                </a:lnTo>
                <a:lnTo>
                  <a:pt x="418095" y="454148"/>
                </a:lnTo>
                <a:lnTo>
                  <a:pt x="419387" y="455711"/>
                </a:lnTo>
                <a:lnTo>
                  <a:pt x="421972" y="459358"/>
                </a:lnTo>
                <a:lnTo>
                  <a:pt x="424126" y="463005"/>
                </a:lnTo>
                <a:lnTo>
                  <a:pt x="425418" y="466131"/>
                </a:lnTo>
                <a:lnTo>
                  <a:pt x="426711" y="469256"/>
                </a:lnTo>
                <a:lnTo>
                  <a:pt x="428003" y="472382"/>
                </a:lnTo>
                <a:lnTo>
                  <a:pt x="430157" y="474987"/>
                </a:lnTo>
                <a:lnTo>
                  <a:pt x="432741" y="477071"/>
                </a:lnTo>
                <a:lnTo>
                  <a:pt x="436188" y="478634"/>
                </a:lnTo>
                <a:lnTo>
                  <a:pt x="436618" y="481760"/>
                </a:lnTo>
                <a:lnTo>
                  <a:pt x="438342" y="485407"/>
                </a:lnTo>
                <a:lnTo>
                  <a:pt x="440495" y="488533"/>
                </a:lnTo>
                <a:lnTo>
                  <a:pt x="442649" y="491659"/>
                </a:lnTo>
                <a:lnTo>
                  <a:pt x="445665" y="493743"/>
                </a:lnTo>
                <a:lnTo>
                  <a:pt x="448680" y="495827"/>
                </a:lnTo>
                <a:lnTo>
                  <a:pt x="451265" y="496869"/>
                </a:lnTo>
                <a:lnTo>
                  <a:pt x="453850" y="497390"/>
                </a:lnTo>
                <a:lnTo>
                  <a:pt x="453850" y="502600"/>
                </a:lnTo>
                <a:lnTo>
                  <a:pt x="453850" y="507289"/>
                </a:lnTo>
                <a:lnTo>
                  <a:pt x="457727" y="505726"/>
                </a:lnTo>
                <a:lnTo>
                  <a:pt x="461173" y="504684"/>
                </a:lnTo>
                <a:lnTo>
                  <a:pt x="464188" y="504684"/>
                </a:lnTo>
                <a:lnTo>
                  <a:pt x="466773" y="505205"/>
                </a:lnTo>
                <a:lnTo>
                  <a:pt x="472373" y="507810"/>
                </a:lnTo>
                <a:lnTo>
                  <a:pt x="476250" y="510415"/>
                </a:lnTo>
                <a:lnTo>
                  <a:pt x="475389" y="517188"/>
                </a:lnTo>
                <a:lnTo>
                  <a:pt x="474527" y="522919"/>
                </a:lnTo>
                <a:lnTo>
                  <a:pt x="474096" y="526045"/>
                </a:lnTo>
                <a:lnTo>
                  <a:pt x="474096" y="529692"/>
                </a:lnTo>
                <a:lnTo>
                  <a:pt x="474958" y="532818"/>
                </a:lnTo>
                <a:lnTo>
                  <a:pt x="476250" y="535944"/>
                </a:lnTo>
                <a:lnTo>
                  <a:pt x="474096" y="536465"/>
                </a:lnTo>
                <a:lnTo>
                  <a:pt x="471512" y="536986"/>
                </a:lnTo>
                <a:lnTo>
                  <a:pt x="469358" y="537507"/>
                </a:lnTo>
                <a:lnTo>
                  <a:pt x="466773" y="538549"/>
                </a:lnTo>
                <a:lnTo>
                  <a:pt x="465050" y="540112"/>
                </a:lnTo>
                <a:lnTo>
                  <a:pt x="463758" y="541675"/>
                </a:lnTo>
                <a:lnTo>
                  <a:pt x="462896" y="543238"/>
                </a:lnTo>
                <a:lnTo>
                  <a:pt x="462034" y="545843"/>
                </a:lnTo>
                <a:lnTo>
                  <a:pt x="462034" y="546885"/>
                </a:lnTo>
                <a:lnTo>
                  <a:pt x="462896" y="547927"/>
                </a:lnTo>
                <a:lnTo>
                  <a:pt x="463327" y="548969"/>
                </a:lnTo>
                <a:lnTo>
                  <a:pt x="464188" y="550532"/>
                </a:lnTo>
                <a:lnTo>
                  <a:pt x="466773" y="552616"/>
                </a:lnTo>
                <a:lnTo>
                  <a:pt x="470650" y="555221"/>
                </a:lnTo>
                <a:lnTo>
                  <a:pt x="466773" y="557826"/>
                </a:lnTo>
                <a:lnTo>
                  <a:pt x="464619" y="559909"/>
                </a:lnTo>
                <a:lnTo>
                  <a:pt x="462896" y="561993"/>
                </a:lnTo>
                <a:lnTo>
                  <a:pt x="461173" y="564077"/>
                </a:lnTo>
                <a:lnTo>
                  <a:pt x="459450" y="568245"/>
                </a:lnTo>
                <a:lnTo>
                  <a:pt x="456434" y="574497"/>
                </a:lnTo>
                <a:lnTo>
                  <a:pt x="367694" y="574497"/>
                </a:lnTo>
                <a:lnTo>
                  <a:pt x="367694" y="580749"/>
                </a:lnTo>
                <a:lnTo>
                  <a:pt x="367694" y="587522"/>
                </a:lnTo>
                <a:lnTo>
                  <a:pt x="354770" y="588043"/>
                </a:lnTo>
                <a:lnTo>
                  <a:pt x="343570" y="589085"/>
                </a:lnTo>
                <a:lnTo>
                  <a:pt x="338401" y="590127"/>
                </a:lnTo>
                <a:lnTo>
                  <a:pt x="334093" y="591690"/>
                </a:lnTo>
                <a:lnTo>
                  <a:pt x="332370" y="592732"/>
                </a:lnTo>
                <a:lnTo>
                  <a:pt x="330216" y="593774"/>
                </a:lnTo>
                <a:lnTo>
                  <a:pt x="328924" y="595337"/>
                </a:lnTo>
                <a:lnTo>
                  <a:pt x="327631" y="596900"/>
                </a:lnTo>
                <a:lnTo>
                  <a:pt x="328062" y="593253"/>
                </a:lnTo>
                <a:lnTo>
                  <a:pt x="328493" y="590127"/>
                </a:lnTo>
                <a:lnTo>
                  <a:pt x="328924" y="587001"/>
                </a:lnTo>
                <a:lnTo>
                  <a:pt x="329785" y="583875"/>
                </a:lnTo>
                <a:lnTo>
                  <a:pt x="331078" y="581270"/>
                </a:lnTo>
                <a:lnTo>
                  <a:pt x="332370" y="579186"/>
                </a:lnTo>
                <a:lnTo>
                  <a:pt x="334093" y="577102"/>
                </a:lnTo>
                <a:lnTo>
                  <a:pt x="335385" y="575018"/>
                </a:lnTo>
                <a:lnTo>
                  <a:pt x="339693" y="571892"/>
                </a:lnTo>
                <a:lnTo>
                  <a:pt x="344001" y="569287"/>
                </a:lnTo>
                <a:lnTo>
                  <a:pt x="348740" y="567724"/>
                </a:lnTo>
                <a:lnTo>
                  <a:pt x="353909" y="565640"/>
                </a:lnTo>
                <a:lnTo>
                  <a:pt x="363386" y="563035"/>
                </a:lnTo>
                <a:lnTo>
                  <a:pt x="372432" y="560430"/>
                </a:lnTo>
                <a:lnTo>
                  <a:pt x="375879" y="558346"/>
                </a:lnTo>
                <a:lnTo>
                  <a:pt x="378894" y="555742"/>
                </a:lnTo>
                <a:lnTo>
                  <a:pt x="379756" y="554179"/>
                </a:lnTo>
                <a:lnTo>
                  <a:pt x="381048" y="552616"/>
                </a:lnTo>
                <a:lnTo>
                  <a:pt x="381910" y="550532"/>
                </a:lnTo>
                <a:lnTo>
                  <a:pt x="381910" y="550011"/>
                </a:lnTo>
                <a:lnTo>
                  <a:pt x="381048" y="551053"/>
                </a:lnTo>
                <a:lnTo>
                  <a:pt x="379756" y="552095"/>
                </a:lnTo>
                <a:lnTo>
                  <a:pt x="378463" y="553137"/>
                </a:lnTo>
                <a:lnTo>
                  <a:pt x="374586" y="554700"/>
                </a:lnTo>
                <a:lnTo>
                  <a:pt x="370279" y="555221"/>
                </a:lnTo>
                <a:lnTo>
                  <a:pt x="363817" y="554700"/>
                </a:lnTo>
                <a:lnTo>
                  <a:pt x="352617" y="552095"/>
                </a:lnTo>
                <a:lnTo>
                  <a:pt x="346155" y="550532"/>
                </a:lnTo>
                <a:lnTo>
                  <a:pt x="340986" y="548448"/>
                </a:lnTo>
                <a:lnTo>
                  <a:pt x="339262" y="547406"/>
                </a:lnTo>
                <a:lnTo>
                  <a:pt x="337539" y="545843"/>
                </a:lnTo>
                <a:lnTo>
                  <a:pt x="336247" y="544280"/>
                </a:lnTo>
                <a:lnTo>
                  <a:pt x="336247" y="542717"/>
                </a:lnTo>
                <a:lnTo>
                  <a:pt x="336247" y="539070"/>
                </a:lnTo>
                <a:lnTo>
                  <a:pt x="337970" y="536465"/>
                </a:lnTo>
                <a:lnTo>
                  <a:pt x="339262" y="534381"/>
                </a:lnTo>
                <a:lnTo>
                  <a:pt x="340986" y="532818"/>
                </a:lnTo>
                <a:lnTo>
                  <a:pt x="343570" y="531255"/>
                </a:lnTo>
                <a:lnTo>
                  <a:pt x="345724" y="530734"/>
                </a:lnTo>
                <a:lnTo>
                  <a:pt x="348309" y="530213"/>
                </a:lnTo>
                <a:lnTo>
                  <a:pt x="350463" y="529692"/>
                </a:lnTo>
                <a:lnTo>
                  <a:pt x="350463" y="510415"/>
                </a:lnTo>
                <a:lnTo>
                  <a:pt x="342278" y="510415"/>
                </a:lnTo>
                <a:lnTo>
                  <a:pt x="343570" y="506768"/>
                </a:lnTo>
                <a:lnTo>
                  <a:pt x="345293" y="503642"/>
                </a:lnTo>
                <a:lnTo>
                  <a:pt x="347878" y="501037"/>
                </a:lnTo>
                <a:lnTo>
                  <a:pt x="350032" y="498432"/>
                </a:lnTo>
                <a:lnTo>
                  <a:pt x="355201" y="495306"/>
                </a:lnTo>
                <a:lnTo>
                  <a:pt x="360371" y="493222"/>
                </a:lnTo>
                <a:lnTo>
                  <a:pt x="365971" y="491138"/>
                </a:lnTo>
                <a:lnTo>
                  <a:pt x="371140" y="488012"/>
                </a:lnTo>
                <a:lnTo>
                  <a:pt x="373294" y="486449"/>
                </a:lnTo>
                <a:lnTo>
                  <a:pt x="375017" y="484365"/>
                </a:lnTo>
                <a:lnTo>
                  <a:pt x="377602" y="481760"/>
                </a:lnTo>
                <a:lnTo>
                  <a:pt x="378894" y="478634"/>
                </a:lnTo>
                <a:lnTo>
                  <a:pt x="376309" y="476029"/>
                </a:lnTo>
                <a:lnTo>
                  <a:pt x="373294" y="473424"/>
                </a:lnTo>
                <a:lnTo>
                  <a:pt x="371140" y="471340"/>
                </a:lnTo>
                <a:lnTo>
                  <a:pt x="368555" y="468215"/>
                </a:lnTo>
                <a:lnTo>
                  <a:pt x="367263" y="465089"/>
                </a:lnTo>
                <a:lnTo>
                  <a:pt x="365971" y="462484"/>
                </a:lnTo>
                <a:lnTo>
                  <a:pt x="365109" y="459358"/>
                </a:lnTo>
                <a:lnTo>
                  <a:pt x="364678" y="455711"/>
                </a:lnTo>
                <a:lnTo>
                  <a:pt x="358647" y="455711"/>
                </a:lnTo>
                <a:lnTo>
                  <a:pt x="353478" y="454669"/>
                </a:lnTo>
                <a:lnTo>
                  <a:pt x="349170" y="453106"/>
                </a:lnTo>
                <a:lnTo>
                  <a:pt x="345293" y="451543"/>
                </a:lnTo>
                <a:lnTo>
                  <a:pt x="342709" y="449459"/>
                </a:lnTo>
                <a:lnTo>
                  <a:pt x="340555" y="446333"/>
                </a:lnTo>
                <a:lnTo>
                  <a:pt x="339262" y="443728"/>
                </a:lnTo>
                <a:lnTo>
                  <a:pt x="339262" y="439560"/>
                </a:lnTo>
                <a:lnTo>
                  <a:pt x="339262" y="435913"/>
                </a:lnTo>
                <a:lnTo>
                  <a:pt x="340124" y="432787"/>
                </a:lnTo>
                <a:lnTo>
                  <a:pt x="341847" y="430182"/>
                </a:lnTo>
                <a:lnTo>
                  <a:pt x="343570" y="427056"/>
                </a:lnTo>
                <a:lnTo>
                  <a:pt x="344863" y="423930"/>
                </a:lnTo>
                <a:lnTo>
                  <a:pt x="346155" y="420804"/>
                </a:lnTo>
                <a:lnTo>
                  <a:pt x="347447" y="417678"/>
                </a:lnTo>
                <a:lnTo>
                  <a:pt x="347878" y="414552"/>
                </a:lnTo>
                <a:lnTo>
                  <a:pt x="344432" y="416115"/>
                </a:lnTo>
                <a:lnTo>
                  <a:pt x="341847" y="418199"/>
                </a:lnTo>
                <a:lnTo>
                  <a:pt x="339262" y="420804"/>
                </a:lnTo>
                <a:lnTo>
                  <a:pt x="336247" y="423930"/>
                </a:lnTo>
                <a:lnTo>
                  <a:pt x="332370" y="430703"/>
                </a:lnTo>
                <a:lnTo>
                  <a:pt x="327631" y="436434"/>
                </a:lnTo>
                <a:lnTo>
                  <a:pt x="318154" y="420283"/>
                </a:lnTo>
                <a:lnTo>
                  <a:pt x="314277" y="411426"/>
                </a:lnTo>
                <a:lnTo>
                  <a:pt x="313416" y="408821"/>
                </a:lnTo>
                <a:lnTo>
                  <a:pt x="313416" y="406737"/>
                </a:lnTo>
                <a:lnTo>
                  <a:pt x="313416" y="404132"/>
                </a:lnTo>
                <a:lnTo>
                  <a:pt x="313416" y="401006"/>
                </a:lnTo>
                <a:lnTo>
                  <a:pt x="312123" y="400485"/>
                </a:lnTo>
                <a:lnTo>
                  <a:pt x="311693" y="398922"/>
                </a:lnTo>
                <a:lnTo>
                  <a:pt x="311262" y="397359"/>
                </a:lnTo>
                <a:lnTo>
                  <a:pt x="310831" y="395275"/>
                </a:lnTo>
                <a:lnTo>
                  <a:pt x="310831" y="390065"/>
                </a:lnTo>
                <a:lnTo>
                  <a:pt x="311262" y="384334"/>
                </a:lnTo>
                <a:lnTo>
                  <a:pt x="312123" y="370789"/>
                </a:lnTo>
                <a:lnTo>
                  <a:pt x="313416" y="359848"/>
                </a:lnTo>
                <a:lnTo>
                  <a:pt x="313846" y="357764"/>
                </a:lnTo>
                <a:lnTo>
                  <a:pt x="313846" y="355680"/>
                </a:lnTo>
                <a:lnTo>
                  <a:pt x="313416" y="353596"/>
                </a:lnTo>
                <a:lnTo>
                  <a:pt x="312985" y="352554"/>
                </a:lnTo>
                <a:lnTo>
                  <a:pt x="311262" y="350470"/>
                </a:lnTo>
                <a:lnTo>
                  <a:pt x="309539" y="349428"/>
                </a:lnTo>
                <a:lnTo>
                  <a:pt x="307385" y="348386"/>
                </a:lnTo>
                <a:lnTo>
                  <a:pt x="306523" y="347865"/>
                </a:lnTo>
                <a:lnTo>
                  <a:pt x="306092" y="347344"/>
                </a:lnTo>
                <a:lnTo>
                  <a:pt x="307385" y="346302"/>
                </a:lnTo>
                <a:lnTo>
                  <a:pt x="310400" y="341613"/>
                </a:lnTo>
                <a:lnTo>
                  <a:pt x="313416" y="336924"/>
                </a:lnTo>
                <a:lnTo>
                  <a:pt x="313416" y="333798"/>
                </a:lnTo>
                <a:lnTo>
                  <a:pt x="309539" y="332756"/>
                </a:lnTo>
                <a:lnTo>
                  <a:pt x="306954" y="332235"/>
                </a:lnTo>
                <a:lnTo>
                  <a:pt x="306092" y="331714"/>
                </a:lnTo>
                <a:lnTo>
                  <a:pt x="305231" y="330672"/>
                </a:lnTo>
                <a:lnTo>
                  <a:pt x="304800" y="329630"/>
                </a:lnTo>
                <a:lnTo>
                  <a:pt x="304800" y="327546"/>
                </a:lnTo>
                <a:close/>
                <a:moveTo>
                  <a:pt x="299171" y="250825"/>
                </a:moveTo>
                <a:lnTo>
                  <a:pt x="300614" y="260043"/>
                </a:lnTo>
                <a:lnTo>
                  <a:pt x="301769" y="272948"/>
                </a:lnTo>
                <a:lnTo>
                  <a:pt x="302923" y="291383"/>
                </a:lnTo>
                <a:lnTo>
                  <a:pt x="303212" y="307975"/>
                </a:lnTo>
                <a:lnTo>
                  <a:pt x="301480" y="306132"/>
                </a:lnTo>
                <a:lnTo>
                  <a:pt x="300037" y="302444"/>
                </a:lnTo>
                <a:lnTo>
                  <a:pt x="298305" y="296914"/>
                </a:lnTo>
                <a:lnTo>
                  <a:pt x="296862" y="291383"/>
                </a:lnTo>
                <a:lnTo>
                  <a:pt x="294553" y="278478"/>
                </a:lnTo>
                <a:lnTo>
                  <a:pt x="293687" y="272948"/>
                </a:lnTo>
                <a:close/>
                <a:moveTo>
                  <a:pt x="701061" y="203656"/>
                </a:moveTo>
                <a:lnTo>
                  <a:pt x="698462" y="204181"/>
                </a:lnTo>
                <a:lnTo>
                  <a:pt x="692397" y="204705"/>
                </a:lnTo>
                <a:lnTo>
                  <a:pt x="686331" y="205230"/>
                </a:lnTo>
                <a:lnTo>
                  <a:pt x="686024" y="206366"/>
                </a:lnTo>
                <a:lnTo>
                  <a:pt x="689968" y="206034"/>
                </a:lnTo>
                <a:lnTo>
                  <a:pt x="696162" y="205511"/>
                </a:lnTo>
                <a:lnTo>
                  <a:pt x="698817" y="204989"/>
                </a:lnTo>
                <a:lnTo>
                  <a:pt x="701029" y="204989"/>
                </a:lnTo>
                <a:lnTo>
                  <a:pt x="702799" y="205511"/>
                </a:lnTo>
                <a:lnTo>
                  <a:pt x="704127" y="206556"/>
                </a:lnTo>
                <a:lnTo>
                  <a:pt x="704264" y="203970"/>
                </a:lnTo>
                <a:lnTo>
                  <a:pt x="703227" y="203656"/>
                </a:lnTo>
                <a:close/>
                <a:moveTo>
                  <a:pt x="47389" y="180976"/>
                </a:moveTo>
                <a:lnTo>
                  <a:pt x="68525" y="182952"/>
                </a:lnTo>
                <a:lnTo>
                  <a:pt x="87260" y="186905"/>
                </a:lnTo>
                <a:lnTo>
                  <a:pt x="96867" y="188881"/>
                </a:lnTo>
                <a:lnTo>
                  <a:pt x="105513" y="187893"/>
                </a:lnTo>
                <a:lnTo>
                  <a:pt x="109837" y="186905"/>
                </a:lnTo>
                <a:lnTo>
                  <a:pt x="113199" y="185917"/>
                </a:lnTo>
                <a:lnTo>
                  <a:pt x="117042" y="183940"/>
                </a:lnTo>
                <a:lnTo>
                  <a:pt x="120885" y="180976"/>
                </a:lnTo>
                <a:lnTo>
                  <a:pt x="120885" y="189869"/>
                </a:lnTo>
                <a:lnTo>
                  <a:pt x="120885" y="205679"/>
                </a:lnTo>
                <a:lnTo>
                  <a:pt x="116081" y="211608"/>
                </a:lnTo>
                <a:lnTo>
                  <a:pt x="111278" y="216548"/>
                </a:lnTo>
                <a:lnTo>
                  <a:pt x="106955" y="220501"/>
                </a:lnTo>
                <a:lnTo>
                  <a:pt x="102151" y="224453"/>
                </a:lnTo>
                <a:lnTo>
                  <a:pt x="98308" y="226430"/>
                </a:lnTo>
                <a:lnTo>
                  <a:pt x="94945" y="228406"/>
                </a:lnTo>
                <a:lnTo>
                  <a:pt x="91583" y="229394"/>
                </a:lnTo>
                <a:lnTo>
                  <a:pt x="89181" y="229394"/>
                </a:lnTo>
                <a:lnTo>
                  <a:pt x="81975" y="228406"/>
                </a:lnTo>
                <a:lnTo>
                  <a:pt x="76211" y="226430"/>
                </a:lnTo>
                <a:lnTo>
                  <a:pt x="71407" y="223465"/>
                </a:lnTo>
                <a:lnTo>
                  <a:pt x="67084" y="218525"/>
                </a:lnTo>
                <a:lnTo>
                  <a:pt x="57957" y="209632"/>
                </a:lnTo>
                <a:lnTo>
                  <a:pt x="47389" y="199750"/>
                </a:lnTo>
                <a:close/>
                <a:moveTo>
                  <a:pt x="946659" y="0"/>
                </a:moveTo>
                <a:lnTo>
                  <a:pt x="960955" y="0"/>
                </a:lnTo>
                <a:lnTo>
                  <a:pt x="961388" y="2661"/>
                </a:lnTo>
                <a:lnTo>
                  <a:pt x="962688" y="4790"/>
                </a:lnTo>
                <a:lnTo>
                  <a:pt x="964854" y="5854"/>
                </a:lnTo>
                <a:lnTo>
                  <a:pt x="966587" y="6387"/>
                </a:lnTo>
                <a:lnTo>
                  <a:pt x="968753" y="5854"/>
                </a:lnTo>
                <a:lnTo>
                  <a:pt x="971785" y="4790"/>
                </a:lnTo>
                <a:lnTo>
                  <a:pt x="973085" y="3726"/>
                </a:lnTo>
                <a:lnTo>
                  <a:pt x="974385" y="2661"/>
                </a:lnTo>
                <a:lnTo>
                  <a:pt x="975251" y="1597"/>
                </a:lnTo>
                <a:lnTo>
                  <a:pt x="975251" y="0"/>
                </a:lnTo>
                <a:lnTo>
                  <a:pt x="977417" y="1597"/>
                </a:lnTo>
                <a:lnTo>
                  <a:pt x="979583" y="3193"/>
                </a:lnTo>
                <a:lnTo>
                  <a:pt x="981316" y="3726"/>
                </a:lnTo>
                <a:lnTo>
                  <a:pt x="983049" y="4258"/>
                </a:lnTo>
                <a:lnTo>
                  <a:pt x="986948" y="4258"/>
                </a:lnTo>
                <a:lnTo>
                  <a:pt x="990847" y="3726"/>
                </a:lnTo>
                <a:lnTo>
                  <a:pt x="997345" y="1597"/>
                </a:lnTo>
                <a:lnTo>
                  <a:pt x="1004277" y="0"/>
                </a:lnTo>
                <a:lnTo>
                  <a:pt x="1011208" y="532"/>
                </a:lnTo>
                <a:lnTo>
                  <a:pt x="1018573" y="1064"/>
                </a:lnTo>
                <a:lnTo>
                  <a:pt x="1024638" y="2129"/>
                </a:lnTo>
                <a:lnTo>
                  <a:pt x="1031136" y="3193"/>
                </a:lnTo>
                <a:lnTo>
                  <a:pt x="1038068" y="4790"/>
                </a:lnTo>
                <a:lnTo>
                  <a:pt x="1044566" y="5854"/>
                </a:lnTo>
                <a:lnTo>
                  <a:pt x="1051064" y="6387"/>
                </a:lnTo>
                <a:lnTo>
                  <a:pt x="1058862" y="6387"/>
                </a:lnTo>
                <a:lnTo>
                  <a:pt x="1058862" y="23418"/>
                </a:lnTo>
                <a:lnTo>
                  <a:pt x="1058429" y="26079"/>
                </a:lnTo>
                <a:lnTo>
                  <a:pt x="1057129" y="29272"/>
                </a:lnTo>
                <a:lnTo>
                  <a:pt x="1055830" y="30869"/>
                </a:lnTo>
                <a:lnTo>
                  <a:pt x="1054963" y="31933"/>
                </a:lnTo>
                <a:lnTo>
                  <a:pt x="1054097" y="32466"/>
                </a:lnTo>
                <a:lnTo>
                  <a:pt x="1053230" y="32998"/>
                </a:lnTo>
                <a:lnTo>
                  <a:pt x="1044566" y="32998"/>
                </a:lnTo>
                <a:lnTo>
                  <a:pt x="1038068" y="31933"/>
                </a:lnTo>
                <a:lnTo>
                  <a:pt x="1034602" y="30337"/>
                </a:lnTo>
                <a:lnTo>
                  <a:pt x="1031570" y="28740"/>
                </a:lnTo>
                <a:lnTo>
                  <a:pt x="1029403" y="26611"/>
                </a:lnTo>
                <a:lnTo>
                  <a:pt x="1026804" y="23418"/>
                </a:lnTo>
                <a:lnTo>
                  <a:pt x="1001244" y="23418"/>
                </a:lnTo>
                <a:lnTo>
                  <a:pt x="1004710" y="30869"/>
                </a:lnTo>
                <a:lnTo>
                  <a:pt x="1007743" y="37256"/>
                </a:lnTo>
                <a:lnTo>
                  <a:pt x="1012075" y="43110"/>
                </a:lnTo>
                <a:lnTo>
                  <a:pt x="1016407" y="47368"/>
                </a:lnTo>
                <a:lnTo>
                  <a:pt x="1021172" y="51094"/>
                </a:lnTo>
                <a:lnTo>
                  <a:pt x="1026371" y="54287"/>
                </a:lnTo>
                <a:lnTo>
                  <a:pt x="1032003" y="56948"/>
                </a:lnTo>
                <a:lnTo>
                  <a:pt x="1038501" y="59077"/>
                </a:lnTo>
                <a:lnTo>
                  <a:pt x="1035902" y="63335"/>
                </a:lnTo>
                <a:lnTo>
                  <a:pt x="1033736" y="67060"/>
                </a:lnTo>
                <a:lnTo>
                  <a:pt x="1030703" y="70254"/>
                </a:lnTo>
                <a:lnTo>
                  <a:pt x="1028104" y="72383"/>
                </a:lnTo>
                <a:lnTo>
                  <a:pt x="1024205" y="73979"/>
                </a:lnTo>
                <a:lnTo>
                  <a:pt x="1020739" y="75044"/>
                </a:lnTo>
                <a:lnTo>
                  <a:pt x="1016840" y="75576"/>
                </a:lnTo>
                <a:lnTo>
                  <a:pt x="1012508" y="75576"/>
                </a:lnTo>
                <a:lnTo>
                  <a:pt x="1009475" y="75576"/>
                </a:lnTo>
                <a:lnTo>
                  <a:pt x="1006876" y="75044"/>
                </a:lnTo>
                <a:lnTo>
                  <a:pt x="1004710" y="73979"/>
                </a:lnTo>
                <a:lnTo>
                  <a:pt x="1002544" y="72383"/>
                </a:lnTo>
                <a:lnTo>
                  <a:pt x="1000811" y="71318"/>
                </a:lnTo>
                <a:lnTo>
                  <a:pt x="999511" y="70254"/>
                </a:lnTo>
                <a:lnTo>
                  <a:pt x="997345" y="69721"/>
                </a:lnTo>
                <a:lnTo>
                  <a:pt x="995179" y="69189"/>
                </a:lnTo>
                <a:lnTo>
                  <a:pt x="993013" y="68125"/>
                </a:lnTo>
                <a:lnTo>
                  <a:pt x="991280" y="66528"/>
                </a:lnTo>
                <a:lnTo>
                  <a:pt x="989114" y="64399"/>
                </a:lnTo>
                <a:lnTo>
                  <a:pt x="987381" y="61738"/>
                </a:lnTo>
                <a:lnTo>
                  <a:pt x="986082" y="58545"/>
                </a:lnTo>
                <a:lnTo>
                  <a:pt x="984782" y="55351"/>
                </a:lnTo>
                <a:lnTo>
                  <a:pt x="984349" y="52158"/>
                </a:lnTo>
                <a:lnTo>
                  <a:pt x="983482" y="49497"/>
                </a:lnTo>
                <a:lnTo>
                  <a:pt x="980450" y="48965"/>
                </a:lnTo>
                <a:lnTo>
                  <a:pt x="977417" y="47900"/>
                </a:lnTo>
                <a:lnTo>
                  <a:pt x="976820" y="47586"/>
                </a:lnTo>
                <a:lnTo>
                  <a:pt x="976164" y="48909"/>
                </a:lnTo>
                <a:lnTo>
                  <a:pt x="974864" y="51008"/>
                </a:lnTo>
                <a:lnTo>
                  <a:pt x="973998" y="53630"/>
                </a:lnTo>
                <a:lnTo>
                  <a:pt x="973998" y="56253"/>
                </a:lnTo>
                <a:lnTo>
                  <a:pt x="968799" y="55729"/>
                </a:lnTo>
                <a:lnTo>
                  <a:pt x="963600" y="54155"/>
                </a:lnTo>
                <a:lnTo>
                  <a:pt x="958834" y="52057"/>
                </a:lnTo>
                <a:lnTo>
                  <a:pt x="956793" y="50933"/>
                </a:lnTo>
                <a:lnTo>
                  <a:pt x="959587" y="53308"/>
                </a:lnTo>
                <a:lnTo>
                  <a:pt x="963965" y="55393"/>
                </a:lnTo>
                <a:lnTo>
                  <a:pt x="967906" y="56956"/>
                </a:lnTo>
                <a:lnTo>
                  <a:pt x="972284" y="57477"/>
                </a:lnTo>
                <a:lnTo>
                  <a:pt x="963527" y="76757"/>
                </a:lnTo>
                <a:lnTo>
                  <a:pt x="965279" y="79363"/>
                </a:lnTo>
                <a:lnTo>
                  <a:pt x="967030" y="81968"/>
                </a:lnTo>
                <a:lnTo>
                  <a:pt x="969219" y="84574"/>
                </a:lnTo>
                <a:lnTo>
                  <a:pt x="971408" y="87179"/>
                </a:lnTo>
                <a:lnTo>
                  <a:pt x="976224" y="90306"/>
                </a:lnTo>
                <a:lnTo>
                  <a:pt x="981040" y="93432"/>
                </a:lnTo>
                <a:lnTo>
                  <a:pt x="990672" y="98122"/>
                </a:lnTo>
                <a:lnTo>
                  <a:pt x="998115" y="102291"/>
                </a:lnTo>
                <a:lnTo>
                  <a:pt x="997240" y="106459"/>
                </a:lnTo>
                <a:lnTo>
                  <a:pt x="995926" y="110107"/>
                </a:lnTo>
                <a:lnTo>
                  <a:pt x="994613" y="112712"/>
                </a:lnTo>
                <a:lnTo>
                  <a:pt x="992861" y="114797"/>
                </a:lnTo>
                <a:lnTo>
                  <a:pt x="991548" y="117923"/>
                </a:lnTo>
                <a:lnTo>
                  <a:pt x="990672" y="120529"/>
                </a:lnTo>
                <a:lnTo>
                  <a:pt x="990235" y="124176"/>
                </a:lnTo>
                <a:lnTo>
                  <a:pt x="989797" y="128345"/>
                </a:lnTo>
                <a:lnTo>
                  <a:pt x="990235" y="131993"/>
                </a:lnTo>
                <a:lnTo>
                  <a:pt x="991986" y="136161"/>
                </a:lnTo>
                <a:lnTo>
                  <a:pt x="994613" y="140330"/>
                </a:lnTo>
                <a:lnTo>
                  <a:pt x="997240" y="145020"/>
                </a:lnTo>
                <a:lnTo>
                  <a:pt x="1000304" y="148667"/>
                </a:lnTo>
                <a:lnTo>
                  <a:pt x="1002931" y="151273"/>
                </a:lnTo>
                <a:lnTo>
                  <a:pt x="1005558" y="153357"/>
                </a:lnTo>
                <a:lnTo>
                  <a:pt x="1006872" y="153878"/>
                </a:lnTo>
                <a:lnTo>
                  <a:pt x="1007310" y="162216"/>
                </a:lnTo>
                <a:lnTo>
                  <a:pt x="1008185" y="170032"/>
                </a:lnTo>
                <a:lnTo>
                  <a:pt x="1010374" y="177848"/>
                </a:lnTo>
                <a:lnTo>
                  <a:pt x="1012563" y="184102"/>
                </a:lnTo>
                <a:lnTo>
                  <a:pt x="1015190" y="189834"/>
                </a:lnTo>
                <a:lnTo>
                  <a:pt x="1018255" y="195044"/>
                </a:lnTo>
                <a:lnTo>
                  <a:pt x="1022195" y="199734"/>
                </a:lnTo>
                <a:lnTo>
                  <a:pt x="1026136" y="204424"/>
                </a:lnTo>
                <a:lnTo>
                  <a:pt x="1030514" y="208593"/>
                </a:lnTo>
                <a:lnTo>
                  <a:pt x="1034892" y="212240"/>
                </a:lnTo>
                <a:lnTo>
                  <a:pt x="1039271" y="215888"/>
                </a:lnTo>
                <a:lnTo>
                  <a:pt x="1044087" y="219014"/>
                </a:lnTo>
                <a:lnTo>
                  <a:pt x="1053719" y="224746"/>
                </a:lnTo>
                <a:lnTo>
                  <a:pt x="1062037" y="230478"/>
                </a:lnTo>
                <a:lnTo>
                  <a:pt x="1045400" y="247674"/>
                </a:lnTo>
                <a:lnTo>
                  <a:pt x="1029638" y="265391"/>
                </a:lnTo>
                <a:lnTo>
                  <a:pt x="1022195" y="273729"/>
                </a:lnTo>
                <a:lnTo>
                  <a:pt x="1015190" y="282587"/>
                </a:lnTo>
                <a:lnTo>
                  <a:pt x="1007747" y="292488"/>
                </a:lnTo>
                <a:lnTo>
                  <a:pt x="1001180" y="301346"/>
                </a:lnTo>
                <a:lnTo>
                  <a:pt x="996802" y="301346"/>
                </a:lnTo>
                <a:lnTo>
                  <a:pt x="992424" y="301346"/>
                </a:lnTo>
                <a:lnTo>
                  <a:pt x="957836" y="301346"/>
                </a:lnTo>
                <a:lnTo>
                  <a:pt x="956084" y="304994"/>
                </a:lnTo>
                <a:lnTo>
                  <a:pt x="953458" y="307599"/>
                </a:lnTo>
                <a:lnTo>
                  <a:pt x="950831" y="310205"/>
                </a:lnTo>
                <a:lnTo>
                  <a:pt x="947766" y="311768"/>
                </a:lnTo>
                <a:lnTo>
                  <a:pt x="944263" y="313852"/>
                </a:lnTo>
                <a:lnTo>
                  <a:pt x="941199" y="314895"/>
                </a:lnTo>
                <a:lnTo>
                  <a:pt x="937258" y="315937"/>
                </a:lnTo>
                <a:lnTo>
                  <a:pt x="933318" y="316458"/>
                </a:lnTo>
                <a:lnTo>
                  <a:pt x="924999" y="317500"/>
                </a:lnTo>
                <a:lnTo>
                  <a:pt x="917118" y="317500"/>
                </a:lnTo>
                <a:lnTo>
                  <a:pt x="909238" y="317500"/>
                </a:lnTo>
                <a:lnTo>
                  <a:pt x="902670" y="317500"/>
                </a:lnTo>
                <a:lnTo>
                  <a:pt x="894352" y="316979"/>
                </a:lnTo>
                <a:lnTo>
                  <a:pt x="887784" y="316458"/>
                </a:lnTo>
                <a:lnTo>
                  <a:pt x="885157" y="315937"/>
                </a:lnTo>
                <a:lnTo>
                  <a:pt x="883406" y="314895"/>
                </a:lnTo>
                <a:lnTo>
                  <a:pt x="882530" y="313331"/>
                </a:lnTo>
                <a:lnTo>
                  <a:pt x="882093" y="311247"/>
                </a:lnTo>
                <a:lnTo>
                  <a:pt x="877277" y="310726"/>
                </a:lnTo>
                <a:lnTo>
                  <a:pt x="872461" y="309684"/>
                </a:lnTo>
                <a:lnTo>
                  <a:pt x="867207" y="307599"/>
                </a:lnTo>
                <a:lnTo>
                  <a:pt x="861953" y="305515"/>
                </a:lnTo>
                <a:lnTo>
                  <a:pt x="857137" y="302910"/>
                </a:lnTo>
                <a:lnTo>
                  <a:pt x="853634" y="300304"/>
                </a:lnTo>
                <a:lnTo>
                  <a:pt x="852321" y="299262"/>
                </a:lnTo>
                <a:lnTo>
                  <a:pt x="851007" y="297699"/>
                </a:lnTo>
                <a:lnTo>
                  <a:pt x="850132" y="296657"/>
                </a:lnTo>
                <a:lnTo>
                  <a:pt x="850132" y="295093"/>
                </a:lnTo>
                <a:lnTo>
                  <a:pt x="850132" y="293009"/>
                </a:lnTo>
                <a:lnTo>
                  <a:pt x="851007" y="290404"/>
                </a:lnTo>
                <a:lnTo>
                  <a:pt x="852321" y="287798"/>
                </a:lnTo>
                <a:lnTo>
                  <a:pt x="853196" y="285714"/>
                </a:lnTo>
                <a:lnTo>
                  <a:pt x="854948" y="282066"/>
                </a:lnTo>
                <a:lnTo>
                  <a:pt x="855823" y="278940"/>
                </a:lnTo>
                <a:lnTo>
                  <a:pt x="855386" y="276334"/>
                </a:lnTo>
                <a:lnTo>
                  <a:pt x="854948" y="273729"/>
                </a:lnTo>
                <a:lnTo>
                  <a:pt x="854510" y="271644"/>
                </a:lnTo>
                <a:lnTo>
                  <a:pt x="853634" y="269560"/>
                </a:lnTo>
                <a:lnTo>
                  <a:pt x="851007" y="266433"/>
                </a:lnTo>
                <a:lnTo>
                  <a:pt x="848818" y="263828"/>
                </a:lnTo>
                <a:lnTo>
                  <a:pt x="845753" y="261744"/>
                </a:lnTo>
                <a:lnTo>
                  <a:pt x="843564" y="259138"/>
                </a:lnTo>
                <a:lnTo>
                  <a:pt x="842689" y="257575"/>
                </a:lnTo>
                <a:lnTo>
                  <a:pt x="841813" y="256533"/>
                </a:lnTo>
                <a:lnTo>
                  <a:pt x="841375" y="254970"/>
                </a:lnTo>
                <a:lnTo>
                  <a:pt x="841375" y="253406"/>
                </a:lnTo>
                <a:lnTo>
                  <a:pt x="841813" y="248195"/>
                </a:lnTo>
                <a:lnTo>
                  <a:pt x="843564" y="242985"/>
                </a:lnTo>
                <a:lnTo>
                  <a:pt x="845753" y="237774"/>
                </a:lnTo>
                <a:lnTo>
                  <a:pt x="848818" y="232042"/>
                </a:lnTo>
                <a:lnTo>
                  <a:pt x="852759" y="226310"/>
                </a:lnTo>
                <a:lnTo>
                  <a:pt x="857575" y="220578"/>
                </a:lnTo>
                <a:lnTo>
                  <a:pt x="862391" y="215367"/>
                </a:lnTo>
                <a:lnTo>
                  <a:pt x="867645" y="210156"/>
                </a:lnTo>
                <a:lnTo>
                  <a:pt x="873336" y="205466"/>
                </a:lnTo>
                <a:lnTo>
                  <a:pt x="879028" y="200255"/>
                </a:lnTo>
                <a:lnTo>
                  <a:pt x="884720" y="196087"/>
                </a:lnTo>
                <a:lnTo>
                  <a:pt x="890411" y="192960"/>
                </a:lnTo>
                <a:lnTo>
                  <a:pt x="895665" y="189834"/>
                </a:lnTo>
                <a:lnTo>
                  <a:pt x="901795" y="187749"/>
                </a:lnTo>
                <a:lnTo>
                  <a:pt x="906611" y="186186"/>
                </a:lnTo>
                <a:lnTo>
                  <a:pt x="911427" y="186186"/>
                </a:lnTo>
                <a:lnTo>
                  <a:pt x="914054" y="183059"/>
                </a:lnTo>
                <a:lnTo>
                  <a:pt x="911427" y="182538"/>
                </a:lnTo>
                <a:lnTo>
                  <a:pt x="909238" y="182017"/>
                </a:lnTo>
                <a:lnTo>
                  <a:pt x="907048" y="181496"/>
                </a:lnTo>
                <a:lnTo>
                  <a:pt x="904859" y="180454"/>
                </a:lnTo>
                <a:lnTo>
                  <a:pt x="903546" y="179412"/>
                </a:lnTo>
                <a:lnTo>
                  <a:pt x="902232" y="178369"/>
                </a:lnTo>
                <a:lnTo>
                  <a:pt x="900481" y="176806"/>
                </a:lnTo>
                <a:lnTo>
                  <a:pt x="899605" y="175243"/>
                </a:lnTo>
                <a:lnTo>
                  <a:pt x="898292" y="171595"/>
                </a:lnTo>
                <a:lnTo>
                  <a:pt x="897416" y="167427"/>
                </a:lnTo>
                <a:lnTo>
                  <a:pt x="896979" y="163779"/>
                </a:lnTo>
                <a:lnTo>
                  <a:pt x="896979" y="160131"/>
                </a:lnTo>
                <a:lnTo>
                  <a:pt x="896541" y="152836"/>
                </a:lnTo>
                <a:lnTo>
                  <a:pt x="895665" y="146062"/>
                </a:lnTo>
                <a:lnTo>
                  <a:pt x="894352" y="139288"/>
                </a:lnTo>
                <a:lnTo>
                  <a:pt x="893476" y="133556"/>
                </a:lnTo>
                <a:lnTo>
                  <a:pt x="891725" y="128345"/>
                </a:lnTo>
                <a:lnTo>
                  <a:pt x="889536" y="123655"/>
                </a:lnTo>
                <a:lnTo>
                  <a:pt x="887784" y="118965"/>
                </a:lnTo>
                <a:lnTo>
                  <a:pt x="885157" y="114276"/>
                </a:lnTo>
                <a:lnTo>
                  <a:pt x="880341" y="106459"/>
                </a:lnTo>
                <a:lnTo>
                  <a:pt x="875525" y="98643"/>
                </a:lnTo>
                <a:lnTo>
                  <a:pt x="871147" y="91348"/>
                </a:lnTo>
                <a:lnTo>
                  <a:pt x="867645" y="83010"/>
                </a:lnTo>
                <a:lnTo>
                  <a:pt x="873774" y="78842"/>
                </a:lnTo>
                <a:lnTo>
                  <a:pt x="879028" y="75715"/>
                </a:lnTo>
                <a:lnTo>
                  <a:pt x="882093" y="74673"/>
                </a:lnTo>
                <a:lnTo>
                  <a:pt x="884720" y="74152"/>
                </a:lnTo>
                <a:lnTo>
                  <a:pt x="885793" y="73969"/>
                </a:lnTo>
                <a:lnTo>
                  <a:pt x="884672" y="72529"/>
                </a:lnTo>
                <a:lnTo>
                  <a:pt x="881719" y="73039"/>
                </a:lnTo>
                <a:lnTo>
                  <a:pt x="879120" y="73564"/>
                </a:lnTo>
                <a:lnTo>
                  <a:pt x="875654" y="74613"/>
                </a:lnTo>
                <a:lnTo>
                  <a:pt x="869589" y="77760"/>
                </a:lnTo>
                <a:lnTo>
                  <a:pt x="861790" y="81957"/>
                </a:lnTo>
                <a:lnTo>
                  <a:pt x="858325" y="81957"/>
                </a:lnTo>
                <a:lnTo>
                  <a:pt x="856158" y="81432"/>
                </a:lnTo>
                <a:lnTo>
                  <a:pt x="853126" y="80383"/>
                </a:lnTo>
                <a:lnTo>
                  <a:pt x="851393" y="79334"/>
                </a:lnTo>
                <a:lnTo>
                  <a:pt x="847060" y="76711"/>
                </a:lnTo>
                <a:lnTo>
                  <a:pt x="843595" y="73039"/>
                </a:lnTo>
                <a:lnTo>
                  <a:pt x="840562" y="69367"/>
                </a:lnTo>
                <a:lnTo>
                  <a:pt x="837529" y="65695"/>
                </a:lnTo>
                <a:lnTo>
                  <a:pt x="834064" y="62548"/>
                </a:lnTo>
                <a:lnTo>
                  <a:pt x="830164" y="59925"/>
                </a:lnTo>
                <a:lnTo>
                  <a:pt x="826699" y="62548"/>
                </a:lnTo>
                <a:lnTo>
                  <a:pt x="823233" y="64646"/>
                </a:lnTo>
                <a:lnTo>
                  <a:pt x="819767" y="66744"/>
                </a:lnTo>
                <a:lnTo>
                  <a:pt x="816734" y="68318"/>
                </a:lnTo>
                <a:lnTo>
                  <a:pt x="809369" y="71466"/>
                </a:lnTo>
                <a:lnTo>
                  <a:pt x="802004" y="73039"/>
                </a:lnTo>
                <a:lnTo>
                  <a:pt x="794206" y="75138"/>
                </a:lnTo>
                <a:lnTo>
                  <a:pt x="786408" y="76711"/>
                </a:lnTo>
                <a:lnTo>
                  <a:pt x="778177" y="78809"/>
                </a:lnTo>
                <a:lnTo>
                  <a:pt x="769512" y="81957"/>
                </a:lnTo>
                <a:lnTo>
                  <a:pt x="768212" y="82481"/>
                </a:lnTo>
                <a:lnTo>
                  <a:pt x="766046" y="83006"/>
                </a:lnTo>
                <a:lnTo>
                  <a:pt x="764746" y="84580"/>
                </a:lnTo>
                <a:lnTo>
                  <a:pt x="763013" y="86678"/>
                </a:lnTo>
                <a:lnTo>
                  <a:pt x="759114" y="91399"/>
                </a:lnTo>
                <a:lnTo>
                  <a:pt x="755648" y="97169"/>
                </a:lnTo>
                <a:lnTo>
                  <a:pt x="755503" y="97470"/>
                </a:lnTo>
                <a:lnTo>
                  <a:pt x="758108" y="93243"/>
                </a:lnTo>
                <a:lnTo>
                  <a:pt x="762090" y="88544"/>
                </a:lnTo>
                <a:lnTo>
                  <a:pt x="763860" y="86455"/>
                </a:lnTo>
                <a:lnTo>
                  <a:pt x="765187" y="84889"/>
                </a:lnTo>
                <a:lnTo>
                  <a:pt x="767400" y="84366"/>
                </a:lnTo>
                <a:lnTo>
                  <a:pt x="768727" y="83844"/>
                </a:lnTo>
                <a:lnTo>
                  <a:pt x="777576" y="80711"/>
                </a:lnTo>
                <a:lnTo>
                  <a:pt x="785983" y="78623"/>
                </a:lnTo>
                <a:lnTo>
                  <a:pt x="793948" y="77056"/>
                </a:lnTo>
                <a:lnTo>
                  <a:pt x="801912" y="74967"/>
                </a:lnTo>
                <a:lnTo>
                  <a:pt x="809434" y="73401"/>
                </a:lnTo>
                <a:lnTo>
                  <a:pt x="816956" y="70268"/>
                </a:lnTo>
                <a:lnTo>
                  <a:pt x="820053" y="68701"/>
                </a:lnTo>
                <a:lnTo>
                  <a:pt x="823593" y="66613"/>
                </a:lnTo>
                <a:lnTo>
                  <a:pt x="827133" y="64524"/>
                </a:lnTo>
                <a:lnTo>
                  <a:pt x="830672" y="61913"/>
                </a:lnTo>
                <a:lnTo>
                  <a:pt x="834655" y="64524"/>
                </a:lnTo>
                <a:lnTo>
                  <a:pt x="838194" y="67657"/>
                </a:lnTo>
                <a:lnTo>
                  <a:pt x="841292" y="71312"/>
                </a:lnTo>
                <a:lnTo>
                  <a:pt x="844389" y="74967"/>
                </a:lnTo>
                <a:lnTo>
                  <a:pt x="847929" y="78623"/>
                </a:lnTo>
                <a:lnTo>
                  <a:pt x="852353" y="81233"/>
                </a:lnTo>
                <a:lnTo>
                  <a:pt x="854123" y="82278"/>
                </a:lnTo>
                <a:lnTo>
                  <a:pt x="857220" y="83322"/>
                </a:lnTo>
                <a:lnTo>
                  <a:pt x="859433" y="83844"/>
                </a:lnTo>
                <a:lnTo>
                  <a:pt x="862972" y="83844"/>
                </a:lnTo>
                <a:lnTo>
                  <a:pt x="872707" y="99510"/>
                </a:lnTo>
                <a:lnTo>
                  <a:pt x="881999" y="115175"/>
                </a:lnTo>
                <a:lnTo>
                  <a:pt x="884211" y="119874"/>
                </a:lnTo>
                <a:lnTo>
                  <a:pt x="886423" y="124574"/>
                </a:lnTo>
                <a:lnTo>
                  <a:pt x="887751" y="129274"/>
                </a:lnTo>
                <a:lnTo>
                  <a:pt x="889078" y="134495"/>
                </a:lnTo>
                <a:lnTo>
                  <a:pt x="890848" y="140239"/>
                </a:lnTo>
                <a:lnTo>
                  <a:pt x="891733" y="147028"/>
                </a:lnTo>
                <a:lnTo>
                  <a:pt x="892175" y="153816"/>
                </a:lnTo>
                <a:lnTo>
                  <a:pt x="892175" y="161126"/>
                </a:lnTo>
                <a:lnTo>
                  <a:pt x="848371" y="161126"/>
                </a:lnTo>
                <a:lnTo>
                  <a:pt x="846601" y="163215"/>
                </a:lnTo>
                <a:lnTo>
                  <a:pt x="842619" y="167915"/>
                </a:lnTo>
                <a:lnTo>
                  <a:pt x="839964" y="170525"/>
                </a:lnTo>
                <a:lnTo>
                  <a:pt x="838194" y="173136"/>
                </a:lnTo>
                <a:lnTo>
                  <a:pt x="837309" y="175747"/>
                </a:lnTo>
                <a:lnTo>
                  <a:pt x="836867" y="177314"/>
                </a:lnTo>
                <a:lnTo>
                  <a:pt x="835982" y="179925"/>
                </a:lnTo>
                <a:lnTo>
                  <a:pt x="835539" y="182013"/>
                </a:lnTo>
                <a:lnTo>
                  <a:pt x="835539" y="183580"/>
                </a:lnTo>
                <a:lnTo>
                  <a:pt x="835982" y="185669"/>
                </a:lnTo>
                <a:lnTo>
                  <a:pt x="837309" y="189324"/>
                </a:lnTo>
                <a:lnTo>
                  <a:pt x="839522" y="193501"/>
                </a:lnTo>
                <a:lnTo>
                  <a:pt x="832885" y="199767"/>
                </a:lnTo>
                <a:lnTo>
                  <a:pt x="826248" y="205511"/>
                </a:lnTo>
                <a:lnTo>
                  <a:pt x="819611" y="210211"/>
                </a:lnTo>
                <a:lnTo>
                  <a:pt x="813416" y="213866"/>
                </a:lnTo>
                <a:lnTo>
                  <a:pt x="807222" y="218044"/>
                </a:lnTo>
                <a:lnTo>
                  <a:pt x="801027" y="221699"/>
                </a:lnTo>
                <a:lnTo>
                  <a:pt x="794832" y="226398"/>
                </a:lnTo>
                <a:lnTo>
                  <a:pt x="789523" y="231620"/>
                </a:lnTo>
                <a:lnTo>
                  <a:pt x="779789" y="238408"/>
                </a:lnTo>
                <a:lnTo>
                  <a:pt x="768727" y="246763"/>
                </a:lnTo>
                <a:lnTo>
                  <a:pt x="766957" y="248852"/>
                </a:lnTo>
                <a:lnTo>
                  <a:pt x="764302" y="250418"/>
                </a:lnTo>
                <a:lnTo>
                  <a:pt x="762975" y="252507"/>
                </a:lnTo>
                <a:lnTo>
                  <a:pt x="762090" y="254596"/>
                </a:lnTo>
                <a:lnTo>
                  <a:pt x="762090" y="256162"/>
                </a:lnTo>
                <a:lnTo>
                  <a:pt x="762532" y="257729"/>
                </a:lnTo>
                <a:lnTo>
                  <a:pt x="763860" y="259295"/>
                </a:lnTo>
                <a:lnTo>
                  <a:pt x="765630" y="260862"/>
                </a:lnTo>
                <a:lnTo>
                  <a:pt x="765630" y="266084"/>
                </a:lnTo>
                <a:lnTo>
                  <a:pt x="765630" y="270783"/>
                </a:lnTo>
                <a:lnTo>
                  <a:pt x="764745" y="277572"/>
                </a:lnTo>
                <a:lnTo>
                  <a:pt x="763417" y="283316"/>
                </a:lnTo>
                <a:lnTo>
                  <a:pt x="762532" y="286449"/>
                </a:lnTo>
                <a:lnTo>
                  <a:pt x="762532" y="289582"/>
                </a:lnTo>
                <a:lnTo>
                  <a:pt x="762532" y="293237"/>
                </a:lnTo>
                <a:lnTo>
                  <a:pt x="762975" y="296370"/>
                </a:lnTo>
                <a:lnTo>
                  <a:pt x="764745" y="300025"/>
                </a:lnTo>
                <a:lnTo>
                  <a:pt x="767400" y="302636"/>
                </a:lnTo>
                <a:lnTo>
                  <a:pt x="770054" y="304725"/>
                </a:lnTo>
                <a:lnTo>
                  <a:pt x="773152" y="306291"/>
                </a:lnTo>
                <a:lnTo>
                  <a:pt x="779789" y="308902"/>
                </a:lnTo>
                <a:lnTo>
                  <a:pt x="786868" y="310991"/>
                </a:lnTo>
                <a:lnTo>
                  <a:pt x="793505" y="312557"/>
                </a:lnTo>
                <a:lnTo>
                  <a:pt x="798815" y="315168"/>
                </a:lnTo>
                <a:lnTo>
                  <a:pt x="801469" y="316735"/>
                </a:lnTo>
                <a:lnTo>
                  <a:pt x="802797" y="318824"/>
                </a:lnTo>
                <a:lnTo>
                  <a:pt x="803682" y="322479"/>
                </a:lnTo>
                <a:lnTo>
                  <a:pt x="804124" y="325612"/>
                </a:lnTo>
                <a:lnTo>
                  <a:pt x="804124" y="331878"/>
                </a:lnTo>
                <a:lnTo>
                  <a:pt x="804124" y="338144"/>
                </a:lnTo>
                <a:lnTo>
                  <a:pt x="799257" y="338666"/>
                </a:lnTo>
                <a:lnTo>
                  <a:pt x="794390" y="339188"/>
                </a:lnTo>
                <a:lnTo>
                  <a:pt x="789523" y="340755"/>
                </a:lnTo>
                <a:lnTo>
                  <a:pt x="785098" y="342321"/>
                </a:lnTo>
                <a:lnTo>
                  <a:pt x="781116" y="344932"/>
                </a:lnTo>
                <a:lnTo>
                  <a:pt x="777576" y="347543"/>
                </a:lnTo>
                <a:lnTo>
                  <a:pt x="776691" y="349632"/>
                </a:lnTo>
                <a:lnTo>
                  <a:pt x="775364" y="351198"/>
                </a:lnTo>
                <a:lnTo>
                  <a:pt x="774921" y="352765"/>
                </a:lnTo>
                <a:lnTo>
                  <a:pt x="774479" y="354331"/>
                </a:lnTo>
                <a:lnTo>
                  <a:pt x="774037" y="362686"/>
                </a:lnTo>
                <a:lnTo>
                  <a:pt x="773152" y="371563"/>
                </a:lnTo>
                <a:lnTo>
                  <a:pt x="771382" y="381485"/>
                </a:lnTo>
                <a:lnTo>
                  <a:pt x="768727" y="391406"/>
                </a:lnTo>
                <a:lnTo>
                  <a:pt x="766957" y="401849"/>
                </a:lnTo>
                <a:lnTo>
                  <a:pt x="764745" y="413337"/>
                </a:lnTo>
                <a:lnTo>
                  <a:pt x="763417" y="424825"/>
                </a:lnTo>
                <a:lnTo>
                  <a:pt x="762975" y="438402"/>
                </a:lnTo>
                <a:lnTo>
                  <a:pt x="756338" y="438402"/>
                </a:lnTo>
                <a:lnTo>
                  <a:pt x="748373" y="438924"/>
                </a:lnTo>
                <a:lnTo>
                  <a:pt x="740852" y="439968"/>
                </a:lnTo>
                <a:lnTo>
                  <a:pt x="733772" y="441535"/>
                </a:lnTo>
                <a:lnTo>
                  <a:pt x="730675" y="443101"/>
                </a:lnTo>
                <a:lnTo>
                  <a:pt x="728462" y="444146"/>
                </a:lnTo>
                <a:lnTo>
                  <a:pt x="725808" y="445712"/>
                </a:lnTo>
                <a:lnTo>
                  <a:pt x="724480" y="447279"/>
                </a:lnTo>
                <a:lnTo>
                  <a:pt x="723595" y="449367"/>
                </a:lnTo>
                <a:lnTo>
                  <a:pt x="723153" y="451978"/>
                </a:lnTo>
                <a:lnTo>
                  <a:pt x="723595" y="454067"/>
                </a:lnTo>
                <a:lnTo>
                  <a:pt x="724923" y="457200"/>
                </a:lnTo>
                <a:lnTo>
                  <a:pt x="720056" y="457200"/>
                </a:lnTo>
                <a:lnTo>
                  <a:pt x="713419" y="457200"/>
                </a:lnTo>
                <a:lnTo>
                  <a:pt x="707224" y="457200"/>
                </a:lnTo>
                <a:lnTo>
                  <a:pt x="704127" y="457200"/>
                </a:lnTo>
                <a:lnTo>
                  <a:pt x="703242" y="457200"/>
                </a:lnTo>
                <a:lnTo>
                  <a:pt x="701914" y="456678"/>
                </a:lnTo>
                <a:lnTo>
                  <a:pt x="700587" y="455634"/>
                </a:lnTo>
                <a:lnTo>
                  <a:pt x="699260" y="454589"/>
                </a:lnTo>
                <a:lnTo>
                  <a:pt x="697047" y="451456"/>
                </a:lnTo>
                <a:lnTo>
                  <a:pt x="694392" y="447279"/>
                </a:lnTo>
                <a:lnTo>
                  <a:pt x="691295" y="442579"/>
                </a:lnTo>
                <a:lnTo>
                  <a:pt x="688640" y="436835"/>
                </a:lnTo>
                <a:lnTo>
                  <a:pt x="685986" y="430569"/>
                </a:lnTo>
                <a:lnTo>
                  <a:pt x="683773" y="423781"/>
                </a:lnTo>
                <a:lnTo>
                  <a:pt x="678906" y="410204"/>
                </a:lnTo>
                <a:lnTo>
                  <a:pt x="675366" y="396106"/>
                </a:lnTo>
                <a:lnTo>
                  <a:pt x="674039" y="389839"/>
                </a:lnTo>
                <a:lnTo>
                  <a:pt x="672712" y="383573"/>
                </a:lnTo>
                <a:lnTo>
                  <a:pt x="672269" y="378352"/>
                </a:lnTo>
                <a:lnTo>
                  <a:pt x="672269" y="373652"/>
                </a:lnTo>
                <a:lnTo>
                  <a:pt x="669172" y="373130"/>
                </a:lnTo>
                <a:lnTo>
                  <a:pt x="666960" y="372085"/>
                </a:lnTo>
                <a:lnTo>
                  <a:pt x="664747" y="369997"/>
                </a:lnTo>
                <a:lnTo>
                  <a:pt x="663420" y="367908"/>
                </a:lnTo>
                <a:lnTo>
                  <a:pt x="660765" y="362686"/>
                </a:lnTo>
                <a:lnTo>
                  <a:pt x="657225" y="357465"/>
                </a:lnTo>
                <a:lnTo>
                  <a:pt x="661207" y="355898"/>
                </a:lnTo>
                <a:lnTo>
                  <a:pt x="665632" y="354854"/>
                </a:lnTo>
                <a:lnTo>
                  <a:pt x="669172" y="354331"/>
                </a:lnTo>
                <a:lnTo>
                  <a:pt x="672269" y="354331"/>
                </a:lnTo>
                <a:lnTo>
                  <a:pt x="672269" y="353305"/>
                </a:lnTo>
                <a:lnTo>
                  <a:pt x="671168" y="353157"/>
                </a:lnTo>
                <a:lnTo>
                  <a:pt x="665969" y="352633"/>
                </a:lnTo>
                <a:lnTo>
                  <a:pt x="663370" y="352633"/>
                </a:lnTo>
                <a:lnTo>
                  <a:pt x="661204" y="352633"/>
                </a:lnTo>
                <a:lnTo>
                  <a:pt x="658604" y="353157"/>
                </a:lnTo>
                <a:lnTo>
                  <a:pt x="657305" y="353682"/>
                </a:lnTo>
                <a:lnTo>
                  <a:pt x="651673" y="345289"/>
                </a:lnTo>
                <a:lnTo>
                  <a:pt x="646907" y="340043"/>
                </a:lnTo>
                <a:lnTo>
                  <a:pt x="643008" y="335322"/>
                </a:lnTo>
                <a:lnTo>
                  <a:pt x="639975" y="331125"/>
                </a:lnTo>
                <a:lnTo>
                  <a:pt x="638676" y="335847"/>
                </a:lnTo>
                <a:lnTo>
                  <a:pt x="637376" y="340568"/>
                </a:lnTo>
                <a:lnTo>
                  <a:pt x="636943" y="343190"/>
                </a:lnTo>
                <a:lnTo>
                  <a:pt x="635210" y="345813"/>
                </a:lnTo>
                <a:lnTo>
                  <a:pt x="633477" y="348961"/>
                </a:lnTo>
                <a:lnTo>
                  <a:pt x="630444" y="352108"/>
                </a:lnTo>
                <a:lnTo>
                  <a:pt x="623512" y="357878"/>
                </a:lnTo>
                <a:lnTo>
                  <a:pt x="615714" y="363124"/>
                </a:lnTo>
                <a:lnTo>
                  <a:pt x="600551" y="372566"/>
                </a:lnTo>
                <a:lnTo>
                  <a:pt x="594053" y="376238"/>
                </a:lnTo>
                <a:lnTo>
                  <a:pt x="579756" y="376238"/>
                </a:lnTo>
                <a:lnTo>
                  <a:pt x="570658" y="372566"/>
                </a:lnTo>
                <a:lnTo>
                  <a:pt x="559394" y="366796"/>
                </a:lnTo>
                <a:lnTo>
                  <a:pt x="554195" y="363649"/>
                </a:lnTo>
                <a:lnTo>
                  <a:pt x="549430" y="359452"/>
                </a:lnTo>
                <a:lnTo>
                  <a:pt x="547264" y="357354"/>
                </a:lnTo>
                <a:lnTo>
                  <a:pt x="546397" y="355255"/>
                </a:lnTo>
                <a:lnTo>
                  <a:pt x="545531" y="353157"/>
                </a:lnTo>
                <a:lnTo>
                  <a:pt x="545097" y="350534"/>
                </a:lnTo>
                <a:lnTo>
                  <a:pt x="550729" y="350534"/>
                </a:lnTo>
                <a:lnTo>
                  <a:pt x="555062" y="350010"/>
                </a:lnTo>
                <a:lnTo>
                  <a:pt x="558528" y="349485"/>
                </a:lnTo>
                <a:lnTo>
                  <a:pt x="562427" y="346862"/>
                </a:lnTo>
                <a:lnTo>
                  <a:pt x="558961" y="343190"/>
                </a:lnTo>
                <a:lnTo>
                  <a:pt x="554629" y="339519"/>
                </a:lnTo>
                <a:lnTo>
                  <a:pt x="549863" y="335847"/>
                </a:lnTo>
                <a:lnTo>
                  <a:pt x="545097" y="332175"/>
                </a:lnTo>
                <a:lnTo>
                  <a:pt x="536866" y="326929"/>
                </a:lnTo>
                <a:lnTo>
                  <a:pt x="533400" y="324831"/>
                </a:lnTo>
                <a:lnTo>
                  <a:pt x="541198" y="326929"/>
                </a:lnTo>
                <a:lnTo>
                  <a:pt x="547264" y="328503"/>
                </a:lnTo>
                <a:lnTo>
                  <a:pt x="549863" y="329027"/>
                </a:lnTo>
                <a:lnTo>
                  <a:pt x="552029" y="329027"/>
                </a:lnTo>
                <a:lnTo>
                  <a:pt x="554629" y="329027"/>
                </a:lnTo>
                <a:lnTo>
                  <a:pt x="556795" y="327978"/>
                </a:lnTo>
                <a:lnTo>
                  <a:pt x="554629" y="327454"/>
                </a:lnTo>
                <a:lnTo>
                  <a:pt x="552462" y="326404"/>
                </a:lnTo>
                <a:lnTo>
                  <a:pt x="550729" y="324306"/>
                </a:lnTo>
                <a:lnTo>
                  <a:pt x="548996" y="322208"/>
                </a:lnTo>
                <a:lnTo>
                  <a:pt x="547264" y="320110"/>
                </a:lnTo>
                <a:lnTo>
                  <a:pt x="545964" y="316438"/>
                </a:lnTo>
                <a:lnTo>
                  <a:pt x="545531" y="313815"/>
                </a:lnTo>
                <a:lnTo>
                  <a:pt x="545097" y="311717"/>
                </a:lnTo>
                <a:lnTo>
                  <a:pt x="562427" y="311717"/>
                </a:lnTo>
                <a:lnTo>
                  <a:pt x="557661" y="311192"/>
                </a:lnTo>
                <a:lnTo>
                  <a:pt x="552896" y="310143"/>
                </a:lnTo>
                <a:lnTo>
                  <a:pt x="548563" y="309094"/>
                </a:lnTo>
                <a:lnTo>
                  <a:pt x="544231" y="306995"/>
                </a:lnTo>
                <a:lnTo>
                  <a:pt x="540332" y="304897"/>
                </a:lnTo>
                <a:lnTo>
                  <a:pt x="537732" y="302274"/>
                </a:lnTo>
                <a:lnTo>
                  <a:pt x="536866" y="300701"/>
                </a:lnTo>
                <a:lnTo>
                  <a:pt x="536433" y="299127"/>
                </a:lnTo>
                <a:lnTo>
                  <a:pt x="536433" y="297553"/>
                </a:lnTo>
                <a:lnTo>
                  <a:pt x="536433" y="295455"/>
                </a:lnTo>
                <a:lnTo>
                  <a:pt x="533400" y="288636"/>
                </a:lnTo>
                <a:lnTo>
                  <a:pt x="545964" y="288636"/>
                </a:lnTo>
                <a:lnTo>
                  <a:pt x="556795" y="288636"/>
                </a:lnTo>
                <a:lnTo>
                  <a:pt x="565459" y="288636"/>
                </a:lnTo>
                <a:lnTo>
                  <a:pt x="571091" y="288636"/>
                </a:lnTo>
                <a:lnTo>
                  <a:pt x="564593" y="286537"/>
                </a:lnTo>
                <a:lnTo>
                  <a:pt x="550296" y="282341"/>
                </a:lnTo>
                <a:lnTo>
                  <a:pt x="542931" y="280243"/>
                </a:lnTo>
                <a:lnTo>
                  <a:pt x="536866" y="278144"/>
                </a:lnTo>
                <a:lnTo>
                  <a:pt x="533400" y="276571"/>
                </a:lnTo>
                <a:lnTo>
                  <a:pt x="533400" y="276046"/>
                </a:lnTo>
                <a:lnTo>
                  <a:pt x="534267" y="268702"/>
                </a:lnTo>
                <a:lnTo>
                  <a:pt x="534700" y="263981"/>
                </a:lnTo>
                <a:lnTo>
                  <a:pt x="535133" y="261883"/>
                </a:lnTo>
                <a:lnTo>
                  <a:pt x="535133" y="259260"/>
                </a:lnTo>
                <a:lnTo>
                  <a:pt x="534700" y="256637"/>
                </a:lnTo>
                <a:lnTo>
                  <a:pt x="533400" y="253490"/>
                </a:lnTo>
                <a:lnTo>
                  <a:pt x="542065" y="253490"/>
                </a:lnTo>
                <a:lnTo>
                  <a:pt x="542498" y="255588"/>
                </a:lnTo>
                <a:lnTo>
                  <a:pt x="543798" y="257162"/>
                </a:lnTo>
                <a:lnTo>
                  <a:pt x="544231" y="257686"/>
                </a:lnTo>
                <a:lnTo>
                  <a:pt x="544664" y="257686"/>
                </a:lnTo>
                <a:lnTo>
                  <a:pt x="545097" y="257162"/>
                </a:lnTo>
                <a:lnTo>
                  <a:pt x="545097" y="256637"/>
                </a:lnTo>
                <a:lnTo>
                  <a:pt x="549430" y="256113"/>
                </a:lnTo>
                <a:lnTo>
                  <a:pt x="555495" y="255064"/>
                </a:lnTo>
                <a:lnTo>
                  <a:pt x="562427" y="254014"/>
                </a:lnTo>
                <a:lnTo>
                  <a:pt x="568492" y="253490"/>
                </a:lnTo>
                <a:lnTo>
                  <a:pt x="567192" y="252965"/>
                </a:lnTo>
                <a:lnTo>
                  <a:pt x="566759" y="252441"/>
                </a:lnTo>
                <a:lnTo>
                  <a:pt x="566759" y="251392"/>
                </a:lnTo>
                <a:lnTo>
                  <a:pt x="566759" y="249818"/>
                </a:lnTo>
                <a:lnTo>
                  <a:pt x="568059" y="246670"/>
                </a:lnTo>
                <a:lnTo>
                  <a:pt x="568492" y="243523"/>
                </a:lnTo>
                <a:lnTo>
                  <a:pt x="572824" y="243523"/>
                </a:lnTo>
                <a:lnTo>
                  <a:pt x="576723" y="243523"/>
                </a:lnTo>
                <a:lnTo>
                  <a:pt x="576290" y="241425"/>
                </a:lnTo>
                <a:lnTo>
                  <a:pt x="574990" y="238802"/>
                </a:lnTo>
                <a:lnTo>
                  <a:pt x="573258" y="236704"/>
                </a:lnTo>
                <a:lnTo>
                  <a:pt x="571091" y="234081"/>
                </a:lnTo>
                <a:lnTo>
                  <a:pt x="575424" y="232507"/>
                </a:lnTo>
                <a:lnTo>
                  <a:pt x="579756" y="230934"/>
                </a:lnTo>
                <a:lnTo>
                  <a:pt x="584088" y="230409"/>
                </a:lnTo>
                <a:lnTo>
                  <a:pt x="588421" y="230409"/>
                </a:lnTo>
                <a:lnTo>
                  <a:pt x="589287" y="230409"/>
                </a:lnTo>
                <a:lnTo>
                  <a:pt x="589720" y="228835"/>
                </a:lnTo>
                <a:lnTo>
                  <a:pt x="589720" y="227262"/>
                </a:lnTo>
                <a:lnTo>
                  <a:pt x="589287" y="225163"/>
                </a:lnTo>
                <a:lnTo>
                  <a:pt x="588854" y="220967"/>
                </a:lnTo>
                <a:lnTo>
                  <a:pt x="588421" y="217819"/>
                </a:lnTo>
                <a:lnTo>
                  <a:pt x="597085" y="217819"/>
                </a:lnTo>
                <a:lnTo>
                  <a:pt x="591020" y="214672"/>
                </a:lnTo>
                <a:lnTo>
                  <a:pt x="628711" y="214672"/>
                </a:lnTo>
                <a:lnTo>
                  <a:pt x="623079" y="211525"/>
                </a:lnTo>
                <a:lnTo>
                  <a:pt x="625679" y="209951"/>
                </a:lnTo>
                <a:lnTo>
                  <a:pt x="627845" y="208377"/>
                </a:lnTo>
                <a:lnTo>
                  <a:pt x="629145" y="206804"/>
                </a:lnTo>
                <a:lnTo>
                  <a:pt x="630444" y="204181"/>
                </a:lnTo>
                <a:lnTo>
                  <a:pt x="631744" y="198410"/>
                </a:lnTo>
                <a:lnTo>
                  <a:pt x="631744" y="192116"/>
                </a:lnTo>
                <a:lnTo>
                  <a:pt x="638676" y="192116"/>
                </a:lnTo>
                <a:lnTo>
                  <a:pt x="643875" y="192116"/>
                </a:lnTo>
                <a:lnTo>
                  <a:pt x="648640" y="192116"/>
                </a:lnTo>
                <a:lnTo>
                  <a:pt x="654272" y="192116"/>
                </a:lnTo>
                <a:lnTo>
                  <a:pt x="654272" y="188968"/>
                </a:lnTo>
                <a:lnTo>
                  <a:pt x="655572" y="185821"/>
                </a:lnTo>
                <a:lnTo>
                  <a:pt x="656005" y="184772"/>
                </a:lnTo>
                <a:lnTo>
                  <a:pt x="656871" y="183723"/>
                </a:lnTo>
                <a:lnTo>
                  <a:pt x="658171" y="182674"/>
                </a:lnTo>
                <a:lnTo>
                  <a:pt x="660337" y="182674"/>
                </a:lnTo>
                <a:lnTo>
                  <a:pt x="657305" y="181100"/>
                </a:lnTo>
                <a:lnTo>
                  <a:pt x="654272" y="179001"/>
                </a:lnTo>
                <a:lnTo>
                  <a:pt x="654705" y="177952"/>
                </a:lnTo>
                <a:lnTo>
                  <a:pt x="655572" y="176903"/>
                </a:lnTo>
                <a:lnTo>
                  <a:pt x="656438" y="175854"/>
                </a:lnTo>
                <a:lnTo>
                  <a:pt x="657738" y="174280"/>
                </a:lnTo>
                <a:lnTo>
                  <a:pt x="660771" y="171657"/>
                </a:lnTo>
                <a:lnTo>
                  <a:pt x="662937" y="169035"/>
                </a:lnTo>
                <a:lnTo>
                  <a:pt x="662504" y="167461"/>
                </a:lnTo>
                <a:lnTo>
                  <a:pt x="662070" y="165363"/>
                </a:lnTo>
                <a:lnTo>
                  <a:pt x="662504" y="163789"/>
                </a:lnTo>
                <a:lnTo>
                  <a:pt x="662937" y="161691"/>
                </a:lnTo>
                <a:lnTo>
                  <a:pt x="665536" y="158019"/>
                </a:lnTo>
                <a:lnTo>
                  <a:pt x="668136" y="154347"/>
                </a:lnTo>
                <a:lnTo>
                  <a:pt x="674201" y="147527"/>
                </a:lnTo>
                <a:lnTo>
                  <a:pt x="677667" y="143331"/>
                </a:lnTo>
                <a:lnTo>
                  <a:pt x="677667" y="142282"/>
                </a:lnTo>
                <a:lnTo>
                  <a:pt x="678533" y="141757"/>
                </a:lnTo>
                <a:lnTo>
                  <a:pt x="679833" y="141757"/>
                </a:lnTo>
                <a:lnTo>
                  <a:pt x="680699" y="142282"/>
                </a:lnTo>
                <a:lnTo>
                  <a:pt x="682432" y="142806"/>
                </a:lnTo>
                <a:lnTo>
                  <a:pt x="683299" y="143331"/>
                </a:lnTo>
                <a:lnTo>
                  <a:pt x="682432" y="139659"/>
                </a:lnTo>
                <a:lnTo>
                  <a:pt x="681999" y="136512"/>
                </a:lnTo>
                <a:lnTo>
                  <a:pt x="681999" y="132840"/>
                </a:lnTo>
                <a:lnTo>
                  <a:pt x="682432" y="129692"/>
                </a:lnTo>
                <a:lnTo>
                  <a:pt x="682865" y="124447"/>
                </a:lnTo>
                <a:lnTo>
                  <a:pt x="683299" y="121299"/>
                </a:lnTo>
                <a:lnTo>
                  <a:pt x="693696" y="121299"/>
                </a:lnTo>
                <a:lnTo>
                  <a:pt x="700195" y="120775"/>
                </a:lnTo>
                <a:lnTo>
                  <a:pt x="701494" y="120250"/>
                </a:lnTo>
                <a:lnTo>
                  <a:pt x="702361" y="119201"/>
                </a:lnTo>
                <a:lnTo>
                  <a:pt x="703227" y="118152"/>
                </a:lnTo>
                <a:lnTo>
                  <a:pt x="704094" y="117103"/>
                </a:lnTo>
                <a:lnTo>
                  <a:pt x="705394" y="112906"/>
                </a:lnTo>
                <a:lnTo>
                  <a:pt x="706260" y="107661"/>
                </a:lnTo>
                <a:lnTo>
                  <a:pt x="704527" y="105038"/>
                </a:lnTo>
                <a:lnTo>
                  <a:pt x="702361" y="101366"/>
                </a:lnTo>
                <a:lnTo>
                  <a:pt x="701061" y="96645"/>
                </a:lnTo>
                <a:lnTo>
                  <a:pt x="700628" y="91924"/>
                </a:lnTo>
                <a:lnTo>
                  <a:pt x="699761" y="91924"/>
                </a:lnTo>
                <a:lnTo>
                  <a:pt x="697595" y="91399"/>
                </a:lnTo>
                <a:lnTo>
                  <a:pt x="696729" y="91399"/>
                </a:lnTo>
                <a:lnTo>
                  <a:pt x="695862" y="90874"/>
                </a:lnTo>
                <a:lnTo>
                  <a:pt x="694996" y="89825"/>
                </a:lnTo>
                <a:lnTo>
                  <a:pt x="694996" y="88776"/>
                </a:lnTo>
                <a:lnTo>
                  <a:pt x="690664" y="92973"/>
                </a:lnTo>
                <a:lnTo>
                  <a:pt x="686331" y="96120"/>
                </a:lnTo>
                <a:lnTo>
                  <a:pt x="683732" y="97169"/>
                </a:lnTo>
                <a:lnTo>
                  <a:pt x="681999" y="97694"/>
                </a:lnTo>
                <a:lnTo>
                  <a:pt x="679833" y="98218"/>
                </a:lnTo>
                <a:lnTo>
                  <a:pt x="677667" y="98218"/>
                </a:lnTo>
                <a:lnTo>
                  <a:pt x="678100" y="95071"/>
                </a:lnTo>
                <a:lnTo>
                  <a:pt x="679833" y="91924"/>
                </a:lnTo>
                <a:lnTo>
                  <a:pt x="681132" y="89301"/>
                </a:lnTo>
                <a:lnTo>
                  <a:pt x="682865" y="86678"/>
                </a:lnTo>
                <a:lnTo>
                  <a:pt x="687198" y="81432"/>
                </a:lnTo>
                <a:lnTo>
                  <a:pt x="692397" y="77236"/>
                </a:lnTo>
                <a:lnTo>
                  <a:pt x="697162" y="73039"/>
                </a:lnTo>
                <a:lnTo>
                  <a:pt x="702361" y="68318"/>
                </a:lnTo>
                <a:lnTo>
                  <a:pt x="704527" y="65695"/>
                </a:lnTo>
                <a:lnTo>
                  <a:pt x="706260" y="63073"/>
                </a:lnTo>
                <a:lnTo>
                  <a:pt x="707993" y="59925"/>
                </a:lnTo>
                <a:lnTo>
                  <a:pt x="709293" y="56253"/>
                </a:lnTo>
                <a:lnTo>
                  <a:pt x="709726" y="57827"/>
                </a:lnTo>
                <a:lnTo>
                  <a:pt x="710592" y="60450"/>
                </a:lnTo>
                <a:lnTo>
                  <a:pt x="711459" y="64646"/>
                </a:lnTo>
                <a:lnTo>
                  <a:pt x="711892" y="69367"/>
                </a:lnTo>
                <a:lnTo>
                  <a:pt x="712758" y="70416"/>
                </a:lnTo>
                <a:lnTo>
                  <a:pt x="715358" y="72515"/>
                </a:lnTo>
                <a:lnTo>
                  <a:pt x="717957" y="74613"/>
                </a:lnTo>
                <a:lnTo>
                  <a:pt x="720557" y="75662"/>
                </a:lnTo>
                <a:lnTo>
                  <a:pt x="728355" y="75138"/>
                </a:lnTo>
                <a:lnTo>
                  <a:pt x="733987" y="74088"/>
                </a:lnTo>
                <a:lnTo>
                  <a:pt x="738319" y="73039"/>
                </a:lnTo>
                <a:lnTo>
                  <a:pt x="740919" y="72515"/>
                </a:lnTo>
                <a:lnTo>
                  <a:pt x="738752" y="69892"/>
                </a:lnTo>
                <a:lnTo>
                  <a:pt x="736586" y="67269"/>
                </a:lnTo>
                <a:lnTo>
                  <a:pt x="736153" y="65695"/>
                </a:lnTo>
                <a:lnTo>
                  <a:pt x="735720" y="64122"/>
                </a:lnTo>
                <a:lnTo>
                  <a:pt x="735287" y="62023"/>
                </a:lnTo>
                <a:lnTo>
                  <a:pt x="735287" y="59925"/>
                </a:lnTo>
                <a:lnTo>
                  <a:pt x="743518" y="57827"/>
                </a:lnTo>
                <a:lnTo>
                  <a:pt x="754349" y="55204"/>
                </a:lnTo>
                <a:lnTo>
                  <a:pt x="759981" y="53630"/>
                </a:lnTo>
                <a:lnTo>
                  <a:pt x="765613" y="52057"/>
                </a:lnTo>
                <a:lnTo>
                  <a:pt x="770812" y="49434"/>
                </a:lnTo>
                <a:lnTo>
                  <a:pt x="775144" y="46286"/>
                </a:lnTo>
                <a:lnTo>
                  <a:pt x="778177" y="44188"/>
                </a:lnTo>
                <a:lnTo>
                  <a:pt x="781642" y="42090"/>
                </a:lnTo>
                <a:lnTo>
                  <a:pt x="784242" y="40516"/>
                </a:lnTo>
                <a:lnTo>
                  <a:pt x="787274" y="39992"/>
                </a:lnTo>
                <a:lnTo>
                  <a:pt x="787708" y="43139"/>
                </a:lnTo>
                <a:lnTo>
                  <a:pt x="788574" y="46286"/>
                </a:lnTo>
                <a:lnTo>
                  <a:pt x="789441" y="47336"/>
                </a:lnTo>
                <a:lnTo>
                  <a:pt x="790307" y="48385"/>
                </a:lnTo>
                <a:lnTo>
                  <a:pt x="791607" y="49434"/>
                </a:lnTo>
                <a:lnTo>
                  <a:pt x="792906" y="49434"/>
                </a:lnTo>
                <a:lnTo>
                  <a:pt x="797239" y="48909"/>
                </a:lnTo>
                <a:lnTo>
                  <a:pt x="803737" y="46286"/>
                </a:lnTo>
                <a:lnTo>
                  <a:pt x="809803" y="44188"/>
                </a:lnTo>
                <a:lnTo>
                  <a:pt x="812835" y="43139"/>
                </a:lnTo>
                <a:lnTo>
                  <a:pt x="811969" y="42090"/>
                </a:lnTo>
                <a:lnTo>
                  <a:pt x="811102" y="41041"/>
                </a:lnTo>
                <a:lnTo>
                  <a:pt x="809803" y="39467"/>
                </a:lnTo>
                <a:lnTo>
                  <a:pt x="809803" y="38418"/>
                </a:lnTo>
                <a:lnTo>
                  <a:pt x="809803" y="36320"/>
                </a:lnTo>
                <a:lnTo>
                  <a:pt x="811102" y="33697"/>
                </a:lnTo>
                <a:lnTo>
                  <a:pt x="812835" y="31599"/>
                </a:lnTo>
                <a:lnTo>
                  <a:pt x="815001" y="28976"/>
                </a:lnTo>
                <a:lnTo>
                  <a:pt x="818034" y="26878"/>
                </a:lnTo>
                <a:lnTo>
                  <a:pt x="821500" y="24779"/>
                </a:lnTo>
                <a:lnTo>
                  <a:pt x="823830" y="23839"/>
                </a:lnTo>
                <a:lnTo>
                  <a:pt x="824925" y="21821"/>
                </a:lnTo>
                <a:lnTo>
                  <a:pt x="827091" y="18096"/>
                </a:lnTo>
                <a:lnTo>
                  <a:pt x="829257" y="14902"/>
                </a:lnTo>
                <a:lnTo>
                  <a:pt x="831423" y="11709"/>
                </a:lnTo>
                <a:lnTo>
                  <a:pt x="834455" y="10112"/>
                </a:lnTo>
                <a:lnTo>
                  <a:pt x="836621" y="7983"/>
                </a:lnTo>
                <a:lnTo>
                  <a:pt x="839654" y="6919"/>
                </a:lnTo>
                <a:lnTo>
                  <a:pt x="842686" y="6387"/>
                </a:lnTo>
                <a:lnTo>
                  <a:pt x="848752" y="7983"/>
                </a:lnTo>
                <a:lnTo>
                  <a:pt x="854383" y="10112"/>
                </a:lnTo>
                <a:lnTo>
                  <a:pt x="848752" y="20225"/>
                </a:lnTo>
                <a:lnTo>
                  <a:pt x="860015" y="20225"/>
                </a:lnTo>
                <a:lnTo>
                  <a:pt x="861790" y="18978"/>
                </a:lnTo>
                <a:lnTo>
                  <a:pt x="861790" y="14288"/>
                </a:lnTo>
                <a:lnTo>
                  <a:pt x="870013" y="14288"/>
                </a:lnTo>
                <a:lnTo>
                  <a:pt x="870846" y="12241"/>
                </a:lnTo>
                <a:lnTo>
                  <a:pt x="871279" y="10112"/>
                </a:lnTo>
                <a:lnTo>
                  <a:pt x="879510" y="14370"/>
                </a:lnTo>
                <a:lnTo>
                  <a:pt x="880350" y="14886"/>
                </a:lnTo>
                <a:lnTo>
                  <a:pt x="882586" y="15337"/>
                </a:lnTo>
                <a:lnTo>
                  <a:pt x="885618" y="16386"/>
                </a:lnTo>
                <a:lnTo>
                  <a:pt x="887351" y="17435"/>
                </a:lnTo>
                <a:lnTo>
                  <a:pt x="886392" y="18597"/>
                </a:lnTo>
                <a:lnTo>
                  <a:pt x="887308" y="19160"/>
                </a:lnTo>
                <a:lnTo>
                  <a:pt x="891275" y="22705"/>
                </a:lnTo>
                <a:lnTo>
                  <a:pt x="892073" y="22185"/>
                </a:lnTo>
                <a:lnTo>
                  <a:pt x="892073" y="10112"/>
                </a:lnTo>
                <a:lnTo>
                  <a:pt x="903770" y="10112"/>
                </a:lnTo>
                <a:lnTo>
                  <a:pt x="912868" y="10112"/>
                </a:lnTo>
                <a:lnTo>
                  <a:pt x="919366" y="10112"/>
                </a:lnTo>
                <a:lnTo>
                  <a:pt x="923265" y="10112"/>
                </a:lnTo>
                <a:lnTo>
                  <a:pt x="927597" y="10112"/>
                </a:lnTo>
                <a:lnTo>
                  <a:pt x="931929" y="10112"/>
                </a:lnTo>
                <a:lnTo>
                  <a:pt x="933229" y="9048"/>
                </a:lnTo>
                <a:lnTo>
                  <a:pt x="934962" y="8516"/>
                </a:lnTo>
                <a:lnTo>
                  <a:pt x="936695" y="7451"/>
                </a:lnTo>
                <a:lnTo>
                  <a:pt x="937561" y="6387"/>
                </a:lnTo>
                <a:lnTo>
                  <a:pt x="938861" y="7451"/>
                </a:lnTo>
                <a:lnTo>
                  <a:pt x="940594" y="7451"/>
                </a:lnTo>
                <a:lnTo>
                  <a:pt x="941893" y="6919"/>
                </a:lnTo>
                <a:lnTo>
                  <a:pt x="943193" y="5854"/>
                </a:lnTo>
                <a:lnTo>
                  <a:pt x="944059" y="4258"/>
                </a:lnTo>
                <a:lnTo>
                  <a:pt x="945792" y="3193"/>
                </a:lnTo>
                <a:lnTo>
                  <a:pt x="946226" y="1597"/>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oAutofit/>
          </a:bodyPr>
          <a:lstStyle/>
          <a:p>
            <a:endParaRPr lang="it-IT"/>
          </a:p>
        </p:txBody>
      </p:sp>
      <p:sp>
        <p:nvSpPr>
          <p:cNvPr id="5" name="CasellaDiTesto 4">
            <a:extLst>
              <a:ext uri="{FF2B5EF4-FFF2-40B4-BE49-F238E27FC236}">
                <a16:creationId xmlns:a16="http://schemas.microsoft.com/office/drawing/2014/main" id="{C4A08EA4-B5F4-654C-9CFA-6CBDD31A07B6}"/>
              </a:ext>
            </a:extLst>
          </p:cNvPr>
          <p:cNvSpPr txBox="1"/>
          <p:nvPr/>
        </p:nvSpPr>
        <p:spPr>
          <a:xfrm>
            <a:off x="4065254" y="332510"/>
            <a:ext cx="4061497" cy="584775"/>
          </a:xfrm>
          <a:prstGeom prst="rect">
            <a:avLst/>
          </a:prstGeom>
          <a:noFill/>
        </p:spPr>
        <p:txBody>
          <a:bodyPr wrap="none" rtlCol="0">
            <a:spAutoFit/>
          </a:bodyPr>
          <a:lstStyle/>
          <a:p>
            <a:pPr algn="ctr"/>
            <a:r>
              <a:rPr lang="it-IT" sz="3200" b="1" dirty="0">
                <a:solidFill>
                  <a:srgbClr val="19436B"/>
                </a:solidFill>
                <a:latin typeface="Times New Roman" panose="02020603050405020304" pitchFamily="18" charset="0"/>
                <a:cs typeface="Times New Roman" panose="02020603050405020304" pitchFamily="18" charset="0"/>
              </a:rPr>
              <a:t>BATTLE OF FORMS</a:t>
            </a:r>
          </a:p>
        </p:txBody>
      </p:sp>
      <p:sp>
        <p:nvSpPr>
          <p:cNvPr id="7" name="Rettangolo 6">
            <a:extLst>
              <a:ext uri="{FF2B5EF4-FFF2-40B4-BE49-F238E27FC236}">
                <a16:creationId xmlns:a16="http://schemas.microsoft.com/office/drawing/2014/main" id="{6A0C1A56-C4D6-3749-85B4-0C00766977C4}"/>
              </a:ext>
            </a:extLst>
          </p:cNvPr>
          <p:cNvSpPr/>
          <p:nvPr/>
        </p:nvSpPr>
        <p:spPr>
          <a:xfrm>
            <a:off x="8316568" y="1992501"/>
            <a:ext cx="3012142" cy="1520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8" name="CasellaDiTesto 7">
            <a:extLst>
              <a:ext uri="{FF2B5EF4-FFF2-40B4-BE49-F238E27FC236}">
                <a16:creationId xmlns:a16="http://schemas.microsoft.com/office/drawing/2014/main" id="{27BB3160-7AA0-4440-9E7D-EDF45A1E9392}"/>
              </a:ext>
            </a:extLst>
          </p:cNvPr>
          <p:cNvSpPr txBox="1"/>
          <p:nvPr/>
        </p:nvSpPr>
        <p:spPr>
          <a:xfrm>
            <a:off x="8316568" y="2135576"/>
            <a:ext cx="3012142" cy="369332"/>
          </a:xfrm>
          <a:prstGeom prst="rect">
            <a:avLst/>
          </a:prstGeom>
          <a:noFill/>
        </p:spPr>
        <p:txBody>
          <a:bodyPr wrap="square" rtlCol="0">
            <a:spAutoFit/>
          </a:bodyPr>
          <a:lstStyle/>
          <a:p>
            <a:pPr algn="ctr"/>
            <a:r>
              <a:rPr lang="it-IT" b="1" dirty="0">
                <a:solidFill>
                  <a:srgbClr val="19436B"/>
                </a:solidFill>
                <a:latin typeface="Times New Roman" panose="02020603050405020304" pitchFamily="18" charset="0"/>
                <a:cs typeface="Times New Roman" panose="02020603050405020304" pitchFamily="18" charset="0"/>
              </a:rPr>
              <a:t>KNOCK OUT RULE</a:t>
            </a:r>
          </a:p>
        </p:txBody>
      </p:sp>
      <p:sp>
        <p:nvSpPr>
          <p:cNvPr id="9" name="CasellaDiTesto 8">
            <a:extLst>
              <a:ext uri="{FF2B5EF4-FFF2-40B4-BE49-F238E27FC236}">
                <a16:creationId xmlns:a16="http://schemas.microsoft.com/office/drawing/2014/main" id="{EFF84308-FB6E-9B44-9F58-12591F45911F}"/>
              </a:ext>
            </a:extLst>
          </p:cNvPr>
          <p:cNvSpPr txBox="1"/>
          <p:nvPr/>
        </p:nvSpPr>
        <p:spPr>
          <a:xfrm>
            <a:off x="8715940" y="2487396"/>
            <a:ext cx="2144818" cy="261610"/>
          </a:xfrm>
          <a:prstGeom prst="rect">
            <a:avLst/>
          </a:prstGeom>
          <a:noFill/>
        </p:spPr>
        <p:txBody>
          <a:bodyPr wrap="none" lIns="0" tIns="0" rIns="0" bIns="0" rtlCol="0">
            <a:spAutoFit/>
          </a:bodyPr>
          <a:lstStyle/>
          <a:p>
            <a:r>
              <a:rPr lang="it-IT" sz="1700" dirty="0">
                <a:latin typeface="Times New Roman" panose="02020603050405020304" pitchFamily="18" charset="0"/>
                <a:cs typeface="Times New Roman" panose="02020603050405020304" pitchFamily="18" charset="0"/>
              </a:rPr>
              <a:t>Giurisprudenza tedesca,</a:t>
            </a:r>
          </a:p>
        </p:txBody>
      </p:sp>
      <p:sp>
        <p:nvSpPr>
          <p:cNvPr id="10" name="CasellaDiTesto 9">
            <a:extLst>
              <a:ext uri="{FF2B5EF4-FFF2-40B4-BE49-F238E27FC236}">
                <a16:creationId xmlns:a16="http://schemas.microsoft.com/office/drawing/2014/main" id="{7547F470-2528-0747-8B0A-4B17CD144CCC}"/>
              </a:ext>
            </a:extLst>
          </p:cNvPr>
          <p:cNvSpPr txBox="1"/>
          <p:nvPr/>
        </p:nvSpPr>
        <p:spPr>
          <a:xfrm>
            <a:off x="9114973" y="2759035"/>
            <a:ext cx="1243930" cy="261610"/>
          </a:xfrm>
          <a:prstGeom prst="rect">
            <a:avLst/>
          </a:prstGeom>
          <a:noFill/>
        </p:spPr>
        <p:txBody>
          <a:bodyPr wrap="none" lIns="0" tIns="0" rIns="0" bIns="0" rtlCol="0">
            <a:spAutoFit/>
          </a:bodyPr>
          <a:lstStyle/>
          <a:p>
            <a:r>
              <a:rPr lang="it-IT" sz="1700" dirty="0">
                <a:latin typeface="Times New Roman" panose="02020603050405020304" pitchFamily="18" charset="0"/>
                <a:cs typeface="Times New Roman" panose="02020603050405020304" pitchFamily="18" charset="0"/>
              </a:rPr>
              <a:t>austriaca e dai</a:t>
            </a:r>
          </a:p>
        </p:txBody>
      </p:sp>
      <p:sp>
        <p:nvSpPr>
          <p:cNvPr id="12" name="CasellaDiTesto 11">
            <a:extLst>
              <a:ext uri="{FF2B5EF4-FFF2-40B4-BE49-F238E27FC236}">
                <a16:creationId xmlns:a16="http://schemas.microsoft.com/office/drawing/2014/main" id="{3CC78809-690A-C047-8FD0-063647D3740C}"/>
              </a:ext>
            </a:extLst>
          </p:cNvPr>
          <p:cNvSpPr txBox="1"/>
          <p:nvPr/>
        </p:nvSpPr>
        <p:spPr>
          <a:xfrm>
            <a:off x="8780862" y="3052941"/>
            <a:ext cx="2014975" cy="261610"/>
          </a:xfrm>
          <a:prstGeom prst="rect">
            <a:avLst/>
          </a:prstGeom>
          <a:noFill/>
        </p:spPr>
        <p:txBody>
          <a:bodyPr wrap="none" lIns="0" tIns="0" rIns="0" bIns="0" rtlCol="0">
            <a:spAutoFit/>
          </a:bodyPr>
          <a:lstStyle/>
          <a:p>
            <a:r>
              <a:rPr lang="it-IT" sz="1700" dirty="0">
                <a:latin typeface="Times New Roman" panose="02020603050405020304" pitchFamily="18" charset="0"/>
                <a:cs typeface="Times New Roman" panose="02020603050405020304" pitchFamily="18" charset="0"/>
              </a:rPr>
              <a:t>Principi UNIDROIT…</a:t>
            </a:r>
          </a:p>
        </p:txBody>
      </p:sp>
      <p:sp>
        <p:nvSpPr>
          <p:cNvPr id="2" name="Goccia 1">
            <a:extLst>
              <a:ext uri="{FF2B5EF4-FFF2-40B4-BE49-F238E27FC236}">
                <a16:creationId xmlns:a16="http://schemas.microsoft.com/office/drawing/2014/main" id="{947B7086-37F0-EB4B-862C-4F1257BE1879}"/>
              </a:ext>
            </a:extLst>
          </p:cNvPr>
          <p:cNvSpPr/>
          <p:nvPr/>
        </p:nvSpPr>
        <p:spPr>
          <a:xfrm rot="8079757">
            <a:off x="5800393" y="4743181"/>
            <a:ext cx="198523" cy="197170"/>
          </a:xfrm>
          <a:prstGeom prst="teardrop">
            <a:avLst/>
          </a:prstGeom>
          <a:solidFill>
            <a:srgbClr val="1B4A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 name="Goccia 12">
            <a:extLst>
              <a:ext uri="{FF2B5EF4-FFF2-40B4-BE49-F238E27FC236}">
                <a16:creationId xmlns:a16="http://schemas.microsoft.com/office/drawing/2014/main" id="{652F8558-4D85-D84D-BC47-828F0B998371}"/>
              </a:ext>
            </a:extLst>
          </p:cNvPr>
          <p:cNvSpPr/>
          <p:nvPr/>
        </p:nvSpPr>
        <p:spPr>
          <a:xfrm rot="8079757">
            <a:off x="5483448" y="3682075"/>
            <a:ext cx="198523" cy="197170"/>
          </a:xfrm>
          <a:prstGeom prst="teardrop">
            <a:avLst/>
          </a:prstGeom>
          <a:solidFill>
            <a:srgbClr val="1B4A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5" name="Goccia 14">
            <a:extLst>
              <a:ext uri="{FF2B5EF4-FFF2-40B4-BE49-F238E27FC236}">
                <a16:creationId xmlns:a16="http://schemas.microsoft.com/office/drawing/2014/main" id="{47386474-48D0-A342-88A5-BE15704C6D38}"/>
              </a:ext>
            </a:extLst>
          </p:cNvPr>
          <p:cNvSpPr/>
          <p:nvPr/>
        </p:nvSpPr>
        <p:spPr>
          <a:xfrm rot="8079757">
            <a:off x="5725067" y="4110393"/>
            <a:ext cx="198523" cy="197170"/>
          </a:xfrm>
          <a:prstGeom prst="teardrop">
            <a:avLst/>
          </a:prstGeom>
          <a:solidFill>
            <a:srgbClr val="1B4A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22" name="Gruppo 21">
            <a:extLst>
              <a:ext uri="{FF2B5EF4-FFF2-40B4-BE49-F238E27FC236}">
                <a16:creationId xmlns:a16="http://schemas.microsoft.com/office/drawing/2014/main" id="{DAE259F2-92AD-BA48-8A24-6D930350D587}"/>
              </a:ext>
            </a:extLst>
          </p:cNvPr>
          <p:cNvGrpSpPr/>
          <p:nvPr/>
        </p:nvGrpSpPr>
        <p:grpSpPr>
          <a:xfrm>
            <a:off x="5626182" y="2420720"/>
            <a:ext cx="2690386" cy="1359941"/>
            <a:chOff x="5626182" y="2420720"/>
            <a:chExt cx="2690386" cy="1359941"/>
          </a:xfrm>
        </p:grpSpPr>
        <p:cxnSp>
          <p:nvCxnSpPr>
            <p:cNvPr id="18" name="Connettore 1 17">
              <a:extLst>
                <a:ext uri="{FF2B5EF4-FFF2-40B4-BE49-F238E27FC236}">
                  <a16:creationId xmlns:a16="http://schemas.microsoft.com/office/drawing/2014/main" id="{D625006B-DFCE-114E-ACC8-9E3E0BEF3E29}"/>
                </a:ext>
              </a:extLst>
            </p:cNvPr>
            <p:cNvCxnSpPr>
              <a:cxnSpLocks/>
            </p:cNvCxnSpPr>
            <p:nvPr/>
          </p:nvCxnSpPr>
          <p:spPr>
            <a:xfrm flipV="1">
              <a:off x="5626182" y="2420720"/>
              <a:ext cx="1398329" cy="1359941"/>
            </a:xfrm>
            <a:prstGeom prst="line">
              <a:avLst/>
            </a:prstGeom>
            <a:ln>
              <a:solidFill>
                <a:srgbClr val="1B4A76"/>
              </a:solidFill>
            </a:ln>
          </p:spPr>
          <p:style>
            <a:lnRef idx="3">
              <a:schemeClr val="accent3"/>
            </a:lnRef>
            <a:fillRef idx="0">
              <a:schemeClr val="accent3"/>
            </a:fillRef>
            <a:effectRef idx="2">
              <a:schemeClr val="accent3"/>
            </a:effectRef>
            <a:fontRef idx="minor">
              <a:schemeClr val="tx1"/>
            </a:fontRef>
          </p:style>
        </p:cxnSp>
        <p:cxnSp>
          <p:nvCxnSpPr>
            <p:cNvPr id="21" name="Connettore 1 20">
              <a:extLst>
                <a:ext uri="{FF2B5EF4-FFF2-40B4-BE49-F238E27FC236}">
                  <a16:creationId xmlns:a16="http://schemas.microsoft.com/office/drawing/2014/main" id="{92657106-B260-744E-9931-F0362E7EA70E}"/>
                </a:ext>
              </a:extLst>
            </p:cNvPr>
            <p:cNvCxnSpPr/>
            <p:nvPr/>
          </p:nvCxnSpPr>
          <p:spPr>
            <a:xfrm>
              <a:off x="7024511" y="2420720"/>
              <a:ext cx="1292057" cy="0"/>
            </a:xfrm>
            <a:prstGeom prst="line">
              <a:avLst/>
            </a:prstGeom>
            <a:ln>
              <a:solidFill>
                <a:srgbClr val="1B4A76"/>
              </a:solidFill>
            </a:ln>
          </p:spPr>
          <p:style>
            <a:lnRef idx="3">
              <a:schemeClr val="accent1"/>
            </a:lnRef>
            <a:fillRef idx="0">
              <a:schemeClr val="accent1"/>
            </a:fillRef>
            <a:effectRef idx="2">
              <a:schemeClr val="accent1"/>
            </a:effectRef>
            <a:fontRef idx="minor">
              <a:schemeClr val="tx1"/>
            </a:fontRef>
          </p:style>
        </p:cxnSp>
      </p:grpSp>
      <p:grpSp>
        <p:nvGrpSpPr>
          <p:cNvPr id="35" name="Gruppo 34">
            <a:extLst>
              <a:ext uri="{FF2B5EF4-FFF2-40B4-BE49-F238E27FC236}">
                <a16:creationId xmlns:a16="http://schemas.microsoft.com/office/drawing/2014/main" id="{1A5AD65D-896A-DD41-AB7C-FBDC5F142274}"/>
              </a:ext>
            </a:extLst>
          </p:cNvPr>
          <p:cNvGrpSpPr/>
          <p:nvPr/>
        </p:nvGrpSpPr>
        <p:grpSpPr>
          <a:xfrm>
            <a:off x="5882223" y="3062497"/>
            <a:ext cx="2422530" cy="1098614"/>
            <a:chOff x="5894102" y="2443135"/>
            <a:chExt cx="2422530" cy="1098614"/>
          </a:xfrm>
        </p:grpSpPr>
        <p:cxnSp>
          <p:nvCxnSpPr>
            <p:cNvPr id="36" name="Connettore 1 35">
              <a:extLst>
                <a:ext uri="{FF2B5EF4-FFF2-40B4-BE49-F238E27FC236}">
                  <a16:creationId xmlns:a16="http://schemas.microsoft.com/office/drawing/2014/main" id="{574E8418-A3B2-454A-96C7-42F064F3A888}"/>
                </a:ext>
              </a:extLst>
            </p:cNvPr>
            <p:cNvCxnSpPr>
              <a:cxnSpLocks/>
              <a:stCxn id="15" idx="4"/>
            </p:cNvCxnSpPr>
            <p:nvPr/>
          </p:nvCxnSpPr>
          <p:spPr>
            <a:xfrm flipV="1">
              <a:off x="5894102" y="2443135"/>
              <a:ext cx="1130473" cy="1098614"/>
            </a:xfrm>
            <a:prstGeom prst="line">
              <a:avLst/>
            </a:prstGeom>
            <a:ln>
              <a:solidFill>
                <a:srgbClr val="1B4A76"/>
              </a:solidFill>
            </a:ln>
          </p:spPr>
          <p:style>
            <a:lnRef idx="3">
              <a:schemeClr val="accent3"/>
            </a:lnRef>
            <a:fillRef idx="0">
              <a:schemeClr val="accent3"/>
            </a:fillRef>
            <a:effectRef idx="2">
              <a:schemeClr val="accent3"/>
            </a:effectRef>
            <a:fontRef idx="minor">
              <a:schemeClr val="tx1"/>
            </a:fontRef>
          </p:style>
        </p:cxnSp>
        <p:cxnSp>
          <p:nvCxnSpPr>
            <p:cNvPr id="37" name="Connettore 1 36">
              <a:extLst>
                <a:ext uri="{FF2B5EF4-FFF2-40B4-BE49-F238E27FC236}">
                  <a16:creationId xmlns:a16="http://schemas.microsoft.com/office/drawing/2014/main" id="{C2109F96-7416-4B44-B361-5CA50594558B}"/>
                </a:ext>
              </a:extLst>
            </p:cNvPr>
            <p:cNvCxnSpPr/>
            <p:nvPr/>
          </p:nvCxnSpPr>
          <p:spPr>
            <a:xfrm>
              <a:off x="7024575" y="2450762"/>
              <a:ext cx="1292057" cy="0"/>
            </a:xfrm>
            <a:prstGeom prst="line">
              <a:avLst/>
            </a:prstGeom>
            <a:ln>
              <a:solidFill>
                <a:srgbClr val="1B4A76"/>
              </a:solidFill>
            </a:ln>
          </p:spPr>
          <p:style>
            <a:lnRef idx="3">
              <a:schemeClr val="accent1"/>
            </a:lnRef>
            <a:fillRef idx="0">
              <a:schemeClr val="accent1"/>
            </a:fillRef>
            <a:effectRef idx="2">
              <a:schemeClr val="accent1"/>
            </a:effectRef>
            <a:fontRef idx="minor">
              <a:schemeClr val="tx1"/>
            </a:fontRef>
          </p:style>
        </p:cxnSp>
      </p:grpSp>
      <p:grpSp>
        <p:nvGrpSpPr>
          <p:cNvPr id="51" name="Gruppo 50">
            <a:extLst>
              <a:ext uri="{FF2B5EF4-FFF2-40B4-BE49-F238E27FC236}">
                <a16:creationId xmlns:a16="http://schemas.microsoft.com/office/drawing/2014/main" id="{8583FE89-EBDA-6E4E-8A30-2229588F8DD5}"/>
              </a:ext>
            </a:extLst>
          </p:cNvPr>
          <p:cNvGrpSpPr/>
          <p:nvPr/>
        </p:nvGrpSpPr>
        <p:grpSpPr>
          <a:xfrm>
            <a:off x="5952056" y="3414635"/>
            <a:ext cx="2364512" cy="1359941"/>
            <a:chOff x="5626182" y="2420720"/>
            <a:chExt cx="2364512" cy="1359941"/>
          </a:xfrm>
        </p:grpSpPr>
        <p:cxnSp>
          <p:nvCxnSpPr>
            <p:cNvPr id="52" name="Connettore 1 51">
              <a:extLst>
                <a:ext uri="{FF2B5EF4-FFF2-40B4-BE49-F238E27FC236}">
                  <a16:creationId xmlns:a16="http://schemas.microsoft.com/office/drawing/2014/main" id="{46CAE186-BD4E-5349-9837-FF9B5BFEB27B}"/>
                </a:ext>
              </a:extLst>
            </p:cNvPr>
            <p:cNvCxnSpPr>
              <a:cxnSpLocks/>
            </p:cNvCxnSpPr>
            <p:nvPr/>
          </p:nvCxnSpPr>
          <p:spPr>
            <a:xfrm flipV="1">
              <a:off x="5626182" y="2420720"/>
              <a:ext cx="1398329" cy="1359941"/>
            </a:xfrm>
            <a:prstGeom prst="line">
              <a:avLst/>
            </a:prstGeom>
            <a:ln>
              <a:solidFill>
                <a:srgbClr val="1B4A76"/>
              </a:solidFill>
            </a:ln>
          </p:spPr>
          <p:style>
            <a:lnRef idx="3">
              <a:schemeClr val="accent3"/>
            </a:lnRef>
            <a:fillRef idx="0">
              <a:schemeClr val="accent3"/>
            </a:fillRef>
            <a:effectRef idx="2">
              <a:schemeClr val="accent3"/>
            </a:effectRef>
            <a:fontRef idx="minor">
              <a:schemeClr val="tx1"/>
            </a:fontRef>
          </p:style>
        </p:cxnSp>
        <p:cxnSp>
          <p:nvCxnSpPr>
            <p:cNvPr id="53" name="Connettore 1 52">
              <a:extLst>
                <a:ext uri="{FF2B5EF4-FFF2-40B4-BE49-F238E27FC236}">
                  <a16:creationId xmlns:a16="http://schemas.microsoft.com/office/drawing/2014/main" id="{3425DA4B-DFE0-6A4B-B5A5-9C676D039146}"/>
                </a:ext>
              </a:extLst>
            </p:cNvPr>
            <p:cNvCxnSpPr>
              <a:cxnSpLocks/>
            </p:cNvCxnSpPr>
            <p:nvPr/>
          </p:nvCxnSpPr>
          <p:spPr>
            <a:xfrm>
              <a:off x="7024511" y="2420720"/>
              <a:ext cx="966183" cy="0"/>
            </a:xfrm>
            <a:prstGeom prst="line">
              <a:avLst/>
            </a:prstGeom>
            <a:ln>
              <a:solidFill>
                <a:srgbClr val="1B4A76"/>
              </a:solidFill>
            </a:ln>
          </p:spPr>
          <p:style>
            <a:lnRef idx="3">
              <a:schemeClr val="accent1"/>
            </a:lnRef>
            <a:fillRef idx="0">
              <a:schemeClr val="accent1"/>
            </a:fillRef>
            <a:effectRef idx="2">
              <a:schemeClr val="accent1"/>
            </a:effectRef>
            <a:fontRef idx="minor">
              <a:schemeClr val="tx1"/>
            </a:fontRef>
          </p:style>
        </p:cxnSp>
      </p:grpSp>
      <p:sp>
        <p:nvSpPr>
          <p:cNvPr id="55" name="Rettangolo 54">
            <a:extLst>
              <a:ext uri="{FF2B5EF4-FFF2-40B4-BE49-F238E27FC236}">
                <a16:creationId xmlns:a16="http://schemas.microsoft.com/office/drawing/2014/main" id="{B088AD9F-9641-D849-9588-DF8A4981BFA2}"/>
              </a:ext>
            </a:extLst>
          </p:cNvPr>
          <p:cNvSpPr/>
          <p:nvPr/>
        </p:nvSpPr>
        <p:spPr>
          <a:xfrm>
            <a:off x="8325197" y="3607224"/>
            <a:ext cx="3003513" cy="719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 name="CasellaDiTesto 2">
            <a:extLst>
              <a:ext uri="{FF2B5EF4-FFF2-40B4-BE49-F238E27FC236}">
                <a16:creationId xmlns:a16="http://schemas.microsoft.com/office/drawing/2014/main" id="{EA14CDE8-9F11-DE4F-BFA6-9337DF2FA4CE}"/>
              </a:ext>
            </a:extLst>
          </p:cNvPr>
          <p:cNvSpPr txBox="1"/>
          <p:nvPr/>
        </p:nvSpPr>
        <p:spPr>
          <a:xfrm>
            <a:off x="7975553" y="3699106"/>
            <a:ext cx="3694169" cy="276999"/>
          </a:xfrm>
          <a:prstGeom prst="rect">
            <a:avLst/>
          </a:prstGeom>
          <a:noFill/>
        </p:spPr>
        <p:txBody>
          <a:bodyPr wrap="square" lIns="0" tIns="0" rIns="0" bIns="0" rtlCol="0">
            <a:spAutoFit/>
          </a:bodyPr>
          <a:lstStyle/>
          <a:p>
            <a:pPr algn="ctr"/>
            <a:r>
              <a:rPr lang="it-IT" b="1" dirty="0">
                <a:solidFill>
                  <a:srgbClr val="19436B"/>
                </a:solidFill>
                <a:latin typeface="Times New Roman" panose="02020603050405020304" pitchFamily="18" charset="0"/>
                <a:cs typeface="Times New Roman" panose="02020603050405020304" pitchFamily="18" charset="0"/>
              </a:rPr>
              <a:t>Precisazione</a:t>
            </a:r>
          </a:p>
        </p:txBody>
      </p:sp>
      <p:sp>
        <p:nvSpPr>
          <p:cNvPr id="6" name="CasellaDiTesto 5">
            <a:extLst>
              <a:ext uri="{FF2B5EF4-FFF2-40B4-BE49-F238E27FC236}">
                <a16:creationId xmlns:a16="http://schemas.microsoft.com/office/drawing/2014/main" id="{C5729CF1-1915-5B41-8A73-EFFE5CB75FE3}"/>
              </a:ext>
            </a:extLst>
          </p:cNvPr>
          <p:cNvSpPr txBox="1"/>
          <p:nvPr/>
        </p:nvSpPr>
        <p:spPr>
          <a:xfrm>
            <a:off x="9394014" y="3944933"/>
            <a:ext cx="902667" cy="261610"/>
          </a:xfrm>
          <a:prstGeom prst="rect">
            <a:avLst/>
          </a:prstGeom>
          <a:noFill/>
        </p:spPr>
        <p:txBody>
          <a:bodyPr wrap="square" lIns="0" tIns="0" rIns="0" bIns="0" rtlCol="0">
            <a:spAutoFit/>
          </a:bodyPr>
          <a:lstStyle/>
          <a:p>
            <a:pPr algn="ctr"/>
            <a:r>
              <a:rPr lang="it-IT" sz="1700" dirty="0">
                <a:latin typeface="Times New Roman" panose="02020603050405020304" pitchFamily="18" charset="0"/>
                <a:cs typeface="Times New Roman" panose="02020603050405020304" pitchFamily="18" charset="0"/>
              </a:rPr>
              <a:t>Francia</a:t>
            </a:r>
          </a:p>
        </p:txBody>
      </p:sp>
      <p:sp>
        <p:nvSpPr>
          <p:cNvPr id="30" name="Goccia 29">
            <a:extLst>
              <a:ext uri="{FF2B5EF4-FFF2-40B4-BE49-F238E27FC236}">
                <a16:creationId xmlns:a16="http://schemas.microsoft.com/office/drawing/2014/main" id="{B7CA8353-9FCB-8D45-9129-69175EA024C0}"/>
              </a:ext>
            </a:extLst>
          </p:cNvPr>
          <p:cNvSpPr/>
          <p:nvPr/>
        </p:nvSpPr>
        <p:spPr>
          <a:xfrm rot="8079757">
            <a:off x="4551472" y="4390192"/>
            <a:ext cx="198523" cy="197170"/>
          </a:xfrm>
          <a:prstGeom prst="teardrop">
            <a:avLst/>
          </a:prstGeom>
          <a:solidFill>
            <a:srgbClr val="1943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31" name="Gruppo 30">
            <a:extLst>
              <a:ext uri="{FF2B5EF4-FFF2-40B4-BE49-F238E27FC236}">
                <a16:creationId xmlns:a16="http://schemas.microsoft.com/office/drawing/2014/main" id="{697DE541-BCE7-5148-9932-BF668653B097}"/>
              </a:ext>
            </a:extLst>
          </p:cNvPr>
          <p:cNvGrpSpPr/>
          <p:nvPr/>
        </p:nvGrpSpPr>
        <p:grpSpPr>
          <a:xfrm>
            <a:off x="4731317" y="4004421"/>
            <a:ext cx="3593880" cy="475362"/>
            <a:chOff x="4673126" y="1832422"/>
            <a:chExt cx="3593880" cy="475362"/>
          </a:xfrm>
        </p:grpSpPr>
        <p:cxnSp>
          <p:nvCxnSpPr>
            <p:cNvPr id="32" name="Connettore 1 31">
              <a:extLst>
                <a:ext uri="{FF2B5EF4-FFF2-40B4-BE49-F238E27FC236}">
                  <a16:creationId xmlns:a16="http://schemas.microsoft.com/office/drawing/2014/main" id="{FFBF2929-4D4E-0146-A661-2FED77598667}"/>
                </a:ext>
              </a:extLst>
            </p:cNvPr>
            <p:cNvCxnSpPr>
              <a:cxnSpLocks/>
            </p:cNvCxnSpPr>
            <p:nvPr/>
          </p:nvCxnSpPr>
          <p:spPr>
            <a:xfrm flipV="1">
              <a:off x="4673126" y="1835938"/>
              <a:ext cx="501276" cy="471846"/>
            </a:xfrm>
            <a:prstGeom prst="line">
              <a:avLst/>
            </a:prstGeom>
            <a:ln>
              <a:solidFill>
                <a:srgbClr val="1B4A76"/>
              </a:solidFill>
            </a:ln>
          </p:spPr>
          <p:style>
            <a:lnRef idx="3">
              <a:schemeClr val="accent3"/>
            </a:lnRef>
            <a:fillRef idx="0">
              <a:schemeClr val="accent3"/>
            </a:fillRef>
            <a:effectRef idx="2">
              <a:schemeClr val="accent3"/>
            </a:effectRef>
            <a:fontRef idx="minor">
              <a:schemeClr val="tx1"/>
            </a:fontRef>
          </p:style>
        </p:cxnSp>
        <p:cxnSp>
          <p:nvCxnSpPr>
            <p:cNvPr id="33" name="Connettore 1 32">
              <a:extLst>
                <a:ext uri="{FF2B5EF4-FFF2-40B4-BE49-F238E27FC236}">
                  <a16:creationId xmlns:a16="http://schemas.microsoft.com/office/drawing/2014/main" id="{BF86C7B1-82B3-8C40-8F63-E36D8B0BE2E7}"/>
                </a:ext>
              </a:extLst>
            </p:cNvPr>
            <p:cNvCxnSpPr>
              <a:cxnSpLocks/>
            </p:cNvCxnSpPr>
            <p:nvPr/>
          </p:nvCxnSpPr>
          <p:spPr>
            <a:xfrm flipV="1">
              <a:off x="5174402" y="1832422"/>
              <a:ext cx="3092604" cy="9261"/>
            </a:xfrm>
            <a:prstGeom prst="line">
              <a:avLst/>
            </a:prstGeom>
            <a:ln>
              <a:solidFill>
                <a:srgbClr val="1B4A76"/>
              </a:solidFill>
            </a:ln>
          </p:spPr>
          <p:style>
            <a:lnRef idx="3">
              <a:schemeClr val="accent1"/>
            </a:lnRef>
            <a:fillRef idx="0">
              <a:schemeClr val="accent1"/>
            </a:fillRef>
            <a:effectRef idx="2">
              <a:schemeClr val="accent1"/>
            </a:effectRef>
            <a:fontRef idx="minor">
              <a:schemeClr val="tx1"/>
            </a:fontRef>
          </p:style>
        </p:cxnSp>
      </p:grpSp>
      <p:sp>
        <p:nvSpPr>
          <p:cNvPr id="25" name="Rettangolo 24">
            <a:extLst>
              <a:ext uri="{FF2B5EF4-FFF2-40B4-BE49-F238E27FC236}">
                <a16:creationId xmlns:a16="http://schemas.microsoft.com/office/drawing/2014/main" id="{6266FC1F-6192-104B-AC71-D6FB4995F463}"/>
              </a:ext>
            </a:extLst>
          </p:cNvPr>
          <p:cNvSpPr/>
          <p:nvPr/>
        </p:nvSpPr>
        <p:spPr>
          <a:xfrm>
            <a:off x="863288" y="1992501"/>
            <a:ext cx="2519676" cy="10248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6" name="CasellaDiTesto 25">
            <a:extLst>
              <a:ext uri="{FF2B5EF4-FFF2-40B4-BE49-F238E27FC236}">
                <a16:creationId xmlns:a16="http://schemas.microsoft.com/office/drawing/2014/main" id="{1CFD5FBE-C3C3-0842-BEA3-61F7EDA94150}"/>
              </a:ext>
            </a:extLst>
          </p:cNvPr>
          <p:cNvSpPr txBox="1"/>
          <p:nvPr/>
        </p:nvSpPr>
        <p:spPr>
          <a:xfrm>
            <a:off x="1062083" y="2227909"/>
            <a:ext cx="2122086" cy="276999"/>
          </a:xfrm>
          <a:prstGeom prst="rect">
            <a:avLst/>
          </a:prstGeom>
          <a:noFill/>
        </p:spPr>
        <p:txBody>
          <a:bodyPr wrap="square" lIns="0" tIns="0" rIns="0" bIns="0" rtlCol="0">
            <a:spAutoFit/>
          </a:bodyPr>
          <a:lstStyle/>
          <a:p>
            <a:pPr algn="ctr"/>
            <a:r>
              <a:rPr lang="it-IT" b="1" dirty="0">
                <a:solidFill>
                  <a:srgbClr val="19436B"/>
                </a:solidFill>
                <a:latin typeface="Times New Roman" panose="02020603050405020304" pitchFamily="18" charset="0"/>
                <a:cs typeface="Times New Roman" panose="02020603050405020304" pitchFamily="18" charset="0"/>
              </a:rPr>
              <a:t>LAST SHOT RULE</a:t>
            </a:r>
          </a:p>
        </p:txBody>
      </p:sp>
      <p:sp>
        <p:nvSpPr>
          <p:cNvPr id="39" name="CasellaDiTesto 38">
            <a:extLst>
              <a:ext uri="{FF2B5EF4-FFF2-40B4-BE49-F238E27FC236}">
                <a16:creationId xmlns:a16="http://schemas.microsoft.com/office/drawing/2014/main" id="{14C15814-4615-114F-AFF8-1EB82929F77A}"/>
              </a:ext>
            </a:extLst>
          </p:cNvPr>
          <p:cNvSpPr txBox="1"/>
          <p:nvPr/>
        </p:nvSpPr>
        <p:spPr>
          <a:xfrm>
            <a:off x="1504158" y="2487396"/>
            <a:ext cx="1237935" cy="353943"/>
          </a:xfrm>
          <a:prstGeom prst="rect">
            <a:avLst/>
          </a:prstGeom>
          <a:noFill/>
        </p:spPr>
        <p:txBody>
          <a:bodyPr wrap="square" lIns="0" rIns="0" rtlCol="0">
            <a:spAutoFit/>
          </a:bodyPr>
          <a:lstStyle/>
          <a:p>
            <a:pPr algn="ctr"/>
            <a:r>
              <a:rPr lang="it-IT" sz="1700" dirty="0">
                <a:latin typeface="Times New Roman" panose="02020603050405020304" pitchFamily="18" charset="0"/>
                <a:cs typeface="Times New Roman" panose="02020603050405020304" pitchFamily="18" charset="0"/>
              </a:rPr>
              <a:t>Corti inglesi</a:t>
            </a:r>
          </a:p>
        </p:txBody>
      </p:sp>
      <p:sp>
        <p:nvSpPr>
          <p:cNvPr id="54" name="Goccia 53">
            <a:extLst>
              <a:ext uri="{FF2B5EF4-FFF2-40B4-BE49-F238E27FC236}">
                <a16:creationId xmlns:a16="http://schemas.microsoft.com/office/drawing/2014/main" id="{055B592C-822E-F14F-8BEB-5442F50FF632}"/>
              </a:ext>
            </a:extLst>
          </p:cNvPr>
          <p:cNvSpPr/>
          <p:nvPr/>
        </p:nvSpPr>
        <p:spPr>
          <a:xfrm rot="8079757">
            <a:off x="4454398" y="3266066"/>
            <a:ext cx="198523" cy="197170"/>
          </a:xfrm>
          <a:prstGeom prst="teardrop">
            <a:avLst/>
          </a:prstGeom>
          <a:solidFill>
            <a:srgbClr val="1943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59" name="Gruppo 58">
            <a:extLst>
              <a:ext uri="{FF2B5EF4-FFF2-40B4-BE49-F238E27FC236}">
                <a16:creationId xmlns:a16="http://schemas.microsoft.com/office/drawing/2014/main" id="{CF155749-9AC3-9345-869C-63B71DBBCDD4}"/>
              </a:ext>
            </a:extLst>
          </p:cNvPr>
          <p:cNvGrpSpPr/>
          <p:nvPr/>
        </p:nvGrpSpPr>
        <p:grpSpPr>
          <a:xfrm flipH="1">
            <a:off x="3382964" y="2538020"/>
            <a:ext cx="1157413" cy="863500"/>
            <a:chOff x="5060312" y="1186385"/>
            <a:chExt cx="1157413" cy="863500"/>
          </a:xfrm>
        </p:grpSpPr>
        <p:cxnSp>
          <p:nvCxnSpPr>
            <p:cNvPr id="60" name="Connettore 1 59">
              <a:extLst>
                <a:ext uri="{FF2B5EF4-FFF2-40B4-BE49-F238E27FC236}">
                  <a16:creationId xmlns:a16="http://schemas.microsoft.com/office/drawing/2014/main" id="{3709DBC6-A774-2A4B-BD62-DCB592D691CF}"/>
                </a:ext>
              </a:extLst>
            </p:cNvPr>
            <p:cNvCxnSpPr>
              <a:cxnSpLocks/>
            </p:cNvCxnSpPr>
            <p:nvPr/>
          </p:nvCxnSpPr>
          <p:spPr>
            <a:xfrm flipV="1">
              <a:off x="5060312" y="1186385"/>
              <a:ext cx="787075" cy="863500"/>
            </a:xfrm>
            <a:prstGeom prst="line">
              <a:avLst/>
            </a:prstGeom>
            <a:ln>
              <a:solidFill>
                <a:srgbClr val="1B4A76"/>
              </a:solidFill>
            </a:ln>
          </p:spPr>
          <p:style>
            <a:lnRef idx="3">
              <a:schemeClr val="accent3"/>
            </a:lnRef>
            <a:fillRef idx="0">
              <a:schemeClr val="accent3"/>
            </a:fillRef>
            <a:effectRef idx="2">
              <a:schemeClr val="accent3"/>
            </a:effectRef>
            <a:fontRef idx="minor">
              <a:schemeClr val="tx1"/>
            </a:fontRef>
          </p:style>
        </p:cxnSp>
        <p:cxnSp>
          <p:nvCxnSpPr>
            <p:cNvPr id="61" name="Connettore 1 60">
              <a:extLst>
                <a:ext uri="{FF2B5EF4-FFF2-40B4-BE49-F238E27FC236}">
                  <a16:creationId xmlns:a16="http://schemas.microsoft.com/office/drawing/2014/main" id="{6764C7DB-DDFA-4D40-8181-A24AD94F7FF4}"/>
                </a:ext>
              </a:extLst>
            </p:cNvPr>
            <p:cNvCxnSpPr>
              <a:cxnSpLocks/>
            </p:cNvCxnSpPr>
            <p:nvPr/>
          </p:nvCxnSpPr>
          <p:spPr>
            <a:xfrm>
              <a:off x="5847387" y="1186385"/>
              <a:ext cx="370338" cy="0"/>
            </a:xfrm>
            <a:prstGeom prst="line">
              <a:avLst/>
            </a:prstGeom>
            <a:ln>
              <a:solidFill>
                <a:srgbClr val="1B4A76"/>
              </a:solidFill>
            </a:ln>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1488501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8"/>
                                        </p:tgtEl>
                                        <p:attrNameLst>
                                          <p:attrName>style.visibility</p:attrName>
                                        </p:attrNameLst>
                                      </p:cBhvr>
                                      <p:to>
                                        <p:strVal val="visible"/>
                                      </p:to>
                                    </p:set>
                                    <p:anim calcmode="lin" valueType="num">
                                      <p:cBhvr>
                                        <p:cTn id="7" dur="750" fill="hold"/>
                                        <p:tgtEl>
                                          <p:spTgt spid="38"/>
                                        </p:tgtEl>
                                        <p:attrNameLst>
                                          <p:attrName>ppt_w</p:attrName>
                                        </p:attrNameLst>
                                      </p:cBhvr>
                                      <p:tavLst>
                                        <p:tav tm="0">
                                          <p:val>
                                            <p:fltVal val="0"/>
                                          </p:val>
                                        </p:tav>
                                        <p:tav tm="100000">
                                          <p:val>
                                            <p:strVal val="#ppt_w"/>
                                          </p:val>
                                        </p:tav>
                                      </p:tavLst>
                                    </p:anim>
                                    <p:anim calcmode="lin" valueType="num">
                                      <p:cBhvr>
                                        <p:cTn id="8" dur="750" fill="hold"/>
                                        <p:tgtEl>
                                          <p:spTgt spid="38"/>
                                        </p:tgtEl>
                                        <p:attrNameLst>
                                          <p:attrName>ppt_h</p:attrName>
                                        </p:attrNameLst>
                                      </p:cBhvr>
                                      <p:tavLst>
                                        <p:tav tm="0">
                                          <p:val>
                                            <p:fltVal val="0"/>
                                          </p:val>
                                        </p:tav>
                                        <p:tav tm="100000">
                                          <p:val>
                                            <p:strVal val="#ppt_h"/>
                                          </p:val>
                                        </p:tav>
                                      </p:tavLst>
                                    </p:anim>
                                    <p:animEffect transition="in" filter="fade">
                                      <p:cBhvr>
                                        <p:cTn id="9" dur="750"/>
                                        <p:tgtEl>
                                          <p:spTgt spid="38"/>
                                        </p:tgtEl>
                                      </p:cBhvr>
                                    </p:animEffect>
                                  </p:childTnLst>
                                </p:cTn>
                              </p:par>
                            </p:childTnLst>
                          </p:cTn>
                        </p:par>
                        <p:par>
                          <p:cTn id="10" fill="hold">
                            <p:stCondLst>
                              <p:cond delay="750"/>
                            </p:stCondLst>
                            <p:childTnLst>
                              <p:par>
                                <p:cTn id="11" presetID="53" presetClass="entr" presetSubtype="16"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500" fill="hold"/>
                                        <p:tgtEl>
                                          <p:spTgt spid="7"/>
                                        </p:tgtEl>
                                        <p:attrNameLst>
                                          <p:attrName>ppt_w</p:attrName>
                                        </p:attrNameLst>
                                      </p:cBhvr>
                                      <p:tavLst>
                                        <p:tav tm="0">
                                          <p:val>
                                            <p:fltVal val="0"/>
                                          </p:val>
                                        </p:tav>
                                        <p:tav tm="100000">
                                          <p:val>
                                            <p:strVal val="#ppt_w"/>
                                          </p:val>
                                        </p:tav>
                                      </p:tavLst>
                                    </p:anim>
                                    <p:anim calcmode="lin" valueType="num">
                                      <p:cBhvr>
                                        <p:cTn id="14" dur="500" fill="hold"/>
                                        <p:tgtEl>
                                          <p:spTgt spid="7"/>
                                        </p:tgtEl>
                                        <p:attrNameLst>
                                          <p:attrName>ppt_h</p:attrName>
                                        </p:attrNameLst>
                                      </p:cBhvr>
                                      <p:tavLst>
                                        <p:tav tm="0">
                                          <p:val>
                                            <p:fltVal val="0"/>
                                          </p:val>
                                        </p:tav>
                                        <p:tav tm="100000">
                                          <p:val>
                                            <p:strVal val="#ppt_h"/>
                                          </p:val>
                                        </p:tav>
                                      </p:tavLst>
                                    </p:anim>
                                    <p:animEffect transition="in" filter="fade">
                                      <p:cBhvr>
                                        <p:cTn id="15" dur="500"/>
                                        <p:tgtEl>
                                          <p:spTgt spid="7"/>
                                        </p:tgtEl>
                                      </p:cBhvr>
                                    </p:animEffect>
                                  </p:childTnLst>
                                </p:cTn>
                              </p:par>
                              <p:par>
                                <p:cTn id="16" presetID="53" presetClass="entr" presetSubtype="16"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 calcmode="lin" valueType="num">
                                      <p:cBhvr>
                                        <p:cTn id="18" dur="500" fill="hold"/>
                                        <p:tgtEl>
                                          <p:spTgt spid="8"/>
                                        </p:tgtEl>
                                        <p:attrNameLst>
                                          <p:attrName>ppt_w</p:attrName>
                                        </p:attrNameLst>
                                      </p:cBhvr>
                                      <p:tavLst>
                                        <p:tav tm="0">
                                          <p:val>
                                            <p:fltVal val="0"/>
                                          </p:val>
                                        </p:tav>
                                        <p:tav tm="100000">
                                          <p:val>
                                            <p:strVal val="#ppt_w"/>
                                          </p:val>
                                        </p:tav>
                                      </p:tavLst>
                                    </p:anim>
                                    <p:anim calcmode="lin" valueType="num">
                                      <p:cBhvr>
                                        <p:cTn id="19" dur="500" fill="hold"/>
                                        <p:tgtEl>
                                          <p:spTgt spid="8"/>
                                        </p:tgtEl>
                                        <p:attrNameLst>
                                          <p:attrName>ppt_h</p:attrName>
                                        </p:attrNameLst>
                                      </p:cBhvr>
                                      <p:tavLst>
                                        <p:tav tm="0">
                                          <p:val>
                                            <p:fltVal val="0"/>
                                          </p:val>
                                        </p:tav>
                                        <p:tav tm="100000">
                                          <p:val>
                                            <p:strVal val="#ppt_h"/>
                                          </p:val>
                                        </p:tav>
                                      </p:tavLst>
                                    </p:anim>
                                    <p:animEffect transition="in" filter="fade">
                                      <p:cBhvr>
                                        <p:cTn id="20" dur="500"/>
                                        <p:tgtEl>
                                          <p:spTgt spid="8"/>
                                        </p:tgtEl>
                                      </p:cBhvr>
                                    </p:animEffect>
                                  </p:childTnLst>
                                </p:cTn>
                              </p:par>
                            </p:childTnLst>
                          </p:cTn>
                        </p:par>
                      </p:childTnLst>
                    </p:cTn>
                  </p:par>
                  <p:par>
                    <p:cTn id="21" fill="hold">
                      <p:stCondLst>
                        <p:cond delay="indefinite"/>
                      </p:stCondLst>
                      <p:childTnLst>
                        <p:par>
                          <p:cTn id="22" fill="hold">
                            <p:stCondLst>
                              <p:cond delay="0"/>
                            </p:stCondLst>
                            <p:childTnLst>
                              <p:par>
                                <p:cTn id="23" presetID="53" presetClass="entr" presetSubtype="16" fill="hold" grpId="0" nodeType="clickEffect">
                                  <p:stCondLst>
                                    <p:cond delay="0"/>
                                  </p:stCondLst>
                                  <p:childTnLst>
                                    <p:set>
                                      <p:cBhvr>
                                        <p:cTn id="24" dur="1" fill="hold">
                                          <p:stCondLst>
                                            <p:cond delay="0"/>
                                          </p:stCondLst>
                                        </p:cTn>
                                        <p:tgtEl>
                                          <p:spTgt spid="9"/>
                                        </p:tgtEl>
                                        <p:attrNameLst>
                                          <p:attrName>style.visibility</p:attrName>
                                        </p:attrNameLst>
                                      </p:cBhvr>
                                      <p:to>
                                        <p:strVal val="visible"/>
                                      </p:to>
                                    </p:set>
                                    <p:anim calcmode="lin" valueType="num">
                                      <p:cBhvr>
                                        <p:cTn id="25" dur="250" fill="hold"/>
                                        <p:tgtEl>
                                          <p:spTgt spid="9"/>
                                        </p:tgtEl>
                                        <p:attrNameLst>
                                          <p:attrName>ppt_w</p:attrName>
                                        </p:attrNameLst>
                                      </p:cBhvr>
                                      <p:tavLst>
                                        <p:tav tm="0">
                                          <p:val>
                                            <p:fltVal val="0"/>
                                          </p:val>
                                        </p:tav>
                                        <p:tav tm="100000">
                                          <p:val>
                                            <p:strVal val="#ppt_w"/>
                                          </p:val>
                                        </p:tav>
                                      </p:tavLst>
                                    </p:anim>
                                    <p:anim calcmode="lin" valueType="num">
                                      <p:cBhvr>
                                        <p:cTn id="26" dur="250" fill="hold"/>
                                        <p:tgtEl>
                                          <p:spTgt spid="9"/>
                                        </p:tgtEl>
                                        <p:attrNameLst>
                                          <p:attrName>ppt_h</p:attrName>
                                        </p:attrNameLst>
                                      </p:cBhvr>
                                      <p:tavLst>
                                        <p:tav tm="0">
                                          <p:val>
                                            <p:fltVal val="0"/>
                                          </p:val>
                                        </p:tav>
                                        <p:tav tm="100000">
                                          <p:val>
                                            <p:strVal val="#ppt_h"/>
                                          </p:val>
                                        </p:tav>
                                      </p:tavLst>
                                    </p:anim>
                                    <p:animEffect transition="in" filter="fade">
                                      <p:cBhvr>
                                        <p:cTn id="27" dur="250"/>
                                        <p:tgtEl>
                                          <p:spTgt spid="9"/>
                                        </p:tgtEl>
                                      </p:cBhvr>
                                    </p:animEffect>
                                  </p:childTnLst>
                                </p:cTn>
                              </p:par>
                              <p:par>
                                <p:cTn id="28" presetID="2" presetClass="entr" presetSubtype="1" fill="hold" grpId="0" nodeType="withEffect">
                                  <p:stCondLst>
                                    <p:cond delay="0"/>
                                  </p:stCondLst>
                                  <p:childTnLst>
                                    <p:set>
                                      <p:cBhvr>
                                        <p:cTn id="29" dur="1" fill="hold">
                                          <p:stCondLst>
                                            <p:cond delay="0"/>
                                          </p:stCondLst>
                                        </p:cTn>
                                        <p:tgtEl>
                                          <p:spTgt spid="13"/>
                                        </p:tgtEl>
                                        <p:attrNameLst>
                                          <p:attrName>style.visibility</p:attrName>
                                        </p:attrNameLst>
                                      </p:cBhvr>
                                      <p:to>
                                        <p:strVal val="visible"/>
                                      </p:to>
                                    </p:set>
                                    <p:anim calcmode="lin" valueType="num">
                                      <p:cBhvr additive="base">
                                        <p:cTn id="30" dur="250" fill="hold"/>
                                        <p:tgtEl>
                                          <p:spTgt spid="13"/>
                                        </p:tgtEl>
                                        <p:attrNameLst>
                                          <p:attrName>ppt_x</p:attrName>
                                        </p:attrNameLst>
                                      </p:cBhvr>
                                      <p:tavLst>
                                        <p:tav tm="0">
                                          <p:val>
                                            <p:strVal val="#ppt_x"/>
                                          </p:val>
                                        </p:tav>
                                        <p:tav tm="100000">
                                          <p:val>
                                            <p:strVal val="#ppt_x"/>
                                          </p:val>
                                        </p:tav>
                                      </p:tavLst>
                                    </p:anim>
                                    <p:anim calcmode="lin" valueType="num">
                                      <p:cBhvr additive="base">
                                        <p:cTn id="31" dur="250" fill="hold"/>
                                        <p:tgtEl>
                                          <p:spTgt spid="13"/>
                                        </p:tgtEl>
                                        <p:attrNameLst>
                                          <p:attrName>ppt_y</p:attrName>
                                        </p:attrNameLst>
                                      </p:cBhvr>
                                      <p:tavLst>
                                        <p:tav tm="0">
                                          <p:val>
                                            <p:strVal val="0-#ppt_h/2"/>
                                          </p:val>
                                        </p:tav>
                                        <p:tav tm="100000">
                                          <p:val>
                                            <p:strVal val="#ppt_y"/>
                                          </p:val>
                                        </p:tav>
                                      </p:tavLst>
                                    </p:anim>
                                  </p:childTnLst>
                                </p:cTn>
                              </p:par>
                            </p:childTnLst>
                          </p:cTn>
                        </p:par>
                        <p:par>
                          <p:cTn id="32" fill="hold">
                            <p:stCondLst>
                              <p:cond delay="250"/>
                            </p:stCondLst>
                            <p:childTnLst>
                              <p:par>
                                <p:cTn id="33" presetID="18" presetClass="entr" presetSubtype="3" fill="hold" nodeType="afterEffect">
                                  <p:stCondLst>
                                    <p:cond delay="0"/>
                                  </p:stCondLst>
                                  <p:childTnLst>
                                    <p:set>
                                      <p:cBhvr>
                                        <p:cTn id="34" dur="1" fill="hold">
                                          <p:stCondLst>
                                            <p:cond delay="0"/>
                                          </p:stCondLst>
                                        </p:cTn>
                                        <p:tgtEl>
                                          <p:spTgt spid="22"/>
                                        </p:tgtEl>
                                        <p:attrNameLst>
                                          <p:attrName>style.visibility</p:attrName>
                                        </p:attrNameLst>
                                      </p:cBhvr>
                                      <p:to>
                                        <p:strVal val="visible"/>
                                      </p:to>
                                    </p:set>
                                    <p:animEffect transition="in" filter="strips(upRight)">
                                      <p:cBhvr>
                                        <p:cTn id="35" dur="250"/>
                                        <p:tgtEl>
                                          <p:spTgt spid="22"/>
                                        </p:tgtEl>
                                      </p:cBhvr>
                                    </p:animEffect>
                                  </p:childTnLst>
                                </p:cTn>
                              </p:par>
                            </p:childTnLst>
                          </p:cTn>
                        </p:par>
                        <p:par>
                          <p:cTn id="36" fill="hold">
                            <p:stCondLst>
                              <p:cond delay="500"/>
                            </p:stCondLst>
                            <p:childTnLst>
                              <p:par>
                                <p:cTn id="37" presetID="9" presetClass="entr" presetSubtype="0" fill="hold" grpId="0" nodeType="after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dissolve">
                                      <p:cBhvr>
                                        <p:cTn id="39" dur="250"/>
                                        <p:tgtEl>
                                          <p:spTgt spid="10"/>
                                        </p:tgtEl>
                                      </p:cBhvr>
                                    </p:animEffect>
                                  </p:childTnLst>
                                </p:cTn>
                              </p:par>
                              <p:par>
                                <p:cTn id="40" presetID="2" presetClass="entr" presetSubtype="1" fill="hold" grpId="0" nodeType="withEffect">
                                  <p:stCondLst>
                                    <p:cond delay="0"/>
                                  </p:stCondLst>
                                  <p:childTnLst>
                                    <p:set>
                                      <p:cBhvr>
                                        <p:cTn id="41" dur="1" fill="hold">
                                          <p:stCondLst>
                                            <p:cond delay="0"/>
                                          </p:stCondLst>
                                        </p:cTn>
                                        <p:tgtEl>
                                          <p:spTgt spid="15"/>
                                        </p:tgtEl>
                                        <p:attrNameLst>
                                          <p:attrName>style.visibility</p:attrName>
                                        </p:attrNameLst>
                                      </p:cBhvr>
                                      <p:to>
                                        <p:strVal val="visible"/>
                                      </p:to>
                                    </p:set>
                                    <p:anim calcmode="lin" valueType="num">
                                      <p:cBhvr additive="base">
                                        <p:cTn id="42" dur="250" fill="hold"/>
                                        <p:tgtEl>
                                          <p:spTgt spid="15"/>
                                        </p:tgtEl>
                                        <p:attrNameLst>
                                          <p:attrName>ppt_x</p:attrName>
                                        </p:attrNameLst>
                                      </p:cBhvr>
                                      <p:tavLst>
                                        <p:tav tm="0">
                                          <p:val>
                                            <p:strVal val="#ppt_x"/>
                                          </p:val>
                                        </p:tav>
                                        <p:tav tm="100000">
                                          <p:val>
                                            <p:strVal val="#ppt_x"/>
                                          </p:val>
                                        </p:tav>
                                      </p:tavLst>
                                    </p:anim>
                                    <p:anim calcmode="lin" valueType="num">
                                      <p:cBhvr additive="base">
                                        <p:cTn id="43" dur="250" fill="hold"/>
                                        <p:tgtEl>
                                          <p:spTgt spid="15"/>
                                        </p:tgtEl>
                                        <p:attrNameLst>
                                          <p:attrName>ppt_y</p:attrName>
                                        </p:attrNameLst>
                                      </p:cBhvr>
                                      <p:tavLst>
                                        <p:tav tm="0">
                                          <p:val>
                                            <p:strVal val="0-#ppt_h/2"/>
                                          </p:val>
                                        </p:tav>
                                        <p:tav tm="100000">
                                          <p:val>
                                            <p:strVal val="#ppt_y"/>
                                          </p:val>
                                        </p:tav>
                                      </p:tavLst>
                                    </p:anim>
                                  </p:childTnLst>
                                </p:cTn>
                              </p:par>
                            </p:childTnLst>
                          </p:cTn>
                        </p:par>
                        <p:par>
                          <p:cTn id="44" fill="hold">
                            <p:stCondLst>
                              <p:cond delay="750"/>
                            </p:stCondLst>
                            <p:childTnLst>
                              <p:par>
                                <p:cTn id="45" presetID="18" presetClass="entr" presetSubtype="3" fill="hold" nodeType="afterEffect">
                                  <p:stCondLst>
                                    <p:cond delay="0"/>
                                  </p:stCondLst>
                                  <p:childTnLst>
                                    <p:set>
                                      <p:cBhvr>
                                        <p:cTn id="46" dur="1" fill="hold">
                                          <p:stCondLst>
                                            <p:cond delay="0"/>
                                          </p:stCondLst>
                                        </p:cTn>
                                        <p:tgtEl>
                                          <p:spTgt spid="35"/>
                                        </p:tgtEl>
                                        <p:attrNameLst>
                                          <p:attrName>style.visibility</p:attrName>
                                        </p:attrNameLst>
                                      </p:cBhvr>
                                      <p:to>
                                        <p:strVal val="visible"/>
                                      </p:to>
                                    </p:set>
                                    <p:animEffect transition="in" filter="strips(upRight)">
                                      <p:cBhvr>
                                        <p:cTn id="47" dur="250"/>
                                        <p:tgtEl>
                                          <p:spTgt spid="35"/>
                                        </p:tgtEl>
                                      </p:cBhvr>
                                    </p:animEffect>
                                  </p:childTnLst>
                                </p:cTn>
                              </p:par>
                            </p:childTnLst>
                          </p:cTn>
                        </p:par>
                        <p:par>
                          <p:cTn id="48" fill="hold">
                            <p:stCondLst>
                              <p:cond delay="1000"/>
                            </p:stCondLst>
                            <p:childTnLst>
                              <p:par>
                                <p:cTn id="49" presetID="9" presetClass="entr" presetSubtype="0" fill="hold" grpId="0" nodeType="afterEffect">
                                  <p:stCondLst>
                                    <p:cond delay="0"/>
                                  </p:stCondLst>
                                  <p:childTnLst>
                                    <p:set>
                                      <p:cBhvr>
                                        <p:cTn id="50" dur="1" fill="hold">
                                          <p:stCondLst>
                                            <p:cond delay="0"/>
                                          </p:stCondLst>
                                        </p:cTn>
                                        <p:tgtEl>
                                          <p:spTgt spid="12"/>
                                        </p:tgtEl>
                                        <p:attrNameLst>
                                          <p:attrName>style.visibility</p:attrName>
                                        </p:attrNameLst>
                                      </p:cBhvr>
                                      <p:to>
                                        <p:strVal val="visible"/>
                                      </p:to>
                                    </p:set>
                                    <p:animEffect transition="in" filter="dissolve">
                                      <p:cBhvr>
                                        <p:cTn id="51" dur="250"/>
                                        <p:tgtEl>
                                          <p:spTgt spid="12"/>
                                        </p:tgtEl>
                                      </p:cBhvr>
                                    </p:animEffect>
                                  </p:childTnLst>
                                </p:cTn>
                              </p:par>
                              <p:par>
                                <p:cTn id="52" presetID="2" presetClass="entr" presetSubtype="1" fill="hold" grpId="0" nodeType="withEffect">
                                  <p:stCondLst>
                                    <p:cond delay="0"/>
                                  </p:stCondLst>
                                  <p:childTnLst>
                                    <p:set>
                                      <p:cBhvr>
                                        <p:cTn id="53" dur="1" fill="hold">
                                          <p:stCondLst>
                                            <p:cond delay="0"/>
                                          </p:stCondLst>
                                        </p:cTn>
                                        <p:tgtEl>
                                          <p:spTgt spid="2"/>
                                        </p:tgtEl>
                                        <p:attrNameLst>
                                          <p:attrName>style.visibility</p:attrName>
                                        </p:attrNameLst>
                                      </p:cBhvr>
                                      <p:to>
                                        <p:strVal val="visible"/>
                                      </p:to>
                                    </p:set>
                                    <p:anim calcmode="lin" valueType="num">
                                      <p:cBhvr additive="base">
                                        <p:cTn id="54" dur="500" fill="hold"/>
                                        <p:tgtEl>
                                          <p:spTgt spid="2"/>
                                        </p:tgtEl>
                                        <p:attrNameLst>
                                          <p:attrName>ppt_x</p:attrName>
                                        </p:attrNameLst>
                                      </p:cBhvr>
                                      <p:tavLst>
                                        <p:tav tm="0">
                                          <p:val>
                                            <p:strVal val="#ppt_x"/>
                                          </p:val>
                                        </p:tav>
                                        <p:tav tm="100000">
                                          <p:val>
                                            <p:strVal val="#ppt_x"/>
                                          </p:val>
                                        </p:tav>
                                      </p:tavLst>
                                    </p:anim>
                                    <p:anim calcmode="lin" valueType="num">
                                      <p:cBhvr additive="base">
                                        <p:cTn id="55" dur="500" fill="hold"/>
                                        <p:tgtEl>
                                          <p:spTgt spid="2"/>
                                        </p:tgtEl>
                                        <p:attrNameLst>
                                          <p:attrName>ppt_y</p:attrName>
                                        </p:attrNameLst>
                                      </p:cBhvr>
                                      <p:tavLst>
                                        <p:tav tm="0">
                                          <p:val>
                                            <p:strVal val="0-#ppt_h/2"/>
                                          </p:val>
                                        </p:tav>
                                        <p:tav tm="100000">
                                          <p:val>
                                            <p:strVal val="#ppt_y"/>
                                          </p:val>
                                        </p:tav>
                                      </p:tavLst>
                                    </p:anim>
                                  </p:childTnLst>
                                </p:cTn>
                              </p:par>
                            </p:childTnLst>
                          </p:cTn>
                        </p:par>
                        <p:par>
                          <p:cTn id="56" fill="hold">
                            <p:stCondLst>
                              <p:cond delay="1500"/>
                            </p:stCondLst>
                            <p:childTnLst>
                              <p:par>
                                <p:cTn id="57" presetID="18" presetClass="entr" presetSubtype="3" fill="hold" nodeType="afterEffect">
                                  <p:stCondLst>
                                    <p:cond delay="0"/>
                                  </p:stCondLst>
                                  <p:childTnLst>
                                    <p:set>
                                      <p:cBhvr>
                                        <p:cTn id="58" dur="1" fill="hold">
                                          <p:stCondLst>
                                            <p:cond delay="0"/>
                                          </p:stCondLst>
                                        </p:cTn>
                                        <p:tgtEl>
                                          <p:spTgt spid="51"/>
                                        </p:tgtEl>
                                        <p:attrNameLst>
                                          <p:attrName>style.visibility</p:attrName>
                                        </p:attrNameLst>
                                      </p:cBhvr>
                                      <p:to>
                                        <p:strVal val="visible"/>
                                      </p:to>
                                    </p:set>
                                    <p:animEffect transition="in" filter="strips(upRight)">
                                      <p:cBhvr>
                                        <p:cTn id="59" dur="250"/>
                                        <p:tgtEl>
                                          <p:spTgt spid="51"/>
                                        </p:tgtEl>
                                      </p:cBhvr>
                                    </p:animEffect>
                                  </p:childTnLst>
                                </p:cTn>
                              </p:par>
                            </p:childTnLst>
                          </p:cTn>
                        </p:par>
                      </p:childTnLst>
                    </p:cTn>
                  </p:par>
                  <p:par>
                    <p:cTn id="60" fill="hold">
                      <p:stCondLst>
                        <p:cond delay="indefinite"/>
                      </p:stCondLst>
                      <p:childTnLst>
                        <p:par>
                          <p:cTn id="61" fill="hold">
                            <p:stCondLst>
                              <p:cond delay="0"/>
                            </p:stCondLst>
                            <p:childTnLst>
                              <p:par>
                                <p:cTn id="62" presetID="9" presetClass="entr" presetSubtype="0" fill="hold" grpId="0" nodeType="clickEffect">
                                  <p:stCondLst>
                                    <p:cond delay="0"/>
                                  </p:stCondLst>
                                  <p:childTnLst>
                                    <p:set>
                                      <p:cBhvr>
                                        <p:cTn id="63" dur="1" fill="hold">
                                          <p:stCondLst>
                                            <p:cond delay="0"/>
                                          </p:stCondLst>
                                        </p:cTn>
                                        <p:tgtEl>
                                          <p:spTgt spid="55"/>
                                        </p:tgtEl>
                                        <p:attrNameLst>
                                          <p:attrName>style.visibility</p:attrName>
                                        </p:attrNameLst>
                                      </p:cBhvr>
                                      <p:to>
                                        <p:strVal val="visible"/>
                                      </p:to>
                                    </p:set>
                                    <p:animEffect transition="in" filter="dissolve">
                                      <p:cBhvr>
                                        <p:cTn id="64" dur="500"/>
                                        <p:tgtEl>
                                          <p:spTgt spid="55"/>
                                        </p:tgtEl>
                                      </p:cBhvr>
                                    </p:animEffect>
                                  </p:childTnLst>
                                </p:cTn>
                              </p:par>
                              <p:par>
                                <p:cTn id="65" presetID="9" presetClass="entr" presetSubtype="0" fill="hold" grpId="0" nodeType="withEffect">
                                  <p:stCondLst>
                                    <p:cond delay="0"/>
                                  </p:stCondLst>
                                  <p:childTnLst>
                                    <p:set>
                                      <p:cBhvr>
                                        <p:cTn id="66" dur="1" fill="hold">
                                          <p:stCondLst>
                                            <p:cond delay="0"/>
                                          </p:stCondLst>
                                        </p:cTn>
                                        <p:tgtEl>
                                          <p:spTgt spid="3"/>
                                        </p:tgtEl>
                                        <p:attrNameLst>
                                          <p:attrName>style.visibility</p:attrName>
                                        </p:attrNameLst>
                                      </p:cBhvr>
                                      <p:to>
                                        <p:strVal val="visible"/>
                                      </p:to>
                                    </p:set>
                                    <p:animEffect transition="in" filter="dissolve">
                                      <p:cBhvr>
                                        <p:cTn id="67" dur="500"/>
                                        <p:tgtEl>
                                          <p:spTgt spid="3"/>
                                        </p:tgtEl>
                                      </p:cBhvr>
                                    </p:animEffect>
                                  </p:childTnLst>
                                </p:cTn>
                              </p:par>
                            </p:childTnLst>
                          </p:cTn>
                        </p:par>
                      </p:childTnLst>
                    </p:cTn>
                  </p:par>
                  <p:par>
                    <p:cTn id="68" fill="hold">
                      <p:stCondLst>
                        <p:cond delay="indefinite"/>
                      </p:stCondLst>
                      <p:childTnLst>
                        <p:par>
                          <p:cTn id="69" fill="hold">
                            <p:stCondLst>
                              <p:cond delay="0"/>
                            </p:stCondLst>
                            <p:childTnLst>
                              <p:par>
                                <p:cTn id="70" presetID="2" presetClass="entr" presetSubtype="1" fill="hold" grpId="0" nodeType="clickEffect">
                                  <p:stCondLst>
                                    <p:cond delay="0"/>
                                  </p:stCondLst>
                                  <p:childTnLst>
                                    <p:set>
                                      <p:cBhvr>
                                        <p:cTn id="71" dur="1" fill="hold">
                                          <p:stCondLst>
                                            <p:cond delay="0"/>
                                          </p:stCondLst>
                                        </p:cTn>
                                        <p:tgtEl>
                                          <p:spTgt spid="30"/>
                                        </p:tgtEl>
                                        <p:attrNameLst>
                                          <p:attrName>style.visibility</p:attrName>
                                        </p:attrNameLst>
                                      </p:cBhvr>
                                      <p:to>
                                        <p:strVal val="visible"/>
                                      </p:to>
                                    </p:set>
                                    <p:anim calcmode="lin" valueType="num">
                                      <p:cBhvr additive="base">
                                        <p:cTn id="72" dur="500" fill="hold"/>
                                        <p:tgtEl>
                                          <p:spTgt spid="30"/>
                                        </p:tgtEl>
                                        <p:attrNameLst>
                                          <p:attrName>ppt_x</p:attrName>
                                        </p:attrNameLst>
                                      </p:cBhvr>
                                      <p:tavLst>
                                        <p:tav tm="0">
                                          <p:val>
                                            <p:strVal val="#ppt_x"/>
                                          </p:val>
                                        </p:tav>
                                        <p:tav tm="100000">
                                          <p:val>
                                            <p:strVal val="#ppt_x"/>
                                          </p:val>
                                        </p:tav>
                                      </p:tavLst>
                                    </p:anim>
                                    <p:anim calcmode="lin" valueType="num">
                                      <p:cBhvr additive="base">
                                        <p:cTn id="73" dur="500" fill="hold"/>
                                        <p:tgtEl>
                                          <p:spTgt spid="30"/>
                                        </p:tgtEl>
                                        <p:attrNameLst>
                                          <p:attrName>ppt_y</p:attrName>
                                        </p:attrNameLst>
                                      </p:cBhvr>
                                      <p:tavLst>
                                        <p:tav tm="0">
                                          <p:val>
                                            <p:strVal val="0-#ppt_h/2"/>
                                          </p:val>
                                        </p:tav>
                                        <p:tav tm="100000">
                                          <p:val>
                                            <p:strVal val="#ppt_y"/>
                                          </p:val>
                                        </p:tav>
                                      </p:tavLst>
                                    </p:anim>
                                  </p:childTnLst>
                                </p:cTn>
                              </p:par>
                            </p:childTnLst>
                          </p:cTn>
                        </p:par>
                        <p:par>
                          <p:cTn id="74" fill="hold">
                            <p:stCondLst>
                              <p:cond delay="500"/>
                            </p:stCondLst>
                            <p:childTnLst>
                              <p:par>
                                <p:cTn id="75" presetID="18" presetClass="entr" presetSubtype="3" fill="hold" nodeType="afterEffect">
                                  <p:stCondLst>
                                    <p:cond delay="0"/>
                                  </p:stCondLst>
                                  <p:childTnLst>
                                    <p:set>
                                      <p:cBhvr>
                                        <p:cTn id="76" dur="1" fill="hold">
                                          <p:stCondLst>
                                            <p:cond delay="0"/>
                                          </p:stCondLst>
                                        </p:cTn>
                                        <p:tgtEl>
                                          <p:spTgt spid="31"/>
                                        </p:tgtEl>
                                        <p:attrNameLst>
                                          <p:attrName>style.visibility</p:attrName>
                                        </p:attrNameLst>
                                      </p:cBhvr>
                                      <p:to>
                                        <p:strVal val="visible"/>
                                      </p:to>
                                    </p:set>
                                    <p:animEffect transition="in" filter="strips(upRight)">
                                      <p:cBhvr>
                                        <p:cTn id="77" dur="500"/>
                                        <p:tgtEl>
                                          <p:spTgt spid="31"/>
                                        </p:tgtEl>
                                      </p:cBhvr>
                                    </p:animEffect>
                                  </p:childTnLst>
                                </p:cTn>
                              </p:par>
                            </p:childTnLst>
                          </p:cTn>
                        </p:par>
                        <p:par>
                          <p:cTn id="78" fill="hold">
                            <p:stCondLst>
                              <p:cond delay="1000"/>
                            </p:stCondLst>
                            <p:childTnLst>
                              <p:par>
                                <p:cTn id="79" presetID="9" presetClass="entr" presetSubtype="0" fill="hold" grpId="0" nodeType="afterEffect">
                                  <p:stCondLst>
                                    <p:cond delay="0"/>
                                  </p:stCondLst>
                                  <p:childTnLst>
                                    <p:set>
                                      <p:cBhvr>
                                        <p:cTn id="80" dur="1" fill="hold">
                                          <p:stCondLst>
                                            <p:cond delay="0"/>
                                          </p:stCondLst>
                                        </p:cTn>
                                        <p:tgtEl>
                                          <p:spTgt spid="6"/>
                                        </p:tgtEl>
                                        <p:attrNameLst>
                                          <p:attrName>style.visibility</p:attrName>
                                        </p:attrNameLst>
                                      </p:cBhvr>
                                      <p:to>
                                        <p:strVal val="visible"/>
                                      </p:to>
                                    </p:set>
                                    <p:animEffect transition="in" filter="dissolve">
                                      <p:cBhvr>
                                        <p:cTn id="81" dur="500"/>
                                        <p:tgtEl>
                                          <p:spTgt spid="6"/>
                                        </p:tgtEl>
                                      </p:cBhvr>
                                    </p:animEffect>
                                  </p:childTnLst>
                                </p:cTn>
                              </p:par>
                            </p:childTnLst>
                          </p:cTn>
                        </p:par>
                      </p:childTnLst>
                    </p:cTn>
                  </p:par>
                  <p:par>
                    <p:cTn id="82" fill="hold">
                      <p:stCondLst>
                        <p:cond delay="indefinite"/>
                      </p:stCondLst>
                      <p:childTnLst>
                        <p:par>
                          <p:cTn id="83" fill="hold">
                            <p:stCondLst>
                              <p:cond delay="0"/>
                            </p:stCondLst>
                            <p:childTnLst>
                              <p:par>
                                <p:cTn id="84" presetID="9" presetClass="entr" presetSubtype="0" fill="hold" grpId="0" nodeType="click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dissolve">
                                      <p:cBhvr>
                                        <p:cTn id="86" dur="500"/>
                                        <p:tgtEl>
                                          <p:spTgt spid="25"/>
                                        </p:tgtEl>
                                      </p:cBhvr>
                                    </p:animEffect>
                                  </p:childTnLst>
                                </p:cTn>
                              </p:par>
                              <p:par>
                                <p:cTn id="87" presetID="9" presetClass="entr" presetSubtype="0" fill="hold" grpId="0" nodeType="withEffect">
                                  <p:stCondLst>
                                    <p:cond delay="0"/>
                                  </p:stCondLst>
                                  <p:childTnLst>
                                    <p:set>
                                      <p:cBhvr>
                                        <p:cTn id="88" dur="1" fill="hold">
                                          <p:stCondLst>
                                            <p:cond delay="0"/>
                                          </p:stCondLst>
                                        </p:cTn>
                                        <p:tgtEl>
                                          <p:spTgt spid="26"/>
                                        </p:tgtEl>
                                        <p:attrNameLst>
                                          <p:attrName>style.visibility</p:attrName>
                                        </p:attrNameLst>
                                      </p:cBhvr>
                                      <p:to>
                                        <p:strVal val="visible"/>
                                      </p:to>
                                    </p:set>
                                    <p:animEffect transition="in" filter="dissolve">
                                      <p:cBhvr>
                                        <p:cTn id="89" dur="500"/>
                                        <p:tgtEl>
                                          <p:spTgt spid="26"/>
                                        </p:tgtEl>
                                      </p:cBhvr>
                                    </p:animEffect>
                                  </p:childTnLst>
                                </p:cTn>
                              </p:par>
                            </p:childTnLst>
                          </p:cTn>
                        </p:par>
                      </p:childTnLst>
                    </p:cTn>
                  </p:par>
                  <p:par>
                    <p:cTn id="90" fill="hold">
                      <p:stCondLst>
                        <p:cond delay="indefinite"/>
                      </p:stCondLst>
                      <p:childTnLst>
                        <p:par>
                          <p:cTn id="91" fill="hold">
                            <p:stCondLst>
                              <p:cond delay="0"/>
                            </p:stCondLst>
                            <p:childTnLst>
                              <p:par>
                                <p:cTn id="92" presetID="2" presetClass="entr" presetSubtype="1" fill="hold" grpId="0" nodeType="clickEffect">
                                  <p:stCondLst>
                                    <p:cond delay="0"/>
                                  </p:stCondLst>
                                  <p:childTnLst>
                                    <p:set>
                                      <p:cBhvr>
                                        <p:cTn id="93" dur="1" fill="hold">
                                          <p:stCondLst>
                                            <p:cond delay="0"/>
                                          </p:stCondLst>
                                        </p:cTn>
                                        <p:tgtEl>
                                          <p:spTgt spid="54"/>
                                        </p:tgtEl>
                                        <p:attrNameLst>
                                          <p:attrName>style.visibility</p:attrName>
                                        </p:attrNameLst>
                                      </p:cBhvr>
                                      <p:to>
                                        <p:strVal val="visible"/>
                                      </p:to>
                                    </p:set>
                                    <p:anim calcmode="lin" valueType="num">
                                      <p:cBhvr additive="base">
                                        <p:cTn id="94" dur="500" fill="hold"/>
                                        <p:tgtEl>
                                          <p:spTgt spid="54"/>
                                        </p:tgtEl>
                                        <p:attrNameLst>
                                          <p:attrName>ppt_x</p:attrName>
                                        </p:attrNameLst>
                                      </p:cBhvr>
                                      <p:tavLst>
                                        <p:tav tm="0">
                                          <p:val>
                                            <p:strVal val="#ppt_x"/>
                                          </p:val>
                                        </p:tav>
                                        <p:tav tm="100000">
                                          <p:val>
                                            <p:strVal val="#ppt_x"/>
                                          </p:val>
                                        </p:tav>
                                      </p:tavLst>
                                    </p:anim>
                                    <p:anim calcmode="lin" valueType="num">
                                      <p:cBhvr additive="base">
                                        <p:cTn id="95" dur="500" fill="hold"/>
                                        <p:tgtEl>
                                          <p:spTgt spid="54"/>
                                        </p:tgtEl>
                                        <p:attrNameLst>
                                          <p:attrName>ppt_y</p:attrName>
                                        </p:attrNameLst>
                                      </p:cBhvr>
                                      <p:tavLst>
                                        <p:tav tm="0">
                                          <p:val>
                                            <p:strVal val="0-#ppt_h/2"/>
                                          </p:val>
                                        </p:tav>
                                        <p:tav tm="100000">
                                          <p:val>
                                            <p:strVal val="#ppt_y"/>
                                          </p:val>
                                        </p:tav>
                                      </p:tavLst>
                                    </p:anim>
                                  </p:childTnLst>
                                </p:cTn>
                              </p:par>
                            </p:childTnLst>
                          </p:cTn>
                        </p:par>
                        <p:par>
                          <p:cTn id="96" fill="hold">
                            <p:stCondLst>
                              <p:cond delay="500"/>
                            </p:stCondLst>
                            <p:childTnLst>
                              <p:par>
                                <p:cTn id="97" presetID="18" presetClass="entr" presetSubtype="3" fill="hold" nodeType="afterEffect">
                                  <p:stCondLst>
                                    <p:cond delay="0"/>
                                  </p:stCondLst>
                                  <p:childTnLst>
                                    <p:set>
                                      <p:cBhvr>
                                        <p:cTn id="98" dur="1" fill="hold">
                                          <p:stCondLst>
                                            <p:cond delay="0"/>
                                          </p:stCondLst>
                                        </p:cTn>
                                        <p:tgtEl>
                                          <p:spTgt spid="59"/>
                                        </p:tgtEl>
                                        <p:attrNameLst>
                                          <p:attrName>style.visibility</p:attrName>
                                        </p:attrNameLst>
                                      </p:cBhvr>
                                      <p:to>
                                        <p:strVal val="visible"/>
                                      </p:to>
                                    </p:set>
                                    <p:animEffect transition="in" filter="strips(upRight)">
                                      <p:cBhvr>
                                        <p:cTn id="99" dur="250"/>
                                        <p:tgtEl>
                                          <p:spTgt spid="59"/>
                                        </p:tgtEl>
                                      </p:cBhvr>
                                    </p:animEffect>
                                  </p:childTnLst>
                                </p:cTn>
                              </p:par>
                            </p:childTnLst>
                          </p:cTn>
                        </p:par>
                        <p:par>
                          <p:cTn id="100" fill="hold">
                            <p:stCondLst>
                              <p:cond delay="750"/>
                            </p:stCondLst>
                            <p:childTnLst>
                              <p:par>
                                <p:cTn id="101" presetID="9" presetClass="entr" presetSubtype="0" fill="hold" grpId="0" nodeType="afterEffect">
                                  <p:stCondLst>
                                    <p:cond delay="0"/>
                                  </p:stCondLst>
                                  <p:childTnLst>
                                    <p:set>
                                      <p:cBhvr>
                                        <p:cTn id="102" dur="1" fill="hold">
                                          <p:stCondLst>
                                            <p:cond delay="0"/>
                                          </p:stCondLst>
                                        </p:cTn>
                                        <p:tgtEl>
                                          <p:spTgt spid="39"/>
                                        </p:tgtEl>
                                        <p:attrNameLst>
                                          <p:attrName>style.visibility</p:attrName>
                                        </p:attrNameLst>
                                      </p:cBhvr>
                                      <p:to>
                                        <p:strVal val="visible"/>
                                      </p:to>
                                    </p:set>
                                    <p:animEffect transition="in" filter="dissolve">
                                      <p:cBhvr>
                                        <p:cTn id="103"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7" grpId="0" animBg="1"/>
      <p:bldP spid="8" grpId="0"/>
      <p:bldP spid="9" grpId="0"/>
      <p:bldP spid="10" grpId="0"/>
      <p:bldP spid="12" grpId="0"/>
      <p:bldP spid="2" grpId="0" animBg="1"/>
      <p:bldP spid="13" grpId="0" animBg="1"/>
      <p:bldP spid="15" grpId="0" animBg="1"/>
      <p:bldP spid="55" grpId="0" animBg="1"/>
      <p:bldP spid="3" grpId="0"/>
      <p:bldP spid="6" grpId="0"/>
      <p:bldP spid="30" grpId="0" animBg="1"/>
      <p:bldP spid="25" grpId="0" animBg="1"/>
      <p:bldP spid="26" grpId="0"/>
      <p:bldP spid="39" grpId="0"/>
      <p:bldP spid="5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uppo 52">
            <a:extLst>
              <a:ext uri="{FF2B5EF4-FFF2-40B4-BE49-F238E27FC236}">
                <a16:creationId xmlns:a16="http://schemas.microsoft.com/office/drawing/2014/main" id="{815DC0C7-B9E9-FC4A-8BE3-166B0DA9D225}"/>
              </a:ext>
            </a:extLst>
          </p:cNvPr>
          <p:cNvGrpSpPr/>
          <p:nvPr/>
        </p:nvGrpSpPr>
        <p:grpSpPr>
          <a:xfrm>
            <a:off x="8998149" y="28948"/>
            <a:ext cx="11623728" cy="6858000"/>
            <a:chOff x="187579" y="-1"/>
            <a:chExt cx="11623728" cy="6858000"/>
          </a:xfrm>
        </p:grpSpPr>
        <p:grpSp>
          <p:nvGrpSpPr>
            <p:cNvPr id="41" name="Gruppo 40">
              <a:extLst>
                <a:ext uri="{FF2B5EF4-FFF2-40B4-BE49-F238E27FC236}">
                  <a16:creationId xmlns:a16="http://schemas.microsoft.com/office/drawing/2014/main" id="{003E5125-648D-ED4F-AFC1-8E1772C14320}"/>
                </a:ext>
              </a:extLst>
            </p:cNvPr>
            <p:cNvGrpSpPr/>
            <p:nvPr/>
          </p:nvGrpSpPr>
          <p:grpSpPr>
            <a:xfrm>
              <a:off x="187579" y="-1"/>
              <a:ext cx="11623728" cy="6858000"/>
              <a:chOff x="568272" y="0"/>
              <a:chExt cx="11623728" cy="6858000"/>
            </a:xfrm>
            <a:effectLst>
              <a:outerShdw blurRad="254000" dist="88900" dir="7200000" algn="r" rotWithShape="0">
                <a:prstClr val="black">
                  <a:alpha val="51000"/>
                </a:prstClr>
              </a:outerShdw>
            </a:effectLst>
          </p:grpSpPr>
          <p:sp>
            <p:nvSpPr>
              <p:cNvPr id="4" name="Rettangolo 3">
                <a:extLst>
                  <a:ext uri="{FF2B5EF4-FFF2-40B4-BE49-F238E27FC236}">
                    <a16:creationId xmlns:a16="http://schemas.microsoft.com/office/drawing/2014/main" id="{1EA10E13-F804-234E-B16F-32B6D4753E6C}"/>
                  </a:ext>
                </a:extLst>
              </p:cNvPr>
              <p:cNvSpPr/>
              <p:nvPr/>
            </p:nvSpPr>
            <p:spPr>
              <a:xfrm>
                <a:off x="986725" y="0"/>
                <a:ext cx="11205275" cy="6858000"/>
              </a:xfrm>
              <a:prstGeom prst="rect">
                <a:avLst/>
              </a:prstGeom>
              <a:solidFill>
                <a:srgbClr val="1B4A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7" name="Gruppo 6">
                <a:extLst>
                  <a:ext uri="{FF2B5EF4-FFF2-40B4-BE49-F238E27FC236}">
                    <a16:creationId xmlns:a16="http://schemas.microsoft.com/office/drawing/2014/main" id="{484231D6-85FD-E345-BECE-0511B3A88F09}"/>
                  </a:ext>
                </a:extLst>
              </p:cNvPr>
              <p:cNvGrpSpPr/>
              <p:nvPr/>
            </p:nvGrpSpPr>
            <p:grpSpPr>
              <a:xfrm>
                <a:off x="568272" y="2940803"/>
                <a:ext cx="418454" cy="976393"/>
                <a:chOff x="568272" y="2940803"/>
                <a:chExt cx="418454" cy="976393"/>
              </a:xfrm>
            </p:grpSpPr>
            <p:sp>
              <p:nvSpPr>
                <p:cNvPr id="5" name="Rettangolo con angoli arrotondati sullo stesso lato 4">
                  <a:extLst>
                    <a:ext uri="{FF2B5EF4-FFF2-40B4-BE49-F238E27FC236}">
                      <a16:creationId xmlns:a16="http://schemas.microsoft.com/office/drawing/2014/main" id="{EF8769F0-5756-F243-8A73-3F1D857C048F}"/>
                    </a:ext>
                  </a:extLst>
                </p:cNvPr>
                <p:cNvSpPr/>
                <p:nvPr/>
              </p:nvSpPr>
              <p:spPr>
                <a:xfrm rot="16200000">
                  <a:off x="289302" y="3219773"/>
                  <a:ext cx="976393" cy="418454"/>
                </a:xfrm>
                <a:prstGeom prst="round2SameRect">
                  <a:avLst/>
                </a:prstGeom>
                <a:solidFill>
                  <a:srgbClr val="1B4A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CasellaDiTesto 5">
                  <a:extLst>
                    <a:ext uri="{FF2B5EF4-FFF2-40B4-BE49-F238E27FC236}">
                      <a16:creationId xmlns:a16="http://schemas.microsoft.com/office/drawing/2014/main" id="{4CEA92F6-DF78-5A49-874E-DEDCB569DE15}"/>
                    </a:ext>
                  </a:extLst>
                </p:cNvPr>
                <p:cNvSpPr txBox="1"/>
                <p:nvPr/>
              </p:nvSpPr>
              <p:spPr>
                <a:xfrm rot="16200000">
                  <a:off x="366793" y="3244334"/>
                  <a:ext cx="821410" cy="369332"/>
                </a:xfrm>
                <a:prstGeom prst="rect">
                  <a:avLst/>
                </a:prstGeom>
                <a:noFill/>
              </p:spPr>
              <p:txBody>
                <a:bodyPr wrap="square" rtlCol="0">
                  <a:spAutoFit/>
                </a:bodyPr>
                <a:lstStyle/>
                <a:p>
                  <a:pPr algn="ctr"/>
                  <a:r>
                    <a:rPr lang="it-IT" dirty="0">
                      <a:solidFill>
                        <a:schemeClr val="bg1"/>
                      </a:solidFill>
                      <a:latin typeface="Times New Roman" panose="02020603050405020304" pitchFamily="18" charset="0"/>
                      <a:cs typeface="Times New Roman" panose="02020603050405020304" pitchFamily="18" charset="0"/>
                    </a:rPr>
                    <a:t>PECL</a:t>
                  </a:r>
                  <a:endParaRPr lang="it-IT" sz="1600" dirty="0">
                    <a:solidFill>
                      <a:schemeClr val="bg1"/>
                    </a:solidFill>
                    <a:latin typeface="Times New Roman" panose="02020603050405020304" pitchFamily="18" charset="0"/>
                    <a:cs typeface="Times New Roman" panose="02020603050405020304" pitchFamily="18" charset="0"/>
                  </a:endParaRPr>
                </a:p>
              </p:txBody>
            </p:sp>
          </p:grpSp>
        </p:grpSp>
        <p:sp>
          <p:nvSpPr>
            <p:cNvPr id="50" name="CasellaDiTesto 49">
              <a:extLst>
                <a:ext uri="{FF2B5EF4-FFF2-40B4-BE49-F238E27FC236}">
                  <a16:creationId xmlns:a16="http://schemas.microsoft.com/office/drawing/2014/main" id="{DF7B2B01-A117-D34F-9B07-AC9F1B809BBA}"/>
                </a:ext>
              </a:extLst>
            </p:cNvPr>
            <p:cNvSpPr txBox="1"/>
            <p:nvPr/>
          </p:nvSpPr>
          <p:spPr>
            <a:xfrm>
              <a:off x="790414" y="201478"/>
              <a:ext cx="7966128" cy="6416298"/>
            </a:xfrm>
            <a:prstGeom prst="rect">
              <a:avLst/>
            </a:prstGeom>
            <a:solidFill>
              <a:schemeClr val="bg1"/>
            </a:solidFill>
          </p:spPr>
          <p:txBody>
            <a:bodyPr wrap="square" rtlCol="0">
              <a:spAutoFit/>
            </a:bodyPr>
            <a:lstStyle/>
            <a:p>
              <a:endParaRPr lang="it-IT" dirty="0"/>
            </a:p>
          </p:txBody>
        </p:sp>
        <p:pic>
          <p:nvPicPr>
            <p:cNvPr id="52" name="Immagine 51">
              <a:extLst>
                <a:ext uri="{FF2B5EF4-FFF2-40B4-BE49-F238E27FC236}">
                  <a16:creationId xmlns:a16="http://schemas.microsoft.com/office/drawing/2014/main" id="{186647D0-E833-BF45-8B9B-2630C9C7B440}"/>
                </a:ext>
              </a:extLst>
            </p:cNvPr>
            <p:cNvPicPr>
              <a:picLocks noChangeAspect="1"/>
            </p:cNvPicPr>
            <p:nvPr/>
          </p:nvPicPr>
          <p:blipFill>
            <a:blip r:embed="rId3"/>
            <a:stretch>
              <a:fillRect/>
            </a:stretch>
          </p:blipFill>
          <p:spPr>
            <a:xfrm>
              <a:off x="1125219" y="608263"/>
              <a:ext cx="7109811" cy="5602727"/>
            </a:xfrm>
            <a:prstGeom prst="rect">
              <a:avLst/>
            </a:prstGeom>
          </p:spPr>
        </p:pic>
      </p:grpSp>
      <p:grpSp>
        <p:nvGrpSpPr>
          <p:cNvPr id="43" name="Gruppo 42">
            <a:extLst>
              <a:ext uri="{FF2B5EF4-FFF2-40B4-BE49-F238E27FC236}">
                <a16:creationId xmlns:a16="http://schemas.microsoft.com/office/drawing/2014/main" id="{90E24446-73F2-4A49-BB80-D0CDD9ED0CA0}"/>
              </a:ext>
            </a:extLst>
          </p:cNvPr>
          <p:cNvGrpSpPr/>
          <p:nvPr/>
        </p:nvGrpSpPr>
        <p:grpSpPr>
          <a:xfrm>
            <a:off x="9500156" y="28948"/>
            <a:ext cx="11617535" cy="6858000"/>
            <a:chOff x="845035" y="0"/>
            <a:chExt cx="11617535" cy="6858000"/>
          </a:xfrm>
        </p:grpSpPr>
        <p:grpSp>
          <p:nvGrpSpPr>
            <p:cNvPr id="44" name="Gruppo 43">
              <a:extLst>
                <a:ext uri="{FF2B5EF4-FFF2-40B4-BE49-F238E27FC236}">
                  <a16:creationId xmlns:a16="http://schemas.microsoft.com/office/drawing/2014/main" id="{33F08B75-16E3-F949-88E1-54BCA8457B8D}"/>
                </a:ext>
              </a:extLst>
            </p:cNvPr>
            <p:cNvGrpSpPr/>
            <p:nvPr/>
          </p:nvGrpSpPr>
          <p:grpSpPr>
            <a:xfrm>
              <a:off x="845035" y="0"/>
              <a:ext cx="11617535" cy="6858000"/>
              <a:chOff x="1225394" y="0"/>
              <a:chExt cx="11617535" cy="6858000"/>
            </a:xfrm>
            <a:effectLst>
              <a:outerShdw blurRad="254000" dist="88900" dir="7200000" algn="r" rotWithShape="0">
                <a:prstClr val="black">
                  <a:alpha val="51000"/>
                </a:prstClr>
              </a:outerShdw>
            </a:effectLst>
          </p:grpSpPr>
          <p:sp>
            <p:nvSpPr>
              <p:cNvPr id="46" name="Rettangolo 45">
                <a:extLst>
                  <a:ext uri="{FF2B5EF4-FFF2-40B4-BE49-F238E27FC236}">
                    <a16:creationId xmlns:a16="http://schemas.microsoft.com/office/drawing/2014/main" id="{B5486E7E-90C5-7E40-A383-40B5A169E5F0}"/>
                  </a:ext>
                </a:extLst>
              </p:cNvPr>
              <p:cNvSpPr/>
              <p:nvPr/>
            </p:nvSpPr>
            <p:spPr>
              <a:xfrm>
                <a:off x="1637654" y="0"/>
                <a:ext cx="112052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47" name="Gruppo 46">
                <a:extLst>
                  <a:ext uri="{FF2B5EF4-FFF2-40B4-BE49-F238E27FC236}">
                    <a16:creationId xmlns:a16="http://schemas.microsoft.com/office/drawing/2014/main" id="{FABD09EF-5F55-3D47-A9B0-FF0A1ED2D87C}"/>
                  </a:ext>
                </a:extLst>
              </p:cNvPr>
              <p:cNvGrpSpPr/>
              <p:nvPr/>
            </p:nvGrpSpPr>
            <p:grpSpPr>
              <a:xfrm>
                <a:off x="1225394" y="2530097"/>
                <a:ext cx="418454" cy="976393"/>
                <a:chOff x="568272" y="2940803"/>
                <a:chExt cx="418454" cy="976393"/>
              </a:xfrm>
              <a:solidFill>
                <a:schemeClr val="bg1"/>
              </a:solidFill>
            </p:grpSpPr>
            <p:sp>
              <p:nvSpPr>
                <p:cNvPr id="48" name="Rettangolo con angoli arrotondati sullo stesso lato 47">
                  <a:extLst>
                    <a:ext uri="{FF2B5EF4-FFF2-40B4-BE49-F238E27FC236}">
                      <a16:creationId xmlns:a16="http://schemas.microsoft.com/office/drawing/2014/main" id="{DAB9B0F0-0B18-E743-9418-92BB855D8025}"/>
                    </a:ext>
                  </a:extLst>
                </p:cNvPr>
                <p:cNvSpPr/>
                <p:nvPr/>
              </p:nvSpPr>
              <p:spPr>
                <a:xfrm rot="16200000">
                  <a:off x="289302" y="3219773"/>
                  <a:ext cx="976393" cy="418454"/>
                </a:xfrm>
                <a:prstGeom prst="round2Same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9" name="CasellaDiTesto 48">
                  <a:extLst>
                    <a:ext uri="{FF2B5EF4-FFF2-40B4-BE49-F238E27FC236}">
                      <a16:creationId xmlns:a16="http://schemas.microsoft.com/office/drawing/2014/main" id="{7D592338-6D12-D54C-92DC-2294FDDCA7F7}"/>
                    </a:ext>
                  </a:extLst>
                </p:cNvPr>
                <p:cNvSpPr txBox="1"/>
                <p:nvPr/>
              </p:nvSpPr>
              <p:spPr>
                <a:xfrm rot="16200000">
                  <a:off x="366793" y="3275111"/>
                  <a:ext cx="821410" cy="307777"/>
                </a:xfrm>
                <a:prstGeom prst="rect">
                  <a:avLst/>
                </a:prstGeom>
                <a:grpFill/>
              </p:spPr>
              <p:txBody>
                <a:bodyPr wrap="square" lIns="0" rIns="0" rtlCol="0">
                  <a:spAutoFit/>
                </a:bodyPr>
                <a:lstStyle/>
                <a:p>
                  <a:pPr algn="ctr"/>
                  <a:r>
                    <a:rPr lang="it-IT" sz="1400" dirty="0">
                      <a:solidFill>
                        <a:srgbClr val="1B4A76"/>
                      </a:solidFill>
                      <a:latin typeface="Times New Roman" panose="02020603050405020304" pitchFamily="18" charset="0"/>
                      <a:cs typeface="Times New Roman" panose="02020603050405020304" pitchFamily="18" charset="0"/>
                    </a:rPr>
                    <a:t>ORIGINE</a:t>
                  </a:r>
                  <a:endParaRPr lang="it-IT" sz="1600" dirty="0">
                    <a:solidFill>
                      <a:srgbClr val="1B4A76"/>
                    </a:solidFill>
                    <a:latin typeface="Times New Roman" panose="02020603050405020304" pitchFamily="18" charset="0"/>
                    <a:cs typeface="Times New Roman" panose="02020603050405020304" pitchFamily="18" charset="0"/>
                  </a:endParaRPr>
                </a:p>
              </p:txBody>
            </p:sp>
          </p:grpSp>
        </p:grpSp>
        <p:pic>
          <p:nvPicPr>
            <p:cNvPr id="45" name="Immagine 44">
              <a:extLst>
                <a:ext uri="{FF2B5EF4-FFF2-40B4-BE49-F238E27FC236}">
                  <a16:creationId xmlns:a16="http://schemas.microsoft.com/office/drawing/2014/main" id="{F1AF6DE5-E5B9-CE41-90D9-8DE5625416BD}"/>
                </a:ext>
              </a:extLst>
            </p:cNvPr>
            <p:cNvPicPr>
              <a:picLocks noChangeAspect="1"/>
            </p:cNvPicPr>
            <p:nvPr/>
          </p:nvPicPr>
          <p:blipFill>
            <a:blip r:embed="rId4"/>
            <a:stretch>
              <a:fillRect/>
            </a:stretch>
          </p:blipFill>
          <p:spPr>
            <a:xfrm>
              <a:off x="1775252" y="1121119"/>
              <a:ext cx="7511605" cy="5109245"/>
            </a:xfrm>
            <a:prstGeom prst="rect">
              <a:avLst/>
            </a:prstGeom>
          </p:spPr>
        </p:pic>
      </p:grpSp>
      <p:grpSp>
        <p:nvGrpSpPr>
          <p:cNvPr id="15" name="Gruppo 14">
            <a:extLst>
              <a:ext uri="{FF2B5EF4-FFF2-40B4-BE49-F238E27FC236}">
                <a16:creationId xmlns:a16="http://schemas.microsoft.com/office/drawing/2014/main" id="{1B4E9B52-ACF9-8B4A-8E94-757C474C3BA7}"/>
              </a:ext>
            </a:extLst>
          </p:cNvPr>
          <p:cNvGrpSpPr/>
          <p:nvPr/>
        </p:nvGrpSpPr>
        <p:grpSpPr>
          <a:xfrm>
            <a:off x="10012338" y="4124"/>
            <a:ext cx="11615514" cy="6858000"/>
            <a:chOff x="1400559" y="28380"/>
            <a:chExt cx="11615514" cy="6858000"/>
          </a:xfrm>
        </p:grpSpPr>
        <p:grpSp>
          <p:nvGrpSpPr>
            <p:cNvPr id="61" name="Gruppo 60">
              <a:extLst>
                <a:ext uri="{FF2B5EF4-FFF2-40B4-BE49-F238E27FC236}">
                  <a16:creationId xmlns:a16="http://schemas.microsoft.com/office/drawing/2014/main" id="{B5A2A951-E3B9-B146-AE3C-38DFCFCBE779}"/>
                </a:ext>
              </a:extLst>
            </p:cNvPr>
            <p:cNvGrpSpPr/>
            <p:nvPr/>
          </p:nvGrpSpPr>
          <p:grpSpPr>
            <a:xfrm>
              <a:off x="1400559" y="28380"/>
              <a:ext cx="11615514" cy="6858000"/>
              <a:chOff x="1429799" y="-19374"/>
              <a:chExt cx="11615514" cy="6858000"/>
            </a:xfrm>
          </p:grpSpPr>
          <p:grpSp>
            <p:nvGrpSpPr>
              <p:cNvPr id="38" name="Gruppo 37">
                <a:extLst>
                  <a:ext uri="{FF2B5EF4-FFF2-40B4-BE49-F238E27FC236}">
                    <a16:creationId xmlns:a16="http://schemas.microsoft.com/office/drawing/2014/main" id="{51FA607D-FB54-D84A-BCD7-78C4CCCE1658}"/>
                  </a:ext>
                </a:extLst>
              </p:cNvPr>
              <p:cNvGrpSpPr/>
              <p:nvPr/>
            </p:nvGrpSpPr>
            <p:grpSpPr>
              <a:xfrm>
                <a:off x="1429799" y="-19374"/>
                <a:ext cx="11615514" cy="6858000"/>
                <a:chOff x="1878344" y="0"/>
                <a:chExt cx="11615514" cy="6858000"/>
              </a:xfrm>
              <a:effectLst>
                <a:outerShdw blurRad="254000" dist="88900" dir="7200000" algn="r" rotWithShape="0">
                  <a:prstClr val="black">
                    <a:alpha val="51000"/>
                  </a:prstClr>
                </a:outerShdw>
              </a:effectLst>
            </p:grpSpPr>
            <p:sp>
              <p:nvSpPr>
                <p:cNvPr id="19" name="Rettangolo 18">
                  <a:extLst>
                    <a:ext uri="{FF2B5EF4-FFF2-40B4-BE49-F238E27FC236}">
                      <a16:creationId xmlns:a16="http://schemas.microsoft.com/office/drawing/2014/main" id="{C8BACC70-9AE0-2642-ABFE-FB300C1A22FF}"/>
                    </a:ext>
                  </a:extLst>
                </p:cNvPr>
                <p:cNvSpPr/>
                <p:nvPr/>
              </p:nvSpPr>
              <p:spPr>
                <a:xfrm>
                  <a:off x="2288583" y="0"/>
                  <a:ext cx="11205275" cy="6858000"/>
                </a:xfrm>
                <a:prstGeom prst="rect">
                  <a:avLst/>
                </a:prstGeom>
                <a:solidFill>
                  <a:srgbClr val="1B4A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20" name="Gruppo 19">
                  <a:extLst>
                    <a:ext uri="{FF2B5EF4-FFF2-40B4-BE49-F238E27FC236}">
                      <a16:creationId xmlns:a16="http://schemas.microsoft.com/office/drawing/2014/main" id="{7646D7E7-16A4-984D-B313-1954BD5DE5B4}"/>
                    </a:ext>
                  </a:extLst>
                </p:cNvPr>
                <p:cNvGrpSpPr/>
                <p:nvPr/>
              </p:nvGrpSpPr>
              <p:grpSpPr>
                <a:xfrm>
                  <a:off x="1878344" y="2119391"/>
                  <a:ext cx="418454" cy="976393"/>
                  <a:chOff x="568272" y="2940803"/>
                  <a:chExt cx="418454" cy="976393"/>
                </a:xfrm>
                <a:solidFill>
                  <a:srgbClr val="1B4A76"/>
                </a:solidFill>
              </p:grpSpPr>
              <p:sp>
                <p:nvSpPr>
                  <p:cNvPr id="21" name="Rettangolo con angoli arrotondati sullo stesso lato 20">
                    <a:extLst>
                      <a:ext uri="{FF2B5EF4-FFF2-40B4-BE49-F238E27FC236}">
                        <a16:creationId xmlns:a16="http://schemas.microsoft.com/office/drawing/2014/main" id="{B7E13386-1F08-0643-8B9C-6AAEA0E90270}"/>
                      </a:ext>
                    </a:extLst>
                  </p:cNvPr>
                  <p:cNvSpPr/>
                  <p:nvPr/>
                </p:nvSpPr>
                <p:spPr>
                  <a:xfrm rot="16200000">
                    <a:off x="289302" y="3219773"/>
                    <a:ext cx="976393" cy="418454"/>
                  </a:xfrm>
                  <a:prstGeom prst="round2Same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2" name="CasellaDiTesto 21">
                    <a:extLst>
                      <a:ext uri="{FF2B5EF4-FFF2-40B4-BE49-F238E27FC236}">
                        <a16:creationId xmlns:a16="http://schemas.microsoft.com/office/drawing/2014/main" id="{71E4C629-6484-684B-9802-C6BE19D3DE02}"/>
                      </a:ext>
                    </a:extLst>
                  </p:cNvPr>
                  <p:cNvSpPr txBox="1"/>
                  <p:nvPr/>
                </p:nvSpPr>
                <p:spPr>
                  <a:xfrm rot="16200000">
                    <a:off x="366793" y="3313583"/>
                    <a:ext cx="821410" cy="230832"/>
                  </a:xfrm>
                  <a:prstGeom prst="rect">
                    <a:avLst/>
                  </a:prstGeom>
                  <a:grpFill/>
                </p:spPr>
                <p:txBody>
                  <a:bodyPr wrap="square" lIns="0" rIns="0" rtlCol="0">
                    <a:spAutoFit/>
                  </a:bodyPr>
                  <a:lstStyle/>
                  <a:p>
                    <a:pPr algn="ctr"/>
                    <a:r>
                      <a:rPr lang="it-IT" sz="900" dirty="0">
                        <a:solidFill>
                          <a:schemeClr val="bg1"/>
                        </a:solidFill>
                        <a:latin typeface="Times New Roman" panose="02020603050405020304" pitchFamily="18" charset="0"/>
                        <a:cs typeface="Times New Roman" panose="02020603050405020304" pitchFamily="18" charset="0"/>
                      </a:rPr>
                      <a:t>COMMISSIONI</a:t>
                    </a:r>
                  </a:p>
                </p:txBody>
              </p:sp>
            </p:grpSp>
          </p:grpSp>
          <p:sp>
            <p:nvSpPr>
              <p:cNvPr id="60" name="Rettangolo 59">
                <a:extLst>
                  <a:ext uri="{FF2B5EF4-FFF2-40B4-BE49-F238E27FC236}">
                    <a16:creationId xmlns:a16="http://schemas.microsoft.com/office/drawing/2014/main" id="{69F6570C-6EC3-404D-84EB-ED082D5C40A6}"/>
                  </a:ext>
                </a:extLst>
              </p:cNvPr>
              <p:cNvSpPr/>
              <p:nvPr/>
            </p:nvSpPr>
            <p:spPr>
              <a:xfrm>
                <a:off x="2047164" y="201478"/>
                <a:ext cx="8175009" cy="6416298"/>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a:p>
            </p:txBody>
          </p:sp>
        </p:grpSp>
        <p:pic>
          <p:nvPicPr>
            <p:cNvPr id="14" name="Immagine 13" descr="Immagine che contiene testo&#10;&#10;Descrizione generata automaticamente">
              <a:extLst>
                <a:ext uri="{FF2B5EF4-FFF2-40B4-BE49-F238E27FC236}">
                  <a16:creationId xmlns:a16="http://schemas.microsoft.com/office/drawing/2014/main" id="{8377B480-A64A-E34E-B32A-481397440E13}"/>
                </a:ext>
              </a:extLst>
            </p:cNvPr>
            <p:cNvPicPr>
              <a:picLocks noChangeAspect="1"/>
            </p:cNvPicPr>
            <p:nvPr/>
          </p:nvPicPr>
          <p:blipFill>
            <a:blip r:embed="rId5"/>
            <a:stretch>
              <a:fillRect/>
            </a:stretch>
          </p:blipFill>
          <p:spPr>
            <a:xfrm>
              <a:off x="2425098" y="602435"/>
              <a:ext cx="7329867" cy="5683235"/>
            </a:xfrm>
            <a:prstGeom prst="rect">
              <a:avLst/>
            </a:prstGeom>
          </p:spPr>
        </p:pic>
      </p:grpSp>
      <p:grpSp>
        <p:nvGrpSpPr>
          <p:cNvPr id="18" name="Gruppo 17">
            <a:extLst>
              <a:ext uri="{FF2B5EF4-FFF2-40B4-BE49-F238E27FC236}">
                <a16:creationId xmlns:a16="http://schemas.microsoft.com/office/drawing/2014/main" id="{912948C0-19AB-B64D-AC4D-3738039F30F9}"/>
              </a:ext>
            </a:extLst>
          </p:cNvPr>
          <p:cNvGrpSpPr/>
          <p:nvPr/>
        </p:nvGrpSpPr>
        <p:grpSpPr>
          <a:xfrm>
            <a:off x="10559137" y="0"/>
            <a:ext cx="11600042" cy="6858000"/>
            <a:chOff x="1942395" y="-13784"/>
            <a:chExt cx="11600042" cy="6858000"/>
          </a:xfrm>
        </p:grpSpPr>
        <p:grpSp>
          <p:nvGrpSpPr>
            <p:cNvPr id="37" name="Gruppo 36">
              <a:extLst>
                <a:ext uri="{FF2B5EF4-FFF2-40B4-BE49-F238E27FC236}">
                  <a16:creationId xmlns:a16="http://schemas.microsoft.com/office/drawing/2014/main" id="{073D7BF3-0700-8E41-8BAD-6426B2DA2065}"/>
                </a:ext>
              </a:extLst>
            </p:cNvPr>
            <p:cNvGrpSpPr/>
            <p:nvPr/>
          </p:nvGrpSpPr>
          <p:grpSpPr>
            <a:xfrm>
              <a:off x="1942395" y="-13784"/>
              <a:ext cx="11600042" cy="6858000"/>
              <a:chOff x="2668730" y="0"/>
              <a:chExt cx="11600042" cy="6858000"/>
            </a:xfrm>
            <a:effectLst>
              <a:outerShdw blurRad="254000" dist="88900" dir="7200000" algn="r" rotWithShape="0">
                <a:prstClr val="black">
                  <a:alpha val="51000"/>
                </a:prstClr>
              </a:outerShdw>
            </a:effectLst>
          </p:grpSpPr>
          <p:sp>
            <p:nvSpPr>
              <p:cNvPr id="23" name="Rettangolo 22">
                <a:extLst>
                  <a:ext uri="{FF2B5EF4-FFF2-40B4-BE49-F238E27FC236}">
                    <a16:creationId xmlns:a16="http://schemas.microsoft.com/office/drawing/2014/main" id="{B433D13B-CF27-7140-A25D-72D0D6647B3C}"/>
                  </a:ext>
                </a:extLst>
              </p:cNvPr>
              <p:cNvSpPr/>
              <p:nvPr/>
            </p:nvSpPr>
            <p:spPr>
              <a:xfrm>
                <a:off x="3063497" y="0"/>
                <a:ext cx="112052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24" name="Gruppo 23">
                <a:extLst>
                  <a:ext uri="{FF2B5EF4-FFF2-40B4-BE49-F238E27FC236}">
                    <a16:creationId xmlns:a16="http://schemas.microsoft.com/office/drawing/2014/main" id="{AE12AD6C-D246-E44A-8649-7E0BABB31EFD}"/>
                  </a:ext>
                </a:extLst>
              </p:cNvPr>
              <p:cNvGrpSpPr/>
              <p:nvPr/>
            </p:nvGrpSpPr>
            <p:grpSpPr>
              <a:xfrm>
                <a:off x="2668730" y="1708684"/>
                <a:ext cx="418454" cy="976393"/>
                <a:chOff x="568272" y="2940803"/>
                <a:chExt cx="418454" cy="976393"/>
              </a:xfrm>
              <a:solidFill>
                <a:schemeClr val="bg1"/>
              </a:solidFill>
            </p:grpSpPr>
            <p:sp>
              <p:nvSpPr>
                <p:cNvPr id="25" name="Rettangolo con angoli arrotondati sullo stesso lato 24">
                  <a:extLst>
                    <a:ext uri="{FF2B5EF4-FFF2-40B4-BE49-F238E27FC236}">
                      <a16:creationId xmlns:a16="http://schemas.microsoft.com/office/drawing/2014/main" id="{41764BE2-EF1E-7C48-A7C3-E1484C8CDA82}"/>
                    </a:ext>
                  </a:extLst>
                </p:cNvPr>
                <p:cNvSpPr/>
                <p:nvPr/>
              </p:nvSpPr>
              <p:spPr>
                <a:xfrm rot="16200000">
                  <a:off x="289302" y="3219773"/>
                  <a:ext cx="976393" cy="418454"/>
                </a:xfrm>
                <a:prstGeom prst="round2Same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6" name="CasellaDiTesto 25">
                  <a:extLst>
                    <a:ext uri="{FF2B5EF4-FFF2-40B4-BE49-F238E27FC236}">
                      <a16:creationId xmlns:a16="http://schemas.microsoft.com/office/drawing/2014/main" id="{49280E78-33CD-0343-BC3C-946CB8A4BA18}"/>
                    </a:ext>
                  </a:extLst>
                </p:cNvPr>
                <p:cNvSpPr txBox="1"/>
                <p:nvPr/>
              </p:nvSpPr>
              <p:spPr>
                <a:xfrm rot="16200000">
                  <a:off x="366793" y="3298195"/>
                  <a:ext cx="821410" cy="261610"/>
                </a:xfrm>
                <a:prstGeom prst="rect">
                  <a:avLst/>
                </a:prstGeom>
                <a:grpFill/>
              </p:spPr>
              <p:txBody>
                <a:bodyPr wrap="square" lIns="0" rIns="0" rtlCol="0">
                  <a:spAutoFit/>
                </a:bodyPr>
                <a:lstStyle/>
                <a:p>
                  <a:pPr algn="ctr"/>
                  <a:r>
                    <a:rPr lang="it-IT" sz="1100" dirty="0">
                      <a:solidFill>
                        <a:srgbClr val="1B4A76"/>
                      </a:solidFill>
                      <a:latin typeface="Times New Roman" panose="02020603050405020304" pitchFamily="18" charset="0"/>
                      <a:cs typeface="Times New Roman" panose="02020603050405020304" pitchFamily="18" charset="0"/>
                    </a:rPr>
                    <a:t>PRINCIPLES</a:t>
                  </a:r>
                  <a:endParaRPr lang="it-IT" sz="1600" dirty="0">
                    <a:solidFill>
                      <a:srgbClr val="1B4A76"/>
                    </a:solidFill>
                    <a:latin typeface="Times New Roman" panose="02020603050405020304" pitchFamily="18" charset="0"/>
                    <a:cs typeface="Times New Roman" panose="02020603050405020304" pitchFamily="18" charset="0"/>
                  </a:endParaRPr>
                </a:p>
              </p:txBody>
            </p:sp>
          </p:grpSp>
        </p:grpSp>
        <p:pic>
          <p:nvPicPr>
            <p:cNvPr id="17" name="Immagine 16" descr="Immagine che contiene testo&#10;&#10;Descrizione generata automaticamente">
              <a:extLst>
                <a:ext uri="{FF2B5EF4-FFF2-40B4-BE49-F238E27FC236}">
                  <a16:creationId xmlns:a16="http://schemas.microsoft.com/office/drawing/2014/main" id="{8CA3B1BD-CECF-2145-89D0-8B95BC086183}"/>
                </a:ext>
              </a:extLst>
            </p:cNvPr>
            <p:cNvPicPr>
              <a:picLocks noChangeAspect="1"/>
            </p:cNvPicPr>
            <p:nvPr/>
          </p:nvPicPr>
          <p:blipFill>
            <a:blip r:embed="rId6"/>
            <a:stretch>
              <a:fillRect/>
            </a:stretch>
          </p:blipFill>
          <p:spPr>
            <a:xfrm>
              <a:off x="2623341" y="438755"/>
              <a:ext cx="7578682" cy="5975308"/>
            </a:xfrm>
            <a:prstGeom prst="rect">
              <a:avLst/>
            </a:prstGeom>
          </p:spPr>
        </p:pic>
      </p:grpSp>
      <p:grpSp>
        <p:nvGrpSpPr>
          <p:cNvPr id="56" name="Gruppo 55">
            <a:extLst>
              <a:ext uri="{FF2B5EF4-FFF2-40B4-BE49-F238E27FC236}">
                <a16:creationId xmlns:a16="http://schemas.microsoft.com/office/drawing/2014/main" id="{F7AE945F-B119-6C4A-BFCA-6C56D693386F}"/>
              </a:ext>
            </a:extLst>
          </p:cNvPr>
          <p:cNvGrpSpPr/>
          <p:nvPr/>
        </p:nvGrpSpPr>
        <p:grpSpPr>
          <a:xfrm>
            <a:off x="11060564" y="4192"/>
            <a:ext cx="11613470" cy="6858000"/>
            <a:chOff x="2501538" y="57218"/>
            <a:chExt cx="11613470" cy="6858000"/>
          </a:xfrm>
        </p:grpSpPr>
        <p:grpSp>
          <p:nvGrpSpPr>
            <p:cNvPr id="63" name="Gruppo 62">
              <a:extLst>
                <a:ext uri="{FF2B5EF4-FFF2-40B4-BE49-F238E27FC236}">
                  <a16:creationId xmlns:a16="http://schemas.microsoft.com/office/drawing/2014/main" id="{89DFFD68-132A-4345-A836-D55B2150752E}"/>
                </a:ext>
              </a:extLst>
            </p:cNvPr>
            <p:cNvGrpSpPr/>
            <p:nvPr/>
          </p:nvGrpSpPr>
          <p:grpSpPr>
            <a:xfrm>
              <a:off x="2501538" y="57218"/>
              <a:ext cx="11613470" cy="6858000"/>
              <a:chOff x="2665242" y="-20238"/>
              <a:chExt cx="11613470" cy="6858000"/>
            </a:xfrm>
          </p:grpSpPr>
          <p:grpSp>
            <p:nvGrpSpPr>
              <p:cNvPr id="36" name="Gruppo 35">
                <a:extLst>
                  <a:ext uri="{FF2B5EF4-FFF2-40B4-BE49-F238E27FC236}">
                    <a16:creationId xmlns:a16="http://schemas.microsoft.com/office/drawing/2014/main" id="{E4853A54-60ED-7B44-880E-0A5F0AE0648C}"/>
                  </a:ext>
                </a:extLst>
              </p:cNvPr>
              <p:cNvGrpSpPr/>
              <p:nvPr/>
            </p:nvGrpSpPr>
            <p:grpSpPr>
              <a:xfrm>
                <a:off x="2665242" y="-20238"/>
                <a:ext cx="11613470" cy="6858000"/>
                <a:chOff x="3357006" y="0"/>
                <a:chExt cx="11613470" cy="6858000"/>
              </a:xfrm>
              <a:effectLst>
                <a:outerShdw blurRad="254000" dist="88900" dir="7200000" algn="r" rotWithShape="0">
                  <a:prstClr val="black">
                    <a:alpha val="51000"/>
                  </a:prstClr>
                </a:outerShdw>
              </a:effectLst>
            </p:grpSpPr>
            <p:sp>
              <p:nvSpPr>
                <p:cNvPr id="27" name="Rettangolo 26">
                  <a:extLst>
                    <a:ext uri="{FF2B5EF4-FFF2-40B4-BE49-F238E27FC236}">
                      <a16:creationId xmlns:a16="http://schemas.microsoft.com/office/drawing/2014/main" id="{27E677A6-8BC1-604C-9464-BCFB4BAD7211}"/>
                    </a:ext>
                  </a:extLst>
                </p:cNvPr>
                <p:cNvSpPr/>
                <p:nvPr/>
              </p:nvSpPr>
              <p:spPr>
                <a:xfrm>
                  <a:off x="3759988" y="0"/>
                  <a:ext cx="11205275" cy="6858000"/>
                </a:xfrm>
                <a:prstGeom prst="rect">
                  <a:avLst/>
                </a:prstGeom>
                <a:solidFill>
                  <a:srgbClr val="1B4A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bg1"/>
                    </a:solidFill>
                  </a:endParaRPr>
                </a:p>
              </p:txBody>
            </p:sp>
            <p:grpSp>
              <p:nvGrpSpPr>
                <p:cNvPr id="28" name="Gruppo 27">
                  <a:extLst>
                    <a:ext uri="{FF2B5EF4-FFF2-40B4-BE49-F238E27FC236}">
                      <a16:creationId xmlns:a16="http://schemas.microsoft.com/office/drawing/2014/main" id="{0968D6CD-9304-D64D-A268-EDB0AC02F710}"/>
                    </a:ext>
                  </a:extLst>
                </p:cNvPr>
                <p:cNvGrpSpPr/>
                <p:nvPr/>
              </p:nvGrpSpPr>
              <p:grpSpPr>
                <a:xfrm>
                  <a:off x="3357006" y="1297978"/>
                  <a:ext cx="418454" cy="976393"/>
                  <a:chOff x="568272" y="2940803"/>
                  <a:chExt cx="418454" cy="976393"/>
                </a:xfrm>
                <a:solidFill>
                  <a:srgbClr val="1B4A76"/>
                </a:solidFill>
              </p:grpSpPr>
              <p:sp>
                <p:nvSpPr>
                  <p:cNvPr id="29" name="Rettangolo con angoli arrotondati sullo stesso lato 28">
                    <a:extLst>
                      <a:ext uri="{FF2B5EF4-FFF2-40B4-BE49-F238E27FC236}">
                        <a16:creationId xmlns:a16="http://schemas.microsoft.com/office/drawing/2014/main" id="{14875E01-C3A1-9A43-B1FE-A09986610BB7}"/>
                      </a:ext>
                    </a:extLst>
                  </p:cNvPr>
                  <p:cNvSpPr/>
                  <p:nvPr/>
                </p:nvSpPr>
                <p:spPr>
                  <a:xfrm rot="16200000">
                    <a:off x="289302" y="3219773"/>
                    <a:ext cx="976393" cy="418454"/>
                  </a:xfrm>
                  <a:prstGeom prst="round2Same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bg1"/>
                      </a:solidFill>
                    </a:endParaRPr>
                  </a:p>
                </p:txBody>
              </p:sp>
              <p:sp>
                <p:nvSpPr>
                  <p:cNvPr id="30" name="CasellaDiTesto 29">
                    <a:extLst>
                      <a:ext uri="{FF2B5EF4-FFF2-40B4-BE49-F238E27FC236}">
                        <a16:creationId xmlns:a16="http://schemas.microsoft.com/office/drawing/2014/main" id="{929EDB36-7611-2B42-B3A2-EC541A408C80}"/>
                      </a:ext>
                    </a:extLst>
                  </p:cNvPr>
                  <p:cNvSpPr txBox="1"/>
                  <p:nvPr/>
                </p:nvSpPr>
                <p:spPr>
                  <a:xfrm rot="16200000">
                    <a:off x="366793" y="3328972"/>
                    <a:ext cx="821410" cy="200055"/>
                  </a:xfrm>
                  <a:prstGeom prst="rect">
                    <a:avLst/>
                  </a:prstGeom>
                  <a:grpFill/>
                </p:spPr>
                <p:txBody>
                  <a:bodyPr wrap="square" lIns="0" rIns="0" rtlCol="0">
                    <a:spAutoFit/>
                  </a:bodyPr>
                  <a:lstStyle/>
                  <a:p>
                    <a:pPr algn="ctr"/>
                    <a:r>
                      <a:rPr lang="it-IT" sz="700" dirty="0">
                        <a:solidFill>
                          <a:schemeClr val="bg1"/>
                        </a:solidFill>
                        <a:latin typeface="Times New Roman" panose="02020603050405020304" pitchFamily="18" charset="0"/>
                        <a:cs typeface="Times New Roman" panose="02020603050405020304" pitchFamily="18" charset="0"/>
                      </a:rPr>
                      <a:t>CARATTERISTICHE</a:t>
                    </a:r>
                    <a:endParaRPr lang="it-IT" sz="1600" dirty="0">
                      <a:solidFill>
                        <a:schemeClr val="bg1"/>
                      </a:solidFill>
                      <a:latin typeface="Times New Roman" panose="02020603050405020304" pitchFamily="18" charset="0"/>
                      <a:cs typeface="Times New Roman" panose="02020603050405020304" pitchFamily="18" charset="0"/>
                    </a:endParaRPr>
                  </a:p>
                </p:txBody>
              </p:sp>
            </p:grpSp>
            <p:sp>
              <p:nvSpPr>
                <p:cNvPr id="42" name="Rettangolo 41">
                  <a:extLst>
                    <a:ext uri="{FF2B5EF4-FFF2-40B4-BE49-F238E27FC236}">
                      <a16:creationId xmlns:a16="http://schemas.microsoft.com/office/drawing/2014/main" id="{84C48880-70E7-DA42-97C8-1CCA39551CB5}"/>
                    </a:ext>
                  </a:extLst>
                </p:cNvPr>
                <p:cNvSpPr/>
                <p:nvPr/>
              </p:nvSpPr>
              <p:spPr>
                <a:xfrm>
                  <a:off x="3765201" y="0"/>
                  <a:ext cx="11205275" cy="6858000"/>
                </a:xfrm>
                <a:prstGeom prst="rect">
                  <a:avLst/>
                </a:prstGeom>
                <a:solidFill>
                  <a:srgbClr val="1B4A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bg1"/>
                    </a:solidFill>
                  </a:endParaRPr>
                </a:p>
              </p:txBody>
            </p:sp>
          </p:grpSp>
          <p:sp>
            <p:nvSpPr>
              <p:cNvPr id="62" name="Rettangolo 61">
                <a:extLst>
                  <a:ext uri="{FF2B5EF4-FFF2-40B4-BE49-F238E27FC236}">
                    <a16:creationId xmlns:a16="http://schemas.microsoft.com/office/drawing/2014/main" id="{0BBA0B6E-B266-EA48-AFCE-0B482D3A65A1}"/>
                  </a:ext>
                </a:extLst>
              </p:cNvPr>
              <p:cNvSpPr/>
              <p:nvPr/>
            </p:nvSpPr>
            <p:spPr>
              <a:xfrm>
                <a:off x="3289110" y="201478"/>
                <a:ext cx="8296858" cy="6416298"/>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a:p>
            </p:txBody>
          </p:sp>
        </p:grpSp>
        <p:pic>
          <p:nvPicPr>
            <p:cNvPr id="55" name="Immagine 54" descr="Immagine che contiene testo&#10;&#10;Descrizione generata automaticamente">
              <a:extLst>
                <a:ext uri="{FF2B5EF4-FFF2-40B4-BE49-F238E27FC236}">
                  <a16:creationId xmlns:a16="http://schemas.microsoft.com/office/drawing/2014/main" id="{9C8BE756-E611-F74D-8986-A77FB902BDEE}"/>
                </a:ext>
              </a:extLst>
            </p:cNvPr>
            <p:cNvPicPr>
              <a:picLocks noChangeAspect="1"/>
            </p:cNvPicPr>
            <p:nvPr/>
          </p:nvPicPr>
          <p:blipFill>
            <a:blip r:embed="rId7"/>
            <a:stretch>
              <a:fillRect/>
            </a:stretch>
          </p:blipFill>
          <p:spPr>
            <a:xfrm>
              <a:off x="3295151" y="589109"/>
              <a:ext cx="7902919" cy="5721827"/>
            </a:xfrm>
            <a:prstGeom prst="rect">
              <a:avLst/>
            </a:prstGeom>
          </p:spPr>
        </p:pic>
      </p:grpSp>
      <p:grpSp>
        <p:nvGrpSpPr>
          <p:cNvPr id="75" name="Gruppo 74">
            <a:extLst>
              <a:ext uri="{FF2B5EF4-FFF2-40B4-BE49-F238E27FC236}">
                <a16:creationId xmlns:a16="http://schemas.microsoft.com/office/drawing/2014/main" id="{CB4EDA02-6663-7148-934F-82562614DC4E}"/>
              </a:ext>
            </a:extLst>
          </p:cNvPr>
          <p:cNvGrpSpPr/>
          <p:nvPr/>
        </p:nvGrpSpPr>
        <p:grpSpPr>
          <a:xfrm>
            <a:off x="11572746" y="53704"/>
            <a:ext cx="11623730" cy="6858000"/>
            <a:chOff x="2960249" y="-13896"/>
            <a:chExt cx="11623730" cy="6858000"/>
          </a:xfrm>
        </p:grpSpPr>
        <p:grpSp>
          <p:nvGrpSpPr>
            <p:cNvPr id="35" name="Gruppo 34">
              <a:extLst>
                <a:ext uri="{FF2B5EF4-FFF2-40B4-BE49-F238E27FC236}">
                  <a16:creationId xmlns:a16="http://schemas.microsoft.com/office/drawing/2014/main" id="{48F72EC6-B0B4-3C47-9D43-5700F39D162A}"/>
                </a:ext>
              </a:extLst>
            </p:cNvPr>
            <p:cNvGrpSpPr/>
            <p:nvPr/>
          </p:nvGrpSpPr>
          <p:grpSpPr>
            <a:xfrm>
              <a:off x="2960249" y="-13896"/>
              <a:ext cx="11623730" cy="6858000"/>
              <a:chOff x="4058709" y="0"/>
              <a:chExt cx="11623730" cy="6858000"/>
            </a:xfrm>
            <a:effectLst>
              <a:outerShdw blurRad="254000" dist="88900" dir="7200000" algn="r" rotWithShape="0">
                <a:prstClr val="black">
                  <a:alpha val="51000"/>
                </a:prstClr>
              </a:outerShdw>
            </a:effectLst>
          </p:grpSpPr>
          <p:sp>
            <p:nvSpPr>
              <p:cNvPr id="31" name="Rettangolo 30">
                <a:extLst>
                  <a:ext uri="{FF2B5EF4-FFF2-40B4-BE49-F238E27FC236}">
                    <a16:creationId xmlns:a16="http://schemas.microsoft.com/office/drawing/2014/main" id="{785C5A43-7961-A74A-8106-61946B6F690B}"/>
                  </a:ext>
                </a:extLst>
              </p:cNvPr>
              <p:cNvSpPr/>
              <p:nvPr/>
            </p:nvSpPr>
            <p:spPr>
              <a:xfrm>
                <a:off x="4477164" y="0"/>
                <a:ext cx="112052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1B4A76"/>
                  </a:solidFill>
                </a:endParaRPr>
              </a:p>
            </p:txBody>
          </p:sp>
          <p:grpSp>
            <p:nvGrpSpPr>
              <p:cNvPr id="32" name="Gruppo 31">
                <a:extLst>
                  <a:ext uri="{FF2B5EF4-FFF2-40B4-BE49-F238E27FC236}">
                    <a16:creationId xmlns:a16="http://schemas.microsoft.com/office/drawing/2014/main" id="{42D1B51B-FB02-AC41-BC58-6F1BE6A6F012}"/>
                  </a:ext>
                </a:extLst>
              </p:cNvPr>
              <p:cNvGrpSpPr/>
              <p:nvPr/>
            </p:nvGrpSpPr>
            <p:grpSpPr>
              <a:xfrm>
                <a:off x="4058709" y="887273"/>
                <a:ext cx="418454" cy="976393"/>
                <a:chOff x="568272" y="2940803"/>
                <a:chExt cx="418454" cy="976393"/>
              </a:xfrm>
              <a:solidFill>
                <a:schemeClr val="bg1"/>
              </a:solidFill>
            </p:grpSpPr>
            <p:sp>
              <p:nvSpPr>
                <p:cNvPr id="33" name="Rettangolo con angoli arrotondati sullo stesso lato 32">
                  <a:extLst>
                    <a:ext uri="{FF2B5EF4-FFF2-40B4-BE49-F238E27FC236}">
                      <a16:creationId xmlns:a16="http://schemas.microsoft.com/office/drawing/2014/main" id="{F52AD740-D97D-5547-BE58-275A8360F602}"/>
                    </a:ext>
                  </a:extLst>
                </p:cNvPr>
                <p:cNvSpPr/>
                <p:nvPr/>
              </p:nvSpPr>
              <p:spPr>
                <a:xfrm rot="16200000">
                  <a:off x="289302" y="3219773"/>
                  <a:ext cx="976393" cy="418454"/>
                </a:xfrm>
                <a:prstGeom prst="round2Same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1B4A76"/>
                    </a:solidFill>
                  </a:endParaRPr>
                </a:p>
              </p:txBody>
            </p:sp>
            <p:sp>
              <p:nvSpPr>
                <p:cNvPr id="34" name="CasellaDiTesto 33">
                  <a:extLst>
                    <a:ext uri="{FF2B5EF4-FFF2-40B4-BE49-F238E27FC236}">
                      <a16:creationId xmlns:a16="http://schemas.microsoft.com/office/drawing/2014/main" id="{9BCDE4D5-C368-E94E-9326-6CBE05FEB536}"/>
                    </a:ext>
                  </a:extLst>
                </p:cNvPr>
                <p:cNvSpPr txBox="1"/>
                <p:nvPr/>
              </p:nvSpPr>
              <p:spPr>
                <a:xfrm rot="16200000">
                  <a:off x="366793" y="3275112"/>
                  <a:ext cx="821410" cy="307777"/>
                </a:xfrm>
                <a:prstGeom prst="rect">
                  <a:avLst/>
                </a:prstGeom>
                <a:grpFill/>
              </p:spPr>
              <p:txBody>
                <a:bodyPr wrap="square" lIns="0" rIns="0" rtlCol="0">
                  <a:spAutoFit/>
                </a:bodyPr>
                <a:lstStyle/>
                <a:p>
                  <a:pPr algn="ctr"/>
                  <a:r>
                    <a:rPr lang="it-IT" sz="1400" dirty="0">
                      <a:solidFill>
                        <a:srgbClr val="1B4A76"/>
                      </a:solidFill>
                      <a:latin typeface="Times New Roman" panose="02020603050405020304" pitchFamily="18" charset="0"/>
                      <a:cs typeface="Times New Roman" panose="02020603050405020304" pitchFamily="18" charset="0"/>
                    </a:rPr>
                    <a:t>MODELLI</a:t>
                  </a:r>
                  <a:endParaRPr lang="it-IT" sz="1600" dirty="0">
                    <a:solidFill>
                      <a:srgbClr val="1B4A76"/>
                    </a:solidFill>
                    <a:latin typeface="Times New Roman" panose="02020603050405020304" pitchFamily="18" charset="0"/>
                    <a:cs typeface="Times New Roman" panose="02020603050405020304" pitchFamily="18" charset="0"/>
                  </a:endParaRPr>
                </a:p>
              </p:txBody>
            </p:sp>
          </p:grpSp>
        </p:grpSp>
        <p:pic>
          <p:nvPicPr>
            <p:cNvPr id="74" name="Immagine 73" descr="Immagine che contiene testo&#10;&#10;Descrizione generata automaticamente">
              <a:extLst>
                <a:ext uri="{FF2B5EF4-FFF2-40B4-BE49-F238E27FC236}">
                  <a16:creationId xmlns:a16="http://schemas.microsoft.com/office/drawing/2014/main" id="{0449D90D-7DF0-784B-87A6-1ABA0C86FD96}"/>
                </a:ext>
              </a:extLst>
            </p:cNvPr>
            <p:cNvPicPr>
              <a:picLocks noChangeAspect="1"/>
            </p:cNvPicPr>
            <p:nvPr/>
          </p:nvPicPr>
          <p:blipFill>
            <a:blip r:embed="rId8"/>
            <a:stretch>
              <a:fillRect/>
            </a:stretch>
          </p:blipFill>
          <p:spPr>
            <a:xfrm>
              <a:off x="3524822" y="152838"/>
              <a:ext cx="7298198" cy="5907132"/>
            </a:xfrm>
            <a:prstGeom prst="rect">
              <a:avLst/>
            </a:prstGeom>
          </p:spPr>
        </p:pic>
      </p:grpSp>
    </p:spTree>
    <p:extLst>
      <p:ext uri="{BB962C8B-B14F-4D97-AF65-F5344CB8AC3E}">
        <p14:creationId xmlns:p14="http://schemas.microsoft.com/office/powerpoint/2010/main" val="450914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afterEffect">
                                  <p:stCondLst>
                                    <p:cond delay="0"/>
                                  </p:stCondLst>
                                  <p:childTnLst>
                                    <p:animMotion origin="layout" path="M -0.30989 -0.00417 L -0.71471 -0.00417 " pathEditMode="relative" rAng="0" ptsTypes="AA">
                                      <p:cBhvr>
                                        <p:cTn id="6" dur="1250" fill="hold"/>
                                        <p:tgtEl>
                                          <p:spTgt spid="53"/>
                                        </p:tgtEl>
                                        <p:attrNameLst>
                                          <p:attrName>ppt_x</p:attrName>
                                          <p:attrName>ppt_y</p:attrName>
                                        </p:attrNameLst>
                                      </p:cBhvr>
                                      <p:rCtr x="-20247" y="0"/>
                                    </p:animMotion>
                                  </p:childTnLst>
                                </p:cTn>
                              </p:par>
                            </p:childTnLst>
                          </p:cTn>
                        </p:par>
                      </p:childTnLst>
                    </p:cTn>
                  </p:par>
                  <p:par>
                    <p:cTn id="7" fill="hold">
                      <p:stCondLst>
                        <p:cond delay="indefinite"/>
                      </p:stCondLst>
                      <p:childTnLst>
                        <p:par>
                          <p:cTn id="8" fill="hold">
                            <p:stCondLst>
                              <p:cond delay="0"/>
                            </p:stCondLst>
                            <p:childTnLst>
                              <p:par>
                                <p:cTn id="9" presetID="35" presetClass="path" presetSubtype="0" accel="50000" decel="50000" fill="hold" nodeType="clickEffect">
                                  <p:stCondLst>
                                    <p:cond delay="0"/>
                                  </p:stCondLst>
                                  <p:childTnLst>
                                    <p:animMotion origin="layout" path="M -0.20807 -0.00348 L -0.69115 -0.00139 " pathEditMode="relative" rAng="0" ptsTypes="AA">
                                      <p:cBhvr>
                                        <p:cTn id="10" dur="1250" fill="hold"/>
                                        <p:tgtEl>
                                          <p:spTgt spid="43"/>
                                        </p:tgtEl>
                                        <p:attrNameLst>
                                          <p:attrName>ppt_x</p:attrName>
                                          <p:attrName>ppt_y</p:attrName>
                                        </p:attrNameLst>
                                      </p:cBhvr>
                                      <p:rCtr x="-24154" y="93"/>
                                    </p:animMotion>
                                  </p:childTnLst>
                                </p:cTn>
                              </p:par>
                            </p:childTnLst>
                          </p:cTn>
                        </p:par>
                      </p:childTnLst>
                    </p:cTn>
                  </p:par>
                  <p:par>
                    <p:cTn id="11" fill="hold">
                      <p:stCondLst>
                        <p:cond delay="indefinite"/>
                      </p:stCondLst>
                      <p:childTnLst>
                        <p:par>
                          <p:cTn id="12" fill="hold">
                            <p:stCondLst>
                              <p:cond delay="0"/>
                            </p:stCondLst>
                            <p:childTnLst>
                              <p:par>
                                <p:cTn id="13" presetID="0" presetClass="path" presetSubtype="0" accel="50000" decel="50000" fill="hold" nodeType="clickEffect">
                                  <p:stCondLst>
                                    <p:cond delay="0"/>
                                  </p:stCondLst>
                                  <p:childTnLst>
                                    <p:animMotion origin="layout" path="M -0.20808 -0.00069 L -0.67592 -0.00069 " pathEditMode="relative" rAng="0" ptsTypes="AA">
                                      <p:cBhvr>
                                        <p:cTn id="14" dur="1250" fill="hold"/>
                                        <p:tgtEl>
                                          <p:spTgt spid="15"/>
                                        </p:tgtEl>
                                        <p:attrNameLst>
                                          <p:attrName>ppt_x</p:attrName>
                                          <p:attrName>ppt_y</p:attrName>
                                        </p:attrNameLst>
                                      </p:cBhvr>
                                      <p:rCtr x="-23398" y="0"/>
                                    </p:animMotion>
                                  </p:childTnLst>
                                </p:cTn>
                              </p:par>
                            </p:childTnLst>
                          </p:cTn>
                        </p:par>
                      </p:childTnLst>
                    </p:cTn>
                  </p:par>
                  <p:par>
                    <p:cTn id="15" fill="hold">
                      <p:stCondLst>
                        <p:cond delay="indefinite"/>
                      </p:stCondLst>
                      <p:childTnLst>
                        <p:par>
                          <p:cTn id="16" fill="hold">
                            <p:stCondLst>
                              <p:cond delay="0"/>
                            </p:stCondLst>
                            <p:childTnLst>
                              <p:par>
                                <p:cTn id="17" presetID="0" presetClass="path" presetSubtype="0" accel="50000" decel="50000" fill="hold" nodeType="clickEffect">
                                  <p:stCondLst>
                                    <p:cond delay="0"/>
                                  </p:stCondLst>
                                  <p:childTnLst>
                                    <p:animMotion origin="layout" path="M -0.3461 0.00648 L -0.66016 0.00231 " pathEditMode="relative" rAng="0" ptsTypes="AA">
                                      <p:cBhvr>
                                        <p:cTn id="18" dur="1250" fill="hold"/>
                                        <p:tgtEl>
                                          <p:spTgt spid="18"/>
                                        </p:tgtEl>
                                        <p:attrNameLst>
                                          <p:attrName>ppt_x</p:attrName>
                                          <p:attrName>ppt_y</p:attrName>
                                        </p:attrNameLst>
                                      </p:cBhvr>
                                      <p:rCtr x="-15703" y="-208"/>
                                    </p:animMotion>
                                  </p:childTnLst>
                                </p:cTn>
                              </p:par>
                            </p:childTnLst>
                          </p:cTn>
                        </p:par>
                      </p:childTnLst>
                    </p:cTn>
                  </p:par>
                  <p:par>
                    <p:cTn id="19" fill="hold">
                      <p:stCondLst>
                        <p:cond delay="indefinite"/>
                      </p:stCondLst>
                      <p:childTnLst>
                        <p:par>
                          <p:cTn id="20" fill="hold">
                            <p:stCondLst>
                              <p:cond delay="0"/>
                            </p:stCondLst>
                            <p:childTnLst>
                              <p:par>
                                <p:cTn id="21" presetID="0" presetClass="path" presetSubtype="0" accel="50000" decel="50000" fill="hold" nodeType="clickEffect">
                                  <p:stCondLst>
                                    <p:cond delay="0"/>
                                  </p:stCondLst>
                                  <p:childTnLst>
                                    <p:animMotion origin="layout" path="M -0.14127 0.00348 L -0.64544 -0.00069 " pathEditMode="relative" ptsTypes="AA">
                                      <p:cBhvr>
                                        <p:cTn id="22" dur="1250" fill="hold"/>
                                        <p:tgtEl>
                                          <p:spTgt spid="56"/>
                                        </p:tgtEl>
                                        <p:attrNameLst>
                                          <p:attrName>ppt_x</p:attrName>
                                          <p:attrName>ppt_y</p:attrName>
                                        </p:attrNameLst>
                                      </p:cBhvr>
                                    </p:animMotion>
                                  </p:childTnLst>
                                </p:cTn>
                              </p:par>
                            </p:childTnLst>
                          </p:cTn>
                        </p:par>
                      </p:childTnLst>
                    </p:cTn>
                  </p:par>
                  <p:par>
                    <p:cTn id="23" fill="hold">
                      <p:stCondLst>
                        <p:cond delay="indefinite"/>
                      </p:stCondLst>
                      <p:childTnLst>
                        <p:par>
                          <p:cTn id="24" fill="hold">
                            <p:stCondLst>
                              <p:cond delay="0"/>
                            </p:stCondLst>
                            <p:childTnLst>
                              <p:par>
                                <p:cTn id="25" presetID="0" presetClass="path" presetSubtype="0" accel="50000" decel="50000" fill="hold" nodeType="clickEffect">
                                  <p:stCondLst>
                                    <p:cond delay="0"/>
                                  </p:stCondLst>
                                  <p:childTnLst>
                                    <p:animMotion origin="layout" path="M -0.12617 0.00069 L -0.61745 -0.00347 " pathEditMode="relative" rAng="0" ptsTypes="AA">
                                      <p:cBhvr>
                                        <p:cTn id="26" dur="1750" fill="hold"/>
                                        <p:tgtEl>
                                          <p:spTgt spid="75"/>
                                        </p:tgtEl>
                                        <p:attrNameLst>
                                          <p:attrName>ppt_x</p:attrName>
                                          <p:attrName>ppt_y</p:attrName>
                                        </p:attrNameLst>
                                      </p:cBhvr>
                                      <p:rCtr x="-24570" y="-20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pSp>
        <p:nvGrpSpPr>
          <p:cNvPr id="6" name="Gruppo 5">
            <a:extLst>
              <a:ext uri="{FF2B5EF4-FFF2-40B4-BE49-F238E27FC236}">
                <a16:creationId xmlns:a16="http://schemas.microsoft.com/office/drawing/2014/main" id="{5D3D6F48-98FC-C044-BD40-C2C547510F3B}"/>
              </a:ext>
            </a:extLst>
          </p:cNvPr>
          <p:cNvGrpSpPr/>
          <p:nvPr/>
        </p:nvGrpSpPr>
        <p:grpSpPr>
          <a:xfrm>
            <a:off x="2510116" y="1316486"/>
            <a:ext cx="7171765" cy="1046765"/>
            <a:chOff x="2510116" y="1316486"/>
            <a:chExt cx="7171765" cy="1046765"/>
          </a:xfrm>
        </p:grpSpPr>
        <p:sp>
          <p:nvSpPr>
            <p:cNvPr id="4" name="Rettangolo 3">
              <a:extLst>
                <a:ext uri="{FF2B5EF4-FFF2-40B4-BE49-F238E27FC236}">
                  <a16:creationId xmlns:a16="http://schemas.microsoft.com/office/drawing/2014/main" id="{317CD057-1783-FE45-829A-F4F97D7B91E8}"/>
                </a:ext>
              </a:extLst>
            </p:cNvPr>
            <p:cNvSpPr/>
            <p:nvPr/>
          </p:nvSpPr>
          <p:spPr>
            <a:xfrm>
              <a:off x="2510116" y="1316486"/>
              <a:ext cx="7171765" cy="10467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5" name="CasellaDiTesto 4">
              <a:extLst>
                <a:ext uri="{FF2B5EF4-FFF2-40B4-BE49-F238E27FC236}">
                  <a16:creationId xmlns:a16="http://schemas.microsoft.com/office/drawing/2014/main" id="{C5B20E93-8870-C445-8124-C79504A70715}"/>
                </a:ext>
              </a:extLst>
            </p:cNvPr>
            <p:cNvSpPr txBox="1"/>
            <p:nvPr/>
          </p:nvSpPr>
          <p:spPr>
            <a:xfrm>
              <a:off x="2769798" y="1586115"/>
              <a:ext cx="6652399" cy="754053"/>
            </a:xfrm>
            <a:prstGeom prst="rect">
              <a:avLst/>
            </a:prstGeom>
            <a:noFill/>
          </p:spPr>
          <p:txBody>
            <a:bodyPr wrap="none" rtlCol="0" anchor="ctr">
              <a:spAutoFit/>
            </a:bodyPr>
            <a:lstStyle/>
            <a:p>
              <a:pPr algn="ctr"/>
              <a:r>
                <a:rPr lang="it-IT" sz="2500" dirty="0">
                  <a:solidFill>
                    <a:srgbClr val="19436B"/>
                  </a:solidFill>
                  <a:latin typeface="Times New Roman" panose="02020603050405020304" pitchFamily="18" charset="0"/>
                  <a:cs typeface="Times New Roman" panose="02020603050405020304" pitchFamily="18" charset="0"/>
                </a:rPr>
                <a:t>Cassazione civile sez. I - 11/06/2010, n. 14056 </a:t>
              </a:r>
            </a:p>
            <a:p>
              <a:endParaRPr lang="it-IT" dirty="0"/>
            </a:p>
          </p:txBody>
        </p:sp>
      </p:grpSp>
      <p:grpSp>
        <p:nvGrpSpPr>
          <p:cNvPr id="9" name="Gruppo 8">
            <a:extLst>
              <a:ext uri="{FF2B5EF4-FFF2-40B4-BE49-F238E27FC236}">
                <a16:creationId xmlns:a16="http://schemas.microsoft.com/office/drawing/2014/main" id="{82735C24-2668-3C49-A422-72E3DD5D8EBA}"/>
              </a:ext>
            </a:extLst>
          </p:cNvPr>
          <p:cNvGrpSpPr/>
          <p:nvPr/>
        </p:nvGrpSpPr>
        <p:grpSpPr>
          <a:xfrm>
            <a:off x="2109329" y="2905617"/>
            <a:ext cx="7946406" cy="1046765"/>
            <a:chOff x="2122795" y="1316486"/>
            <a:chExt cx="7946406" cy="1046765"/>
          </a:xfrm>
        </p:grpSpPr>
        <p:sp>
          <p:nvSpPr>
            <p:cNvPr id="10" name="Rettangolo 9">
              <a:extLst>
                <a:ext uri="{FF2B5EF4-FFF2-40B4-BE49-F238E27FC236}">
                  <a16:creationId xmlns:a16="http://schemas.microsoft.com/office/drawing/2014/main" id="{0770E0F2-FD8E-1C47-B07A-38E460CF8A4D}"/>
                </a:ext>
              </a:extLst>
            </p:cNvPr>
            <p:cNvSpPr/>
            <p:nvPr/>
          </p:nvSpPr>
          <p:spPr>
            <a:xfrm>
              <a:off x="2510116" y="1316486"/>
              <a:ext cx="7171765" cy="10467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11" name="CasellaDiTesto 10">
              <a:extLst>
                <a:ext uri="{FF2B5EF4-FFF2-40B4-BE49-F238E27FC236}">
                  <a16:creationId xmlns:a16="http://schemas.microsoft.com/office/drawing/2014/main" id="{E6137762-7498-334D-8E7F-845BDC8A7D70}"/>
                </a:ext>
              </a:extLst>
            </p:cNvPr>
            <p:cNvSpPr txBox="1"/>
            <p:nvPr/>
          </p:nvSpPr>
          <p:spPr>
            <a:xfrm>
              <a:off x="2122795" y="1552744"/>
              <a:ext cx="7946406" cy="769441"/>
            </a:xfrm>
            <a:prstGeom prst="rect">
              <a:avLst/>
            </a:prstGeom>
            <a:noFill/>
          </p:spPr>
          <p:txBody>
            <a:bodyPr wrap="none" rtlCol="0" anchor="ctr">
              <a:spAutoFit/>
            </a:bodyPr>
            <a:lstStyle/>
            <a:p>
              <a:pPr algn="ctr"/>
              <a:r>
                <a:rPr lang="it-IT" sz="2500" dirty="0">
                  <a:solidFill>
                    <a:srgbClr val="19436B"/>
                  </a:solidFill>
                  <a:latin typeface="Times New Roman" panose="02020603050405020304" pitchFamily="18" charset="0"/>
                  <a:cs typeface="Times New Roman" panose="02020603050405020304" pitchFamily="18" charset="0"/>
                </a:rPr>
                <a:t>T.A.R. Molise sez. I - Campobasso, 17/05/2017, n. 184 </a:t>
              </a:r>
            </a:p>
            <a:p>
              <a:endParaRPr lang="it-IT" dirty="0"/>
            </a:p>
          </p:txBody>
        </p:sp>
      </p:grpSp>
      <p:grpSp>
        <p:nvGrpSpPr>
          <p:cNvPr id="12" name="Gruppo 11">
            <a:extLst>
              <a:ext uri="{FF2B5EF4-FFF2-40B4-BE49-F238E27FC236}">
                <a16:creationId xmlns:a16="http://schemas.microsoft.com/office/drawing/2014/main" id="{195BD5B0-A40A-A048-9EE5-6F0600558B23}"/>
              </a:ext>
            </a:extLst>
          </p:cNvPr>
          <p:cNvGrpSpPr/>
          <p:nvPr/>
        </p:nvGrpSpPr>
        <p:grpSpPr>
          <a:xfrm>
            <a:off x="2505650" y="4494748"/>
            <a:ext cx="7171765" cy="1046765"/>
            <a:chOff x="2510116" y="1316486"/>
            <a:chExt cx="7171765" cy="1046765"/>
          </a:xfrm>
        </p:grpSpPr>
        <p:sp>
          <p:nvSpPr>
            <p:cNvPr id="13" name="Rettangolo 12">
              <a:extLst>
                <a:ext uri="{FF2B5EF4-FFF2-40B4-BE49-F238E27FC236}">
                  <a16:creationId xmlns:a16="http://schemas.microsoft.com/office/drawing/2014/main" id="{BEA6237B-5D33-B945-A5CC-A4D71BB4642E}"/>
                </a:ext>
              </a:extLst>
            </p:cNvPr>
            <p:cNvSpPr/>
            <p:nvPr/>
          </p:nvSpPr>
          <p:spPr>
            <a:xfrm>
              <a:off x="2510116" y="1316486"/>
              <a:ext cx="7171765" cy="10467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14" name="CasellaDiTesto 13">
              <a:extLst>
                <a:ext uri="{FF2B5EF4-FFF2-40B4-BE49-F238E27FC236}">
                  <a16:creationId xmlns:a16="http://schemas.microsoft.com/office/drawing/2014/main" id="{32527EFD-E438-F743-BF4F-912B68B73738}"/>
                </a:ext>
              </a:extLst>
            </p:cNvPr>
            <p:cNvSpPr txBox="1"/>
            <p:nvPr/>
          </p:nvSpPr>
          <p:spPr>
            <a:xfrm>
              <a:off x="2777791" y="1586115"/>
              <a:ext cx="6645345" cy="754053"/>
            </a:xfrm>
            <a:prstGeom prst="rect">
              <a:avLst/>
            </a:prstGeom>
            <a:noFill/>
          </p:spPr>
          <p:txBody>
            <a:bodyPr wrap="none" rtlCol="0" anchor="ctr">
              <a:spAutoFit/>
            </a:bodyPr>
            <a:lstStyle/>
            <a:p>
              <a:pPr algn="ctr"/>
              <a:r>
                <a:rPr lang="it-IT" sz="2500" dirty="0">
                  <a:solidFill>
                    <a:srgbClr val="19436B"/>
                  </a:solidFill>
                  <a:latin typeface="Times New Roman" panose="02020603050405020304" pitchFamily="18" charset="0"/>
                  <a:cs typeface="Times New Roman" panose="02020603050405020304" pitchFamily="18" charset="0"/>
                </a:rPr>
                <a:t>Tribunale I grado UE sez. V - 27/09/2007, n. 8 </a:t>
              </a:r>
            </a:p>
            <a:p>
              <a:endParaRPr lang="it-IT" dirty="0"/>
            </a:p>
          </p:txBody>
        </p:sp>
      </p:grpSp>
    </p:spTree>
    <p:extLst>
      <p:ext uri="{BB962C8B-B14F-4D97-AF65-F5344CB8AC3E}">
        <p14:creationId xmlns:p14="http://schemas.microsoft.com/office/powerpoint/2010/main" val="12024034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750" fill="hold"/>
                                        <p:tgtEl>
                                          <p:spTgt spid="6"/>
                                        </p:tgtEl>
                                        <p:attrNameLst>
                                          <p:attrName>ppt_x</p:attrName>
                                        </p:attrNameLst>
                                      </p:cBhvr>
                                      <p:tavLst>
                                        <p:tav tm="0">
                                          <p:val>
                                            <p:strVal val="0-#ppt_w/2"/>
                                          </p:val>
                                        </p:tav>
                                        <p:tav tm="100000">
                                          <p:val>
                                            <p:strVal val="#ppt_x"/>
                                          </p:val>
                                        </p:tav>
                                      </p:tavLst>
                                    </p:anim>
                                    <p:anim calcmode="lin" valueType="num">
                                      <p:cBhvr additive="base">
                                        <p:cTn id="8" dur="75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750" fill="hold"/>
                                        <p:tgtEl>
                                          <p:spTgt spid="9"/>
                                        </p:tgtEl>
                                        <p:attrNameLst>
                                          <p:attrName>ppt_x</p:attrName>
                                        </p:attrNameLst>
                                      </p:cBhvr>
                                      <p:tavLst>
                                        <p:tav tm="0">
                                          <p:val>
                                            <p:strVal val="0-#ppt_w/2"/>
                                          </p:val>
                                        </p:tav>
                                        <p:tav tm="100000">
                                          <p:val>
                                            <p:strVal val="#ppt_x"/>
                                          </p:val>
                                        </p:tav>
                                      </p:tavLst>
                                    </p:anim>
                                    <p:anim calcmode="lin" valueType="num">
                                      <p:cBhvr additive="base">
                                        <p:cTn id="14" dur="75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750" fill="hold"/>
                                        <p:tgtEl>
                                          <p:spTgt spid="12"/>
                                        </p:tgtEl>
                                        <p:attrNameLst>
                                          <p:attrName>ppt_x</p:attrName>
                                        </p:attrNameLst>
                                      </p:cBhvr>
                                      <p:tavLst>
                                        <p:tav tm="0">
                                          <p:val>
                                            <p:strVal val="0-#ppt_w/2"/>
                                          </p:val>
                                        </p:tav>
                                        <p:tav tm="100000">
                                          <p:val>
                                            <p:strVal val="#ppt_x"/>
                                          </p:val>
                                        </p:tav>
                                      </p:tavLst>
                                    </p:anim>
                                    <p:anim calcmode="lin" valueType="num">
                                      <p:cBhvr additive="base">
                                        <p:cTn id="20" dur="75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uppo 12">
            <a:extLst>
              <a:ext uri="{FF2B5EF4-FFF2-40B4-BE49-F238E27FC236}">
                <a16:creationId xmlns:a16="http://schemas.microsoft.com/office/drawing/2014/main" id="{AAD7765C-33C8-DC45-8BBD-AEEA144F904D}"/>
              </a:ext>
            </a:extLst>
          </p:cNvPr>
          <p:cNvGrpSpPr/>
          <p:nvPr/>
        </p:nvGrpSpPr>
        <p:grpSpPr>
          <a:xfrm>
            <a:off x="433129" y="1149986"/>
            <a:ext cx="11325741" cy="4558028"/>
            <a:chOff x="741338" y="1065532"/>
            <a:chExt cx="11325741" cy="4558028"/>
          </a:xfrm>
        </p:grpSpPr>
        <p:sp>
          <p:nvSpPr>
            <p:cNvPr id="7" name="Titolo 1">
              <a:extLst>
                <a:ext uri="{FF2B5EF4-FFF2-40B4-BE49-F238E27FC236}">
                  <a16:creationId xmlns:a16="http://schemas.microsoft.com/office/drawing/2014/main" id="{91E1F5DC-6F83-6640-9C08-B4E8ED3D616A}"/>
                </a:ext>
              </a:extLst>
            </p:cNvPr>
            <p:cNvSpPr txBox="1">
              <a:spLocks/>
            </p:cNvSpPr>
            <p:nvPr/>
          </p:nvSpPr>
          <p:spPr>
            <a:xfrm>
              <a:off x="741338" y="1791598"/>
              <a:ext cx="4280360" cy="327480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it-IT" sz="3200" dirty="0">
                  <a:latin typeface="Times New Roman" panose="02020603050405020304" pitchFamily="18" charset="0"/>
                  <a:cs typeface="Times New Roman" panose="02020603050405020304" pitchFamily="18" charset="0"/>
                </a:rPr>
                <a:t>I PECL consistono in un insieme di disposizioni sulle regole condivise in materia di contratto e di obbligazioni</a:t>
              </a:r>
            </a:p>
          </p:txBody>
        </p:sp>
        <p:sp>
          <p:nvSpPr>
            <p:cNvPr id="8" name="Segnaposto contenuto 2">
              <a:extLst>
                <a:ext uri="{FF2B5EF4-FFF2-40B4-BE49-F238E27FC236}">
                  <a16:creationId xmlns:a16="http://schemas.microsoft.com/office/drawing/2014/main" id="{57BC3AA5-E259-FC4D-8166-58D2944F9299}"/>
                </a:ext>
              </a:extLst>
            </p:cNvPr>
            <p:cNvSpPr txBox="1">
              <a:spLocks/>
            </p:cNvSpPr>
            <p:nvPr/>
          </p:nvSpPr>
          <p:spPr>
            <a:xfrm>
              <a:off x="5404795" y="1234440"/>
              <a:ext cx="6662284" cy="4389120"/>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buClr>
                  <a:srgbClr val="1B4A76"/>
                </a:buClr>
                <a:buFont typeface="Wingdings" pitchFamily="2" charset="2"/>
                <a:buChar char="Ø"/>
              </a:pPr>
              <a:r>
                <a:rPr lang="it-IT" dirty="0">
                  <a:latin typeface="Times New Roman" panose="02020603050405020304" pitchFamily="18" charset="0"/>
                  <a:cs typeface="Times New Roman" panose="02020603050405020304" pitchFamily="18" charset="0"/>
                </a:rPr>
                <a:t> Viene resa evidente l'esistenza di una base </a:t>
              </a:r>
              <a:r>
                <a:rPr lang="it-IT" dirty="0" err="1">
                  <a:solidFill>
                    <a:schemeClr val="bg1"/>
                  </a:solidFill>
                  <a:latin typeface="Times New Roman" panose="02020603050405020304" pitchFamily="18" charset="0"/>
                  <a:cs typeface="Times New Roman" panose="02020603050405020304" pitchFamily="18" charset="0"/>
                </a:rPr>
                <a:t>aA</a:t>
              </a:r>
              <a:r>
                <a:rPr lang="it-IT" dirty="0" err="1">
                  <a:latin typeface="Times New Roman" panose="02020603050405020304" pitchFamily="18" charset="0"/>
                  <a:cs typeface="Times New Roman" panose="02020603050405020304" pitchFamily="18" charset="0"/>
                </a:rPr>
                <a:t>comune</a:t>
              </a:r>
              <a:r>
                <a:rPr lang="it-IT" dirty="0">
                  <a:latin typeface="Times New Roman" panose="02020603050405020304" pitchFamily="18" charset="0"/>
                  <a:cs typeface="Times New Roman" panose="02020603050405020304" pitchFamily="18" charset="0"/>
                </a:rPr>
                <a:t> tra i vari ordinamenti giuridici europei</a:t>
              </a:r>
            </a:p>
            <a:p>
              <a:pPr algn="l">
                <a:buClr>
                  <a:srgbClr val="1B4A76"/>
                </a:buClr>
              </a:pPr>
              <a:endParaRPr lang="it-IT" sz="1050" dirty="0">
                <a:latin typeface="Times New Roman" panose="02020603050405020304" pitchFamily="18" charset="0"/>
                <a:cs typeface="Times New Roman" panose="02020603050405020304" pitchFamily="18" charset="0"/>
              </a:endParaRPr>
            </a:p>
            <a:p>
              <a:pPr algn="l">
                <a:buClr>
                  <a:srgbClr val="1B4A76"/>
                </a:buClr>
                <a:buFont typeface="Wingdings" pitchFamily="2" charset="2"/>
                <a:buChar char="Ø"/>
              </a:pPr>
              <a:r>
                <a:rPr lang="it-IT" dirty="0">
                  <a:latin typeface="Times New Roman" panose="02020603050405020304" pitchFamily="18" charset="0"/>
                  <a:cs typeface="Times New Roman" panose="02020603050405020304" pitchFamily="18" charset="0"/>
                </a:rPr>
                <a:t> Vengono conciliate le posizioni divergenti di </a:t>
              </a:r>
              <a:r>
                <a:rPr lang="it-IT" dirty="0" err="1">
                  <a:solidFill>
                    <a:schemeClr val="bg1"/>
                  </a:solidFill>
                  <a:latin typeface="Times New Roman" panose="02020603050405020304" pitchFamily="18" charset="0"/>
                  <a:cs typeface="Times New Roman" panose="02020603050405020304" pitchFamily="18" charset="0"/>
                </a:rPr>
                <a:t>aA</a:t>
              </a:r>
              <a:r>
                <a:rPr lang="it-IT" dirty="0" err="1">
                  <a:latin typeface="Times New Roman" panose="02020603050405020304" pitchFamily="18" charset="0"/>
                  <a:cs typeface="Times New Roman" panose="02020603050405020304" pitchFamily="18" charset="0"/>
                </a:rPr>
                <a:t>civil</a:t>
              </a:r>
              <a:r>
                <a:rPr lang="it-IT" dirty="0">
                  <a:latin typeface="Times New Roman" panose="02020603050405020304" pitchFamily="18" charset="0"/>
                  <a:cs typeface="Times New Roman" panose="02020603050405020304" pitchFamily="18" charset="0"/>
                </a:rPr>
                <a:t> law europeo e common law anglo-americano </a:t>
              </a:r>
            </a:p>
          </p:txBody>
        </p:sp>
        <p:cxnSp>
          <p:nvCxnSpPr>
            <p:cNvPr id="6" name="Connettore 1 5">
              <a:extLst>
                <a:ext uri="{FF2B5EF4-FFF2-40B4-BE49-F238E27FC236}">
                  <a16:creationId xmlns:a16="http://schemas.microsoft.com/office/drawing/2014/main" id="{0F6357D8-458F-3D48-AC45-7A531F0933EC}"/>
                </a:ext>
              </a:extLst>
            </p:cNvPr>
            <p:cNvCxnSpPr>
              <a:cxnSpLocks/>
            </p:cNvCxnSpPr>
            <p:nvPr/>
          </p:nvCxnSpPr>
          <p:spPr>
            <a:xfrm>
              <a:off x="5213246" y="1900140"/>
              <a:ext cx="0" cy="3057720"/>
            </a:xfrm>
            <a:prstGeom prst="line">
              <a:avLst/>
            </a:prstGeom>
            <a:ln>
              <a:solidFill>
                <a:srgbClr val="19436B"/>
              </a:solidFill>
            </a:ln>
          </p:spPr>
          <p:style>
            <a:lnRef idx="3">
              <a:schemeClr val="accent1"/>
            </a:lnRef>
            <a:fillRef idx="0">
              <a:schemeClr val="accent1"/>
            </a:fillRef>
            <a:effectRef idx="2">
              <a:schemeClr val="accent1"/>
            </a:effectRef>
            <a:fontRef idx="minor">
              <a:schemeClr val="tx1"/>
            </a:fontRef>
          </p:style>
        </p:cxnSp>
        <p:sp>
          <p:nvSpPr>
            <p:cNvPr id="10" name="CasellaDiTesto 9">
              <a:extLst>
                <a:ext uri="{FF2B5EF4-FFF2-40B4-BE49-F238E27FC236}">
                  <a16:creationId xmlns:a16="http://schemas.microsoft.com/office/drawing/2014/main" id="{2B82F184-BEAB-A24F-B930-50C5A985FDC6}"/>
                </a:ext>
              </a:extLst>
            </p:cNvPr>
            <p:cNvSpPr txBox="1"/>
            <p:nvPr/>
          </p:nvSpPr>
          <p:spPr>
            <a:xfrm>
              <a:off x="741338" y="1065532"/>
              <a:ext cx="4765070" cy="830997"/>
            </a:xfrm>
            <a:prstGeom prst="rect">
              <a:avLst/>
            </a:prstGeom>
            <a:noFill/>
          </p:spPr>
          <p:txBody>
            <a:bodyPr wrap="square" rtlCol="0">
              <a:spAutoFit/>
            </a:bodyPr>
            <a:lstStyle/>
            <a:p>
              <a:r>
                <a:rPr lang="it-IT" sz="4800" dirty="0">
                  <a:solidFill>
                    <a:srgbClr val="19436B"/>
                  </a:solidFill>
                  <a:latin typeface="Times New Roman" panose="02020603050405020304" pitchFamily="18" charset="0"/>
                  <a:cs typeface="Times New Roman" panose="02020603050405020304" pitchFamily="18" charset="0"/>
                </a:rPr>
                <a:t>CONTENUTO</a:t>
              </a:r>
              <a:endParaRPr lang="it-IT" dirty="0">
                <a:solidFill>
                  <a:srgbClr val="19436B"/>
                </a:solidFill>
                <a:latin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13551721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1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7E41822-2A87-B24D-A3EC-50F989B8CB36}"/>
              </a:ext>
            </a:extLst>
          </p:cNvPr>
          <p:cNvSpPr>
            <a:spLocks noGrp="1"/>
          </p:cNvSpPr>
          <p:nvPr>
            <p:ph type="title"/>
          </p:nvPr>
        </p:nvSpPr>
        <p:spPr>
          <a:xfrm>
            <a:off x="290512" y="176361"/>
            <a:ext cx="10506456" cy="1010264"/>
          </a:xfrm>
        </p:spPr>
        <p:txBody>
          <a:bodyPr anchor="ctr">
            <a:normAutofit/>
          </a:bodyPr>
          <a:lstStyle/>
          <a:p>
            <a:r>
              <a:rPr lang="it-IT" dirty="0">
                <a:solidFill>
                  <a:srgbClr val="19436B"/>
                </a:solidFill>
                <a:latin typeface="Times New Roman" panose="02020603050405020304" pitchFamily="18" charset="0"/>
                <a:cs typeface="Times New Roman" panose="02020603050405020304" pitchFamily="18" charset="0"/>
              </a:rPr>
              <a:t>OPERATIVITÀ</a:t>
            </a:r>
          </a:p>
        </p:txBody>
      </p:sp>
      <p:graphicFrame>
        <p:nvGraphicFramePr>
          <p:cNvPr id="6" name="Segnaposto contenuto 5">
            <a:extLst>
              <a:ext uri="{FF2B5EF4-FFF2-40B4-BE49-F238E27FC236}">
                <a16:creationId xmlns:a16="http://schemas.microsoft.com/office/drawing/2014/main" id="{F9760C50-4EB3-7742-B830-C77FEBF521F2}"/>
              </a:ext>
            </a:extLst>
          </p:cNvPr>
          <p:cNvGraphicFramePr>
            <a:graphicFrameLocks noGrp="1"/>
          </p:cNvGraphicFramePr>
          <p:nvPr>
            <p:ph idx="1"/>
            <p:extLst>
              <p:ext uri="{D42A27DB-BD31-4B8C-83A1-F6EECF244321}">
                <p14:modId xmlns:p14="http://schemas.microsoft.com/office/powerpoint/2010/main" val="3024970890"/>
              </p:ext>
            </p:extLst>
          </p:nvPr>
        </p:nvGraphicFramePr>
        <p:xfrm>
          <a:off x="314325" y="1056464"/>
          <a:ext cx="11587163" cy="3840908"/>
        </p:xfrm>
        <a:graphic>
          <a:graphicData uri="http://schemas.openxmlformats.org/drawingml/2006/table">
            <a:tbl>
              <a:tblPr firstRow="1" firstCol="1" bandRow="1">
                <a:solidFill>
                  <a:schemeClr val="accent1">
                    <a:lumMod val="20000"/>
                    <a:lumOff val="80000"/>
                  </a:schemeClr>
                </a:solidFill>
                <a:tableStyleId>{5C22544A-7EE6-4342-B048-85BDC9FD1C3A}</a:tableStyleId>
              </a:tblPr>
              <a:tblGrid>
                <a:gridCol w="5816652">
                  <a:extLst>
                    <a:ext uri="{9D8B030D-6E8A-4147-A177-3AD203B41FA5}">
                      <a16:colId xmlns:a16="http://schemas.microsoft.com/office/drawing/2014/main" val="2775269807"/>
                    </a:ext>
                  </a:extLst>
                </a:gridCol>
                <a:gridCol w="5770511">
                  <a:extLst>
                    <a:ext uri="{9D8B030D-6E8A-4147-A177-3AD203B41FA5}">
                      <a16:colId xmlns:a16="http://schemas.microsoft.com/office/drawing/2014/main" val="2468906340"/>
                    </a:ext>
                  </a:extLst>
                </a:gridCol>
              </a:tblGrid>
              <a:tr h="3801286">
                <a:tc>
                  <a:txBody>
                    <a:bodyPr/>
                    <a:lstStyle/>
                    <a:p>
                      <a:pPr algn="ctr"/>
                      <a:r>
                        <a:rPr lang="en-US" sz="1300" b="1" i="1" cap="all" spc="60" dirty="0">
                          <a:ln>
                            <a:noFill/>
                          </a:ln>
                          <a:solidFill>
                            <a:srgbClr val="F48D03"/>
                          </a:solidFill>
                          <a:effectLst/>
                          <a:latin typeface="Times New Roman" panose="02020603050405020304" pitchFamily="18" charset="0"/>
                          <a:cs typeface="Times New Roman" panose="02020603050405020304" pitchFamily="18" charset="0"/>
                        </a:rPr>
                        <a:t>Article 1:101 - Application of the Principles</a:t>
                      </a:r>
                      <a:endParaRPr lang="it-IT" sz="1300" b="1" i="1" cap="all" spc="60" dirty="0">
                        <a:ln>
                          <a:noFill/>
                        </a:ln>
                        <a:solidFill>
                          <a:srgbClr val="F48D03"/>
                        </a:solidFill>
                        <a:effectLst/>
                        <a:latin typeface="Times New Roman" panose="02020603050405020304" pitchFamily="18" charset="0"/>
                        <a:cs typeface="Times New Roman" panose="02020603050405020304" pitchFamily="18" charset="0"/>
                      </a:endParaRPr>
                    </a:p>
                    <a:p>
                      <a:pPr marL="342900" indent="-342900" algn="l">
                        <a:lnSpc>
                          <a:spcPct val="100000"/>
                        </a:lnSpc>
                        <a:spcBef>
                          <a:spcPts val="200"/>
                        </a:spcBef>
                        <a:buAutoNum type="arabicPeriod"/>
                      </a:pPr>
                      <a:r>
                        <a:rPr lang="en-US" sz="1200" b="0" i="1" cap="all" spc="60" dirty="0">
                          <a:ln>
                            <a:noFill/>
                          </a:ln>
                          <a:solidFill>
                            <a:schemeClr val="tx1"/>
                          </a:solidFill>
                          <a:effectLst/>
                          <a:latin typeface="Times New Roman" panose="02020603050405020304" pitchFamily="18" charset="0"/>
                          <a:cs typeface="Times New Roman" panose="02020603050405020304" pitchFamily="18" charset="0"/>
                        </a:rPr>
                        <a:t>These Principles are intended to be applied as general rules of contract law in the European Communities.</a:t>
                      </a:r>
                    </a:p>
                    <a:p>
                      <a:pPr marL="342900" indent="-342900" algn="l">
                        <a:lnSpc>
                          <a:spcPct val="100000"/>
                        </a:lnSpc>
                        <a:spcBef>
                          <a:spcPts val="200"/>
                        </a:spcBef>
                        <a:buAutoNum type="arabicPeriod"/>
                      </a:pPr>
                      <a:r>
                        <a:rPr lang="en-US" sz="1200" b="0" i="1" cap="all" spc="60" dirty="0">
                          <a:ln>
                            <a:noFill/>
                          </a:ln>
                          <a:solidFill>
                            <a:schemeClr val="tx1"/>
                          </a:solidFill>
                          <a:effectLst/>
                          <a:latin typeface="Times New Roman" panose="02020603050405020304" pitchFamily="18" charset="0"/>
                          <a:cs typeface="Times New Roman" panose="02020603050405020304" pitchFamily="18" charset="0"/>
                        </a:rPr>
                        <a:t> These Principles will apply when the parties have agreed to incorporate them into their contract or that their contract is to be governed by them. </a:t>
                      </a:r>
                      <a:endParaRPr lang="it-IT" sz="1200" b="0" i="1" cap="all" spc="60" dirty="0">
                        <a:ln>
                          <a:noFill/>
                        </a:ln>
                        <a:solidFill>
                          <a:schemeClr val="tx1"/>
                        </a:solidFill>
                        <a:effectLst/>
                        <a:latin typeface="Times New Roman" panose="02020603050405020304" pitchFamily="18" charset="0"/>
                        <a:cs typeface="Times New Roman" panose="02020603050405020304" pitchFamily="18" charset="0"/>
                      </a:endParaRPr>
                    </a:p>
                    <a:p>
                      <a:pPr marL="342900" indent="-342900" algn="l">
                        <a:lnSpc>
                          <a:spcPct val="100000"/>
                        </a:lnSpc>
                        <a:spcBef>
                          <a:spcPts val="200"/>
                        </a:spcBef>
                        <a:buAutoNum type="arabicPeriod"/>
                      </a:pPr>
                      <a:r>
                        <a:rPr lang="en-US" sz="1200" b="0" i="1" cap="all" spc="60" dirty="0">
                          <a:ln>
                            <a:noFill/>
                          </a:ln>
                          <a:solidFill>
                            <a:schemeClr val="tx1"/>
                          </a:solidFill>
                          <a:effectLst/>
                          <a:latin typeface="Times New Roman" panose="02020603050405020304" pitchFamily="18" charset="0"/>
                          <a:cs typeface="Times New Roman" panose="02020603050405020304" pitchFamily="18" charset="0"/>
                        </a:rPr>
                        <a:t>These Principles may be applied when the parties:</a:t>
                      </a:r>
                      <a:endParaRPr lang="it-IT" sz="1200" b="0" i="1" cap="all" spc="60" dirty="0">
                        <a:ln>
                          <a:noFill/>
                        </a:ln>
                        <a:solidFill>
                          <a:schemeClr val="tx1"/>
                        </a:solidFill>
                        <a:effectLst/>
                        <a:latin typeface="Times New Roman" panose="02020603050405020304" pitchFamily="18" charset="0"/>
                        <a:cs typeface="Times New Roman" panose="02020603050405020304" pitchFamily="18" charset="0"/>
                      </a:endParaRPr>
                    </a:p>
                    <a:p>
                      <a:pPr marL="800100" lvl="1" indent="-342900" algn="l">
                        <a:lnSpc>
                          <a:spcPct val="100000"/>
                        </a:lnSpc>
                        <a:spcBef>
                          <a:spcPts val="200"/>
                        </a:spcBef>
                        <a:buFont typeface="+mj-lt"/>
                        <a:buAutoNum type="alphaLcParenR"/>
                      </a:pPr>
                      <a:r>
                        <a:rPr lang="en-US" sz="1200" b="0" i="1" cap="all" spc="60" dirty="0">
                          <a:ln>
                            <a:noFill/>
                          </a:ln>
                          <a:solidFill>
                            <a:schemeClr val="tx1"/>
                          </a:solidFill>
                          <a:effectLst/>
                          <a:latin typeface="Times New Roman" panose="02020603050405020304" pitchFamily="18" charset="0"/>
                          <a:cs typeface="Times New Roman" panose="02020603050405020304" pitchFamily="18" charset="0"/>
                        </a:rPr>
                        <a:t>have agreed that their contract is to be governed by “general principles of law”, the “lex </a:t>
                      </a:r>
                      <a:r>
                        <a:rPr lang="en-US" sz="1200" b="0" i="1" cap="all" spc="60" dirty="0" err="1">
                          <a:ln>
                            <a:noFill/>
                          </a:ln>
                          <a:solidFill>
                            <a:schemeClr val="tx1"/>
                          </a:solidFill>
                          <a:effectLst/>
                          <a:latin typeface="Times New Roman" panose="02020603050405020304" pitchFamily="18" charset="0"/>
                          <a:cs typeface="Times New Roman" panose="02020603050405020304" pitchFamily="18" charset="0"/>
                        </a:rPr>
                        <a:t>mercatoria</a:t>
                      </a:r>
                      <a:r>
                        <a:rPr lang="en-US" sz="1200" b="0" i="1" cap="all" spc="60" dirty="0">
                          <a:ln>
                            <a:noFill/>
                          </a:ln>
                          <a:solidFill>
                            <a:schemeClr val="tx1"/>
                          </a:solidFill>
                          <a:effectLst/>
                          <a:latin typeface="Times New Roman" panose="02020603050405020304" pitchFamily="18" charset="0"/>
                          <a:cs typeface="Times New Roman" panose="02020603050405020304" pitchFamily="18" charset="0"/>
                        </a:rPr>
                        <a:t>” or the like; or</a:t>
                      </a:r>
                    </a:p>
                    <a:p>
                      <a:pPr marL="800100" lvl="1" indent="-342900" algn="l">
                        <a:lnSpc>
                          <a:spcPct val="100000"/>
                        </a:lnSpc>
                        <a:spcBef>
                          <a:spcPts val="200"/>
                        </a:spcBef>
                        <a:buFont typeface="+mj-lt"/>
                        <a:buAutoNum type="alphaLcParenR"/>
                      </a:pPr>
                      <a:r>
                        <a:rPr lang="en-US" sz="1200" b="0" i="1" cap="all" spc="60" dirty="0">
                          <a:ln>
                            <a:noFill/>
                          </a:ln>
                          <a:solidFill>
                            <a:schemeClr val="tx1"/>
                          </a:solidFill>
                          <a:effectLst/>
                          <a:latin typeface="Times New Roman" panose="02020603050405020304" pitchFamily="18" charset="0"/>
                          <a:cs typeface="Times New Roman" panose="02020603050405020304" pitchFamily="18" charset="0"/>
                        </a:rPr>
                        <a:t>have not chosen any system or rules of law to govern their contract. </a:t>
                      </a:r>
                    </a:p>
                    <a:p>
                      <a:pPr marL="342900" indent="-342900" algn="l">
                        <a:lnSpc>
                          <a:spcPct val="100000"/>
                        </a:lnSpc>
                        <a:spcBef>
                          <a:spcPts val="200"/>
                        </a:spcBef>
                        <a:buAutoNum type="arabicPeriod"/>
                      </a:pPr>
                      <a:r>
                        <a:rPr lang="en-US" sz="1200" b="0" i="1" cap="all" spc="60" dirty="0">
                          <a:ln>
                            <a:noFill/>
                          </a:ln>
                          <a:solidFill>
                            <a:schemeClr val="tx1"/>
                          </a:solidFill>
                          <a:effectLst/>
                          <a:latin typeface="Times New Roman" panose="02020603050405020304" pitchFamily="18" charset="0"/>
                          <a:cs typeface="Times New Roman" panose="02020603050405020304" pitchFamily="18" charset="0"/>
                        </a:rPr>
                        <a:t>These Principles may provide a solution to the issue raised where the system or rules of law applicable do not do so. </a:t>
                      </a:r>
                      <a:endParaRPr lang="it-IT" sz="1200" b="0" i="1" cap="all" spc="60" dirty="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144994" marR="144994" marT="144994" marB="144994">
                    <a:lnL w="12700" cmpd="sng">
                      <a:noFill/>
                    </a:lnL>
                    <a:lnR w="12700" cmpd="sng">
                      <a:noFill/>
                    </a:lnR>
                    <a:lnT w="12700" cmpd="sng">
                      <a:noFill/>
                    </a:lnT>
                    <a:lnB w="38100" cmpd="sng">
                      <a:noFill/>
                    </a:lnB>
                    <a:solidFill>
                      <a:srgbClr val="FEEECA"/>
                    </a:solidFill>
                  </a:tcPr>
                </a:tc>
                <a:tc>
                  <a:txBody>
                    <a:bodyPr/>
                    <a:lstStyle/>
                    <a:p>
                      <a:pPr algn="ctr"/>
                      <a:r>
                        <a:rPr lang="it-IT" sz="1300" b="1" cap="all" spc="60" dirty="0">
                          <a:ln>
                            <a:noFill/>
                          </a:ln>
                          <a:solidFill>
                            <a:srgbClr val="F48D03"/>
                          </a:solidFill>
                          <a:effectLst/>
                          <a:latin typeface="Times New Roman" panose="02020603050405020304" pitchFamily="18" charset="0"/>
                          <a:cs typeface="Times New Roman" panose="02020603050405020304" pitchFamily="18" charset="0"/>
                        </a:rPr>
                        <a:t>Articolo 1:101 - Applicazione dei Principles</a:t>
                      </a:r>
                    </a:p>
                    <a:p>
                      <a:pPr marL="228600" indent="-228600" algn="l">
                        <a:spcBef>
                          <a:spcPts val="300"/>
                        </a:spcBef>
                        <a:buAutoNum type="arabicPeriod"/>
                      </a:pPr>
                      <a:r>
                        <a:rPr lang="it-IT" sz="1200" b="0" cap="all" spc="60" dirty="0">
                          <a:ln>
                            <a:noFill/>
                          </a:ln>
                          <a:solidFill>
                            <a:schemeClr val="tx1"/>
                          </a:solidFill>
                          <a:effectLst/>
                          <a:latin typeface="Times New Roman" panose="02020603050405020304" pitchFamily="18" charset="0"/>
                          <a:cs typeface="Times New Roman" panose="02020603050405020304" pitchFamily="18" charset="0"/>
                        </a:rPr>
                        <a:t>Questi Principles sono destinati ad essere applicati come norme generali di diritto dei contratti nell’Unione Europea. </a:t>
                      </a:r>
                    </a:p>
                    <a:p>
                      <a:pPr marL="228600" indent="-228600" algn="l">
                        <a:spcBef>
                          <a:spcPts val="300"/>
                        </a:spcBef>
                        <a:buAutoNum type="arabicPeriod"/>
                      </a:pPr>
                      <a:r>
                        <a:rPr lang="it-IT" sz="1200" b="0" cap="all" spc="60" dirty="0">
                          <a:ln>
                            <a:noFill/>
                          </a:ln>
                          <a:solidFill>
                            <a:schemeClr val="tx1"/>
                          </a:solidFill>
                          <a:effectLst/>
                          <a:latin typeface="Times New Roman" panose="02020603050405020304" pitchFamily="18" charset="0"/>
                          <a:cs typeface="Times New Roman" panose="02020603050405020304" pitchFamily="18" charset="0"/>
                        </a:rPr>
                        <a:t>Questi Principles si applicheranno quando le parti abbiano convenuto di inserirli nel loro contratto o che il loro contratto ne sia disciplinato. </a:t>
                      </a:r>
                    </a:p>
                    <a:p>
                      <a:pPr marL="228600" indent="-228600" algn="l">
                        <a:spcBef>
                          <a:spcPts val="300"/>
                        </a:spcBef>
                        <a:buAutoNum type="arabicPeriod"/>
                      </a:pPr>
                      <a:r>
                        <a:rPr lang="it-IT" sz="1200" b="0" cap="all" spc="60" dirty="0">
                          <a:ln>
                            <a:noFill/>
                          </a:ln>
                          <a:solidFill>
                            <a:schemeClr val="tx1"/>
                          </a:solidFill>
                          <a:effectLst/>
                          <a:latin typeface="Times New Roman" panose="02020603050405020304" pitchFamily="18" charset="0"/>
                          <a:cs typeface="Times New Roman" panose="02020603050405020304" pitchFamily="18" charset="0"/>
                        </a:rPr>
                        <a:t> Questi Principles possono essere applicati quando le parti:</a:t>
                      </a:r>
                    </a:p>
                    <a:p>
                      <a:pPr marL="685800" lvl="1" indent="-228600" algn="l">
                        <a:spcBef>
                          <a:spcPts val="300"/>
                        </a:spcBef>
                        <a:buFont typeface="+mj-lt"/>
                        <a:buAutoNum type="alphaLcParenR"/>
                      </a:pPr>
                      <a:r>
                        <a:rPr lang="it-IT" sz="1200" b="0" cap="all" spc="60" dirty="0">
                          <a:ln>
                            <a:noFill/>
                          </a:ln>
                          <a:solidFill>
                            <a:schemeClr val="tx1"/>
                          </a:solidFill>
                          <a:effectLst/>
                          <a:latin typeface="Times New Roman" panose="02020603050405020304" pitchFamily="18" charset="0"/>
                          <a:cs typeface="Times New Roman" panose="02020603050405020304" pitchFamily="18" charset="0"/>
                        </a:rPr>
                        <a:t>hanno convenuto che il loro contratto sia disciplinato dai “principi generali del diritto”, dalla “lex mercatoria” od analoga; ovvero</a:t>
                      </a:r>
                    </a:p>
                    <a:p>
                      <a:pPr marL="685800" lvl="1" indent="-228600" algn="l">
                        <a:spcBef>
                          <a:spcPts val="300"/>
                        </a:spcBef>
                        <a:buFont typeface="+mj-lt"/>
                        <a:buAutoNum type="alphaLcParenR"/>
                      </a:pPr>
                      <a:r>
                        <a:rPr lang="it-IT" sz="1200" b="0" cap="all" spc="60" dirty="0">
                          <a:ln>
                            <a:noFill/>
                          </a:ln>
                          <a:solidFill>
                            <a:schemeClr val="tx1"/>
                          </a:solidFill>
                          <a:effectLst/>
                          <a:latin typeface="Times New Roman" panose="02020603050405020304" pitchFamily="18" charset="0"/>
                          <a:cs typeface="Times New Roman" panose="02020603050405020304" pitchFamily="18" charset="0"/>
                        </a:rPr>
                        <a:t>non hanno scelto altro sistema di regole o altre norme di diritto per disciplinare il loro contratto.</a:t>
                      </a:r>
                    </a:p>
                    <a:p>
                      <a:pPr marL="228600" lvl="0" indent="-228600" algn="l">
                        <a:spcBef>
                          <a:spcPts val="300"/>
                        </a:spcBef>
                        <a:buFont typeface="+mj-lt"/>
                        <a:buAutoNum type="arabicPeriod"/>
                      </a:pPr>
                      <a:r>
                        <a:rPr lang="it-IT" sz="1200" b="0" cap="all" spc="60" dirty="0">
                          <a:ln>
                            <a:noFill/>
                          </a:ln>
                          <a:solidFill>
                            <a:schemeClr val="tx1"/>
                          </a:solidFill>
                          <a:effectLst/>
                          <a:latin typeface="Times New Roman" panose="02020603050405020304" pitchFamily="18" charset="0"/>
                          <a:cs typeface="Times New Roman" panose="02020603050405020304" pitchFamily="18" charset="0"/>
                        </a:rPr>
                        <a:t>Questi Principles possono fornire una soluzione alla controversia da decidere quando il sistema o le norme della legge applicabile non vi provvedano.</a:t>
                      </a:r>
                      <a:endParaRPr lang="it-IT" sz="1200" b="0" cap="all" spc="60" dirty="0">
                        <a:ln>
                          <a:noFill/>
                        </a:ln>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p>
                      <a:pPr algn="ctr"/>
                      <a:endParaRPr lang="it-IT" sz="1300" b="0" cap="all" spc="60" dirty="0">
                        <a:ln>
                          <a:noFill/>
                        </a:ln>
                        <a:solidFill>
                          <a:schemeClr val="tx1"/>
                        </a:solidFill>
                        <a:effectLst/>
                        <a:latin typeface="Times" pitchFamily="2" charset="0"/>
                        <a:ea typeface="Calibri" panose="020F0502020204030204" pitchFamily="34" charset="0"/>
                        <a:cs typeface="Times New Roman" panose="02020603050405020304" pitchFamily="18" charset="0"/>
                      </a:endParaRPr>
                    </a:p>
                  </a:txBody>
                  <a:tcPr marL="144994" marR="144994" marT="144994" marB="144994">
                    <a:lnL w="12700" cmpd="sng">
                      <a:noFill/>
                    </a:lnL>
                    <a:lnR w="12700" cmpd="sng">
                      <a:noFill/>
                    </a:lnR>
                    <a:lnT w="12700" cmpd="sng">
                      <a:noFill/>
                    </a:lnT>
                    <a:lnB w="38100" cmpd="sng">
                      <a:noFill/>
                    </a:lnB>
                    <a:solidFill>
                      <a:srgbClr val="FEEECA"/>
                    </a:solidFill>
                  </a:tcPr>
                </a:tc>
                <a:extLst>
                  <a:ext uri="{0D108BD9-81ED-4DB2-BD59-A6C34878D82A}">
                    <a16:rowId xmlns:a16="http://schemas.microsoft.com/office/drawing/2014/main" val="3238309920"/>
                  </a:ext>
                </a:extLst>
              </a:tr>
            </a:tbl>
          </a:graphicData>
        </a:graphic>
      </p:graphicFrame>
      <p:sp>
        <p:nvSpPr>
          <p:cNvPr id="7" name="CasellaDiTesto 6">
            <a:extLst>
              <a:ext uri="{FF2B5EF4-FFF2-40B4-BE49-F238E27FC236}">
                <a16:creationId xmlns:a16="http://schemas.microsoft.com/office/drawing/2014/main" id="{C87DCF05-7FB2-7341-BC1A-E54137ECA1F1}"/>
              </a:ext>
            </a:extLst>
          </p:cNvPr>
          <p:cNvSpPr txBox="1"/>
          <p:nvPr/>
        </p:nvSpPr>
        <p:spPr>
          <a:xfrm>
            <a:off x="532227" y="4970539"/>
            <a:ext cx="11127546" cy="830997"/>
          </a:xfrm>
          <a:prstGeom prst="rect">
            <a:avLst/>
          </a:prstGeom>
          <a:noFill/>
        </p:spPr>
        <p:txBody>
          <a:bodyPr wrap="square" rtlCol="0" anchor="ctr" anchorCtr="0">
            <a:spAutoFit/>
          </a:bodyPr>
          <a:lstStyle/>
          <a:p>
            <a:r>
              <a:rPr lang="it-IT" sz="2400" dirty="0">
                <a:latin typeface="Times New Roman" panose="02020603050405020304" pitchFamily="18" charset="0"/>
                <a:cs typeface="Times New Roman" panose="02020603050405020304" pitchFamily="18" charset="0"/>
              </a:rPr>
              <a:t>Di massima, si tratta di norme derogabili. Tuttavia, alcune di esse devono essere riconosciute come imperative in quanto esprimono indefettibili esigenze di protezione </a:t>
            </a:r>
          </a:p>
        </p:txBody>
      </p:sp>
    </p:spTree>
    <p:extLst>
      <p:ext uri="{BB962C8B-B14F-4D97-AF65-F5344CB8AC3E}">
        <p14:creationId xmlns:p14="http://schemas.microsoft.com/office/powerpoint/2010/main" val="7323753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1000" fill="hold"/>
                                        <p:tgtEl>
                                          <p:spTgt spid="7"/>
                                        </p:tgtEl>
                                        <p:attrNameLst>
                                          <p:attrName>ppt_x</p:attrName>
                                        </p:attrNameLst>
                                      </p:cBhvr>
                                      <p:tavLst>
                                        <p:tav tm="0">
                                          <p:val>
                                            <p:strVal val="#ppt_x"/>
                                          </p:val>
                                        </p:tav>
                                        <p:tav tm="100000">
                                          <p:val>
                                            <p:strVal val="#ppt_x"/>
                                          </p:val>
                                        </p:tav>
                                      </p:tavLst>
                                    </p:anim>
                                    <p:anim calcmode="lin" valueType="num">
                                      <p:cBhvr additive="base">
                                        <p:cTn id="14" dur="10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sellaDiTesto 3">
            <a:extLst>
              <a:ext uri="{FF2B5EF4-FFF2-40B4-BE49-F238E27FC236}">
                <a16:creationId xmlns:a16="http://schemas.microsoft.com/office/drawing/2014/main" id="{2E79862C-F8AF-CF4D-A673-84193E58F22C}"/>
              </a:ext>
            </a:extLst>
          </p:cNvPr>
          <p:cNvSpPr txBox="1"/>
          <p:nvPr/>
        </p:nvSpPr>
        <p:spPr>
          <a:xfrm>
            <a:off x="5571460" y="159488"/>
            <a:ext cx="184731" cy="369332"/>
          </a:xfrm>
          <a:prstGeom prst="rect">
            <a:avLst/>
          </a:prstGeom>
          <a:noFill/>
        </p:spPr>
        <p:txBody>
          <a:bodyPr wrap="none" rtlCol="0">
            <a:spAutoFit/>
          </a:bodyPr>
          <a:lstStyle/>
          <a:p>
            <a:endParaRPr lang="it-IT"/>
          </a:p>
        </p:txBody>
      </p:sp>
      <p:sp>
        <p:nvSpPr>
          <p:cNvPr id="5" name="CasellaDiTesto 4">
            <a:extLst>
              <a:ext uri="{FF2B5EF4-FFF2-40B4-BE49-F238E27FC236}">
                <a16:creationId xmlns:a16="http://schemas.microsoft.com/office/drawing/2014/main" id="{60D757B0-410F-E04B-B776-ED974B510AE6}"/>
              </a:ext>
            </a:extLst>
          </p:cNvPr>
          <p:cNvSpPr txBox="1"/>
          <p:nvPr/>
        </p:nvSpPr>
        <p:spPr>
          <a:xfrm>
            <a:off x="5350331" y="400616"/>
            <a:ext cx="6830151" cy="815608"/>
          </a:xfrm>
          <a:prstGeom prst="rect">
            <a:avLst/>
          </a:prstGeom>
          <a:noFill/>
        </p:spPr>
        <p:txBody>
          <a:bodyPr wrap="square" bIns="0" rtlCol="0">
            <a:spAutoFit/>
          </a:bodyPr>
          <a:lstStyle/>
          <a:p>
            <a:pPr algn="ctr"/>
            <a:r>
              <a:rPr lang="it-IT" sz="3200" dirty="0">
                <a:latin typeface="Times New Roman" panose="02020603050405020304" pitchFamily="18" charset="0"/>
                <a:cs typeface="Times New Roman" panose="02020603050405020304" pitchFamily="18" charset="0"/>
              </a:rPr>
              <a:t>OBBLIGHI GENERALI - Sezione 2</a:t>
            </a:r>
          </a:p>
          <a:p>
            <a:endParaRPr lang="it-IT" dirty="0"/>
          </a:p>
        </p:txBody>
      </p:sp>
      <p:sp>
        <p:nvSpPr>
          <p:cNvPr id="6" name="CasellaDiTesto 5">
            <a:extLst>
              <a:ext uri="{FF2B5EF4-FFF2-40B4-BE49-F238E27FC236}">
                <a16:creationId xmlns:a16="http://schemas.microsoft.com/office/drawing/2014/main" id="{281BABFF-085D-0D4A-AE3C-7794496FF8CD}"/>
              </a:ext>
            </a:extLst>
          </p:cNvPr>
          <p:cNvSpPr txBox="1"/>
          <p:nvPr/>
        </p:nvSpPr>
        <p:spPr>
          <a:xfrm>
            <a:off x="345559" y="1598834"/>
            <a:ext cx="4143314" cy="2000548"/>
          </a:xfrm>
          <a:prstGeom prst="rect">
            <a:avLst/>
          </a:prstGeom>
          <a:noFill/>
        </p:spPr>
        <p:txBody>
          <a:bodyPr wrap="square" rtlCol="0">
            <a:spAutoFit/>
          </a:bodyPr>
          <a:lstStyle/>
          <a:p>
            <a:r>
              <a:rPr lang="it-IT" sz="3200" b="1" dirty="0">
                <a:solidFill>
                  <a:srgbClr val="19436B"/>
                </a:solidFill>
                <a:latin typeface="Times New Roman" panose="02020603050405020304" pitchFamily="18" charset="0"/>
                <a:cs typeface="Times New Roman" panose="02020603050405020304" pitchFamily="18" charset="0"/>
              </a:rPr>
              <a:t>BUONA FEDE </a:t>
            </a:r>
            <a:endParaRPr lang="it-IT" sz="2800" b="1" dirty="0">
              <a:solidFill>
                <a:schemeClr val="bg2">
                  <a:lumMod val="25000"/>
                </a:schemeClr>
              </a:solidFill>
              <a:latin typeface="Times New Roman" panose="02020603050405020304" pitchFamily="18" charset="0"/>
              <a:cs typeface="Times New Roman" panose="02020603050405020304" pitchFamily="18" charset="0"/>
            </a:endParaRPr>
          </a:p>
          <a:p>
            <a:r>
              <a:rPr lang="it-IT" sz="2800" dirty="0">
                <a:latin typeface="Times New Roman" panose="02020603050405020304" pitchFamily="18" charset="0"/>
                <a:cs typeface="Times New Roman" panose="02020603050405020304" pitchFamily="18" charset="0"/>
              </a:rPr>
              <a:t>criterio direttivo della condotta delle parti</a:t>
            </a:r>
          </a:p>
          <a:p>
            <a:endParaRPr lang="it-IT" dirty="0"/>
          </a:p>
          <a:p>
            <a:endParaRPr lang="it-IT" dirty="0"/>
          </a:p>
        </p:txBody>
      </p:sp>
      <p:graphicFrame>
        <p:nvGraphicFramePr>
          <p:cNvPr id="11" name="Tabella 10">
            <a:extLst>
              <a:ext uri="{FF2B5EF4-FFF2-40B4-BE49-F238E27FC236}">
                <a16:creationId xmlns:a16="http://schemas.microsoft.com/office/drawing/2014/main" id="{B99B8193-EE79-BF4B-9E87-BE2FE5C90267}"/>
              </a:ext>
            </a:extLst>
          </p:cNvPr>
          <p:cNvGraphicFramePr>
            <a:graphicFrameLocks noGrp="1"/>
          </p:cNvGraphicFramePr>
          <p:nvPr>
            <p:extLst>
              <p:ext uri="{D42A27DB-BD31-4B8C-83A1-F6EECF244321}">
                <p14:modId xmlns:p14="http://schemas.microsoft.com/office/powerpoint/2010/main" val="3806860477"/>
              </p:ext>
            </p:extLst>
          </p:nvPr>
        </p:nvGraphicFramePr>
        <p:xfrm>
          <a:off x="5490188" y="1201817"/>
          <a:ext cx="6591884" cy="2468880"/>
        </p:xfrm>
        <a:graphic>
          <a:graphicData uri="http://schemas.openxmlformats.org/drawingml/2006/table">
            <a:tbl>
              <a:tblPr firstRow="1" firstCol="1" bandRow="1">
                <a:tableStyleId>{5C22544A-7EE6-4342-B048-85BDC9FD1C3A}</a:tableStyleId>
              </a:tblPr>
              <a:tblGrid>
                <a:gridCol w="3296003">
                  <a:extLst>
                    <a:ext uri="{9D8B030D-6E8A-4147-A177-3AD203B41FA5}">
                      <a16:colId xmlns:a16="http://schemas.microsoft.com/office/drawing/2014/main" val="2066574907"/>
                    </a:ext>
                  </a:extLst>
                </a:gridCol>
                <a:gridCol w="3295881">
                  <a:extLst>
                    <a:ext uri="{9D8B030D-6E8A-4147-A177-3AD203B41FA5}">
                      <a16:colId xmlns:a16="http://schemas.microsoft.com/office/drawing/2014/main" val="457713533"/>
                    </a:ext>
                  </a:extLst>
                </a:gridCol>
              </a:tblGrid>
              <a:tr h="2246769">
                <a:tc>
                  <a:txBody>
                    <a:bodyPr/>
                    <a:lstStyle/>
                    <a:p>
                      <a:pPr algn="l"/>
                      <a:r>
                        <a:rPr lang="en-US" sz="1800" i="1" dirty="0">
                          <a:solidFill>
                            <a:schemeClr val="tx1"/>
                          </a:solidFill>
                          <a:effectLst/>
                          <a:latin typeface="Times New Roman" panose="02020603050405020304" pitchFamily="18" charset="0"/>
                          <a:cs typeface="Times New Roman" panose="02020603050405020304" pitchFamily="18" charset="0"/>
                        </a:rPr>
                        <a:t>Article 1:201 - Good Faith and Fair Dealing</a:t>
                      </a:r>
                      <a:endParaRPr lang="it-IT" sz="1800" i="1" dirty="0">
                        <a:solidFill>
                          <a:schemeClr val="tx1"/>
                        </a:solidFill>
                        <a:effectLst/>
                        <a:latin typeface="Times New Roman" panose="02020603050405020304" pitchFamily="18" charset="0"/>
                        <a:cs typeface="Times New Roman" panose="02020603050405020304" pitchFamily="18" charset="0"/>
                      </a:endParaRPr>
                    </a:p>
                    <a:p>
                      <a:pPr marL="342900" indent="-342900" algn="l">
                        <a:buAutoNum type="arabicPeriod"/>
                      </a:pPr>
                      <a:r>
                        <a:rPr lang="en-US" sz="1800" i="1" dirty="0">
                          <a:solidFill>
                            <a:schemeClr val="tx1"/>
                          </a:solidFill>
                          <a:effectLst/>
                          <a:latin typeface="Times New Roman" panose="02020603050405020304" pitchFamily="18" charset="0"/>
                          <a:cs typeface="Times New Roman" panose="02020603050405020304" pitchFamily="18" charset="0"/>
                        </a:rPr>
                        <a:t>Each party must act in accordance with good faith and fair dealing.</a:t>
                      </a:r>
                      <a:endParaRPr lang="it-IT" sz="1800" i="1" dirty="0">
                        <a:solidFill>
                          <a:schemeClr val="tx1"/>
                        </a:solidFill>
                        <a:effectLst/>
                        <a:latin typeface="Times New Roman" panose="02020603050405020304" pitchFamily="18" charset="0"/>
                        <a:cs typeface="Times New Roman" panose="02020603050405020304" pitchFamily="18" charset="0"/>
                      </a:endParaRPr>
                    </a:p>
                    <a:p>
                      <a:pPr marL="342900" indent="-342900" algn="l">
                        <a:buAutoNum type="arabicPeriod"/>
                      </a:pPr>
                      <a:r>
                        <a:rPr lang="en-US" sz="1800" i="1" dirty="0">
                          <a:solidFill>
                            <a:schemeClr val="tx1"/>
                          </a:solidFill>
                          <a:effectLst/>
                          <a:latin typeface="Times New Roman" panose="02020603050405020304" pitchFamily="18" charset="0"/>
                          <a:cs typeface="Times New Roman" panose="02020603050405020304" pitchFamily="18" charset="0"/>
                        </a:rPr>
                        <a:t>The parties may not exclude or limit this duty. </a:t>
                      </a:r>
                      <a:endParaRPr lang="it-IT" sz="1800" i="1" dirty="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rgbClr val="FEEECA"/>
                    </a:solidFill>
                  </a:tcPr>
                </a:tc>
                <a:tc>
                  <a:txBody>
                    <a:bodyPr/>
                    <a:lstStyle/>
                    <a:p>
                      <a:pPr algn="l"/>
                      <a:r>
                        <a:rPr lang="it-IT" sz="1800" dirty="0">
                          <a:solidFill>
                            <a:schemeClr val="tx1"/>
                          </a:solidFill>
                          <a:effectLst/>
                          <a:latin typeface="Times New Roman" panose="02020603050405020304" pitchFamily="18" charset="0"/>
                          <a:cs typeface="Times New Roman" panose="02020603050405020304" pitchFamily="18" charset="0"/>
                        </a:rPr>
                        <a:t>Art. 1:201 - Buona fede e correttezza</a:t>
                      </a:r>
                    </a:p>
                    <a:p>
                      <a:pPr marL="342900" indent="-342900" algn="l">
                        <a:buAutoNum type="arabicPeriod"/>
                      </a:pPr>
                      <a:r>
                        <a:rPr lang="it-IT" sz="1800" dirty="0">
                          <a:solidFill>
                            <a:schemeClr val="tx1"/>
                          </a:solidFill>
                          <a:effectLst/>
                          <a:latin typeface="Times New Roman" panose="02020603050405020304" pitchFamily="18" charset="0"/>
                          <a:cs typeface="Times New Roman" panose="02020603050405020304" pitchFamily="18" charset="0"/>
                        </a:rPr>
                        <a:t>Le parti devono agire nel rispetto di buona fede e correttezza. </a:t>
                      </a:r>
                    </a:p>
                    <a:p>
                      <a:pPr marL="342900" indent="-342900" algn="l">
                        <a:buAutoNum type="arabicPeriod"/>
                      </a:pPr>
                      <a:r>
                        <a:rPr lang="it-IT" sz="1800" dirty="0">
                          <a:solidFill>
                            <a:schemeClr val="tx1"/>
                          </a:solidFill>
                          <a:effectLst/>
                          <a:latin typeface="Times New Roman" panose="02020603050405020304" pitchFamily="18" charset="0"/>
                          <a:cs typeface="Times New Roman" panose="02020603050405020304" pitchFamily="18" charset="0"/>
                        </a:rPr>
                        <a:t>Le parti non possono escludere o limitare questo obbligo. </a:t>
                      </a:r>
                      <a:endParaRPr lang="it-IT" sz="1800" dirty="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p>
                      <a:pPr algn="l"/>
                      <a:endParaRPr lang="it-IT" sz="1800" dirty="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rgbClr val="FEEECA"/>
                    </a:solidFill>
                  </a:tcPr>
                </a:tc>
                <a:extLst>
                  <a:ext uri="{0D108BD9-81ED-4DB2-BD59-A6C34878D82A}">
                    <a16:rowId xmlns:a16="http://schemas.microsoft.com/office/drawing/2014/main" val="3797289472"/>
                  </a:ext>
                </a:extLst>
              </a:tr>
            </a:tbl>
          </a:graphicData>
        </a:graphic>
      </p:graphicFrame>
      <p:sp>
        <p:nvSpPr>
          <p:cNvPr id="13" name="CasellaDiTesto 12">
            <a:extLst>
              <a:ext uri="{FF2B5EF4-FFF2-40B4-BE49-F238E27FC236}">
                <a16:creationId xmlns:a16="http://schemas.microsoft.com/office/drawing/2014/main" id="{995892D1-97F0-2547-B094-E34711467864}"/>
              </a:ext>
            </a:extLst>
          </p:cNvPr>
          <p:cNvSpPr txBox="1"/>
          <p:nvPr/>
        </p:nvSpPr>
        <p:spPr>
          <a:xfrm>
            <a:off x="324836" y="3778773"/>
            <a:ext cx="4927085" cy="1877437"/>
          </a:xfrm>
          <a:prstGeom prst="rect">
            <a:avLst/>
          </a:prstGeom>
          <a:noFill/>
        </p:spPr>
        <p:txBody>
          <a:bodyPr wrap="square" rtlCol="0">
            <a:spAutoFit/>
          </a:bodyPr>
          <a:lstStyle/>
          <a:p>
            <a:r>
              <a:rPr lang="it-IT" sz="3200" b="1" dirty="0">
                <a:solidFill>
                  <a:srgbClr val="19436B"/>
                </a:solidFill>
                <a:latin typeface="Times New Roman" panose="02020603050405020304" pitchFamily="18" charset="0"/>
                <a:cs typeface="Times New Roman" panose="02020603050405020304" pitchFamily="18" charset="0"/>
              </a:rPr>
              <a:t>COOPERAZIONE</a:t>
            </a:r>
            <a:r>
              <a:rPr lang="it-IT" sz="2800" b="1" dirty="0">
                <a:latin typeface="Times New Roman" panose="02020603050405020304" pitchFamily="18" charset="0"/>
                <a:cs typeface="Times New Roman" panose="02020603050405020304" pitchFamily="18" charset="0"/>
              </a:rPr>
              <a:t>  </a:t>
            </a:r>
          </a:p>
          <a:p>
            <a:r>
              <a:rPr lang="it-IT" sz="2800" dirty="0">
                <a:latin typeface="Times New Roman" panose="02020603050405020304" pitchFamily="18" charset="0"/>
                <a:cs typeface="Times New Roman" panose="02020603050405020304" pitchFamily="18" charset="0"/>
              </a:rPr>
              <a:t>dovere reciproco delle parti di cooperare al fine di dare piena esecuzione al contratto</a:t>
            </a:r>
            <a:r>
              <a:rPr lang="it-IT" sz="2800" dirty="0">
                <a:effectLst/>
                <a:latin typeface="Times New Roman" panose="02020603050405020304" pitchFamily="18" charset="0"/>
                <a:cs typeface="Times New Roman" panose="02020603050405020304" pitchFamily="18" charset="0"/>
              </a:rPr>
              <a:t> </a:t>
            </a:r>
            <a:endParaRPr lang="it-IT" sz="2800" dirty="0">
              <a:latin typeface="Times New Roman" panose="02020603050405020304" pitchFamily="18" charset="0"/>
              <a:cs typeface="Times New Roman" panose="02020603050405020304" pitchFamily="18" charset="0"/>
            </a:endParaRPr>
          </a:p>
        </p:txBody>
      </p:sp>
      <p:graphicFrame>
        <p:nvGraphicFramePr>
          <p:cNvPr id="15" name="Tabella 14">
            <a:extLst>
              <a:ext uri="{FF2B5EF4-FFF2-40B4-BE49-F238E27FC236}">
                <a16:creationId xmlns:a16="http://schemas.microsoft.com/office/drawing/2014/main" id="{126F3F18-C3F2-C542-ABD2-4C787A0C1B65}"/>
              </a:ext>
            </a:extLst>
          </p:cNvPr>
          <p:cNvGraphicFramePr>
            <a:graphicFrameLocks noGrp="1"/>
          </p:cNvGraphicFramePr>
          <p:nvPr>
            <p:extLst>
              <p:ext uri="{D42A27DB-BD31-4B8C-83A1-F6EECF244321}">
                <p14:modId xmlns:p14="http://schemas.microsoft.com/office/powerpoint/2010/main" val="2051907715"/>
              </p:ext>
            </p:extLst>
          </p:nvPr>
        </p:nvGraphicFramePr>
        <p:xfrm>
          <a:off x="5448742" y="3778773"/>
          <a:ext cx="6633330" cy="2196000"/>
        </p:xfrm>
        <a:graphic>
          <a:graphicData uri="http://schemas.openxmlformats.org/drawingml/2006/table">
            <a:tbl>
              <a:tblPr firstRow="1" firstCol="1" bandRow="1">
                <a:tableStyleId>{5C22544A-7EE6-4342-B048-85BDC9FD1C3A}</a:tableStyleId>
              </a:tblPr>
              <a:tblGrid>
                <a:gridCol w="3337449">
                  <a:extLst>
                    <a:ext uri="{9D8B030D-6E8A-4147-A177-3AD203B41FA5}">
                      <a16:colId xmlns:a16="http://schemas.microsoft.com/office/drawing/2014/main" val="2309533437"/>
                    </a:ext>
                  </a:extLst>
                </a:gridCol>
                <a:gridCol w="3295881">
                  <a:extLst>
                    <a:ext uri="{9D8B030D-6E8A-4147-A177-3AD203B41FA5}">
                      <a16:colId xmlns:a16="http://schemas.microsoft.com/office/drawing/2014/main" val="2639649470"/>
                    </a:ext>
                  </a:extLst>
                </a:gridCol>
              </a:tblGrid>
              <a:tr h="2196000">
                <a:tc>
                  <a:txBody>
                    <a:bodyPr/>
                    <a:lstStyle/>
                    <a:p>
                      <a:pPr algn="l"/>
                      <a:r>
                        <a:rPr lang="en-US" sz="1800" i="1" dirty="0">
                          <a:solidFill>
                            <a:schemeClr val="tx1"/>
                          </a:solidFill>
                          <a:effectLst/>
                          <a:latin typeface="Times New Roman" panose="02020603050405020304" pitchFamily="18" charset="0"/>
                          <a:cs typeface="Times New Roman" panose="02020603050405020304" pitchFamily="18" charset="0"/>
                        </a:rPr>
                        <a:t>Article 1:202 - Duty to Co-operate</a:t>
                      </a:r>
                      <a:endParaRPr lang="it-IT" sz="3600" i="1" dirty="0">
                        <a:solidFill>
                          <a:schemeClr val="tx1"/>
                        </a:solidFill>
                        <a:effectLst/>
                        <a:latin typeface="Times New Roman" panose="02020603050405020304" pitchFamily="18" charset="0"/>
                        <a:cs typeface="Times New Roman" panose="02020603050405020304" pitchFamily="18" charset="0"/>
                      </a:endParaRPr>
                    </a:p>
                    <a:p>
                      <a:pPr algn="l"/>
                      <a:r>
                        <a:rPr lang="en-US" sz="1800" i="1" dirty="0">
                          <a:solidFill>
                            <a:schemeClr val="tx1"/>
                          </a:solidFill>
                          <a:effectLst/>
                          <a:latin typeface="Times New Roman" panose="02020603050405020304" pitchFamily="18" charset="0"/>
                          <a:cs typeface="Times New Roman" panose="02020603050405020304" pitchFamily="18" charset="0"/>
                        </a:rPr>
                        <a:t>Each party owes to the other a duty to co-operate in order to give full effect to the contract. </a:t>
                      </a:r>
                      <a:endParaRPr lang="it-IT" sz="3600" i="1" dirty="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rgbClr val="FEEECA"/>
                    </a:solidFill>
                  </a:tcPr>
                </a:tc>
                <a:tc>
                  <a:txBody>
                    <a:bodyPr/>
                    <a:lstStyle/>
                    <a:p>
                      <a:pPr algn="l"/>
                      <a:r>
                        <a:rPr lang="it-IT" sz="1800" dirty="0">
                          <a:solidFill>
                            <a:schemeClr val="tx1"/>
                          </a:solidFill>
                          <a:effectLst/>
                          <a:latin typeface="Times New Roman" panose="02020603050405020304" pitchFamily="18" charset="0"/>
                          <a:cs typeface="Times New Roman" panose="02020603050405020304" pitchFamily="18" charset="0"/>
                        </a:rPr>
                        <a:t>Art. 1:202 - Obbligo di cooperazione</a:t>
                      </a:r>
                    </a:p>
                    <a:p>
                      <a:pPr algn="l"/>
                      <a:r>
                        <a:rPr lang="it-IT" sz="1800" dirty="0">
                          <a:solidFill>
                            <a:schemeClr val="tx1"/>
                          </a:solidFill>
                          <a:effectLst/>
                          <a:latin typeface="Times New Roman" panose="02020603050405020304" pitchFamily="18" charset="0"/>
                          <a:cs typeface="Times New Roman" panose="02020603050405020304" pitchFamily="18" charset="0"/>
                        </a:rPr>
                        <a:t>Le parti sono tenute reciprocamente a cooperare al fine di dare piena esecuzione al contratto.</a:t>
                      </a:r>
                      <a:endParaRPr lang="it-IT" sz="1800" dirty="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p>
                      <a:pPr algn="l"/>
                      <a:endParaRPr lang="it-IT" sz="3600" dirty="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rgbClr val="FEEECA"/>
                    </a:solidFill>
                  </a:tcPr>
                </a:tc>
                <a:extLst>
                  <a:ext uri="{0D108BD9-81ED-4DB2-BD59-A6C34878D82A}">
                    <a16:rowId xmlns:a16="http://schemas.microsoft.com/office/drawing/2014/main" val="1620971748"/>
                  </a:ext>
                </a:extLst>
              </a:tr>
            </a:tbl>
          </a:graphicData>
        </a:graphic>
      </p:graphicFrame>
    </p:spTree>
    <p:extLst>
      <p:ext uri="{BB962C8B-B14F-4D97-AF65-F5344CB8AC3E}">
        <p14:creationId xmlns:p14="http://schemas.microsoft.com/office/powerpoint/2010/main" val="1622214302"/>
      </p:ext>
    </p:extLst>
  </p:cSld>
  <p:clrMapOvr>
    <a:masterClrMapping/>
  </p:clrMapOvr>
  <p:transition spd="slow">
    <p:wipe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ppt_x"/>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1000" fill="hold"/>
                                        <p:tgtEl>
                                          <p:spTgt spid="5"/>
                                        </p:tgtEl>
                                        <p:attrNameLst>
                                          <p:attrName>ppt_x</p:attrName>
                                        </p:attrNameLst>
                                      </p:cBhvr>
                                      <p:tavLst>
                                        <p:tav tm="0">
                                          <p:val>
                                            <p:strVal val="1+#ppt_w/2"/>
                                          </p:val>
                                        </p:tav>
                                        <p:tav tm="100000">
                                          <p:val>
                                            <p:strVal val="#ppt_x"/>
                                          </p:val>
                                        </p:tav>
                                      </p:tavLst>
                                    </p:anim>
                                    <p:anim calcmode="lin" valueType="num">
                                      <p:cBhvr additive="base">
                                        <p:cTn id="14" dur="1000" fill="hold"/>
                                        <p:tgtEl>
                                          <p:spTgt spid="5"/>
                                        </p:tgtEl>
                                        <p:attrNameLst>
                                          <p:attrName>ppt_y</p:attrName>
                                        </p:attrNameLst>
                                      </p:cBhvr>
                                      <p:tavLst>
                                        <p:tav tm="0">
                                          <p:val>
                                            <p:strVal val="#ppt_y"/>
                                          </p:val>
                                        </p:tav>
                                        <p:tav tm="100000">
                                          <p:val>
                                            <p:strVal val="#ppt_y"/>
                                          </p:val>
                                        </p:tav>
                                      </p:tavLst>
                                    </p:anim>
                                  </p:childTnLst>
                                </p:cTn>
                              </p:par>
                              <p:par>
                                <p:cTn id="15" presetID="53" presetClass="entr" presetSubtype="16"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p:cTn id="17" dur="1000" fill="hold"/>
                                        <p:tgtEl>
                                          <p:spTgt spid="11"/>
                                        </p:tgtEl>
                                        <p:attrNameLst>
                                          <p:attrName>ppt_w</p:attrName>
                                        </p:attrNameLst>
                                      </p:cBhvr>
                                      <p:tavLst>
                                        <p:tav tm="0">
                                          <p:val>
                                            <p:fltVal val="0"/>
                                          </p:val>
                                        </p:tav>
                                        <p:tav tm="100000">
                                          <p:val>
                                            <p:strVal val="#ppt_w"/>
                                          </p:val>
                                        </p:tav>
                                      </p:tavLst>
                                    </p:anim>
                                    <p:anim calcmode="lin" valueType="num">
                                      <p:cBhvr>
                                        <p:cTn id="18" dur="1000" fill="hold"/>
                                        <p:tgtEl>
                                          <p:spTgt spid="11"/>
                                        </p:tgtEl>
                                        <p:attrNameLst>
                                          <p:attrName>ppt_h</p:attrName>
                                        </p:attrNameLst>
                                      </p:cBhvr>
                                      <p:tavLst>
                                        <p:tav tm="0">
                                          <p:val>
                                            <p:fltVal val="0"/>
                                          </p:val>
                                        </p:tav>
                                        <p:tav tm="100000">
                                          <p:val>
                                            <p:strVal val="#ppt_h"/>
                                          </p:val>
                                        </p:tav>
                                      </p:tavLst>
                                    </p:anim>
                                    <p:animEffect transition="in" filter="fade">
                                      <p:cBhvr>
                                        <p:cTn id="19" dur="1000"/>
                                        <p:tgtEl>
                                          <p:spTgt spid="11"/>
                                        </p:tgtEl>
                                      </p:cBhvr>
                                    </p:animEffect>
                                  </p:childTnLst>
                                </p:cTn>
                              </p:par>
                            </p:childTnLst>
                          </p:cTn>
                        </p:par>
                      </p:childTnLst>
                    </p:cTn>
                  </p:par>
                  <p:par>
                    <p:cTn id="20" fill="hold">
                      <p:stCondLst>
                        <p:cond delay="indefinite"/>
                      </p:stCondLst>
                      <p:childTnLst>
                        <p:par>
                          <p:cTn id="21" fill="hold">
                            <p:stCondLst>
                              <p:cond delay="0"/>
                            </p:stCondLst>
                            <p:childTnLst>
                              <p:par>
                                <p:cTn id="22" presetID="2" presetClass="entr" presetSubtype="8" fill="hold" grpId="0" nodeType="clickEffect">
                                  <p:stCondLst>
                                    <p:cond delay="0"/>
                                  </p:stCondLst>
                                  <p:childTnLst>
                                    <p:set>
                                      <p:cBhvr>
                                        <p:cTn id="23" dur="1" fill="hold">
                                          <p:stCondLst>
                                            <p:cond delay="0"/>
                                          </p:stCondLst>
                                        </p:cTn>
                                        <p:tgtEl>
                                          <p:spTgt spid="13"/>
                                        </p:tgtEl>
                                        <p:attrNameLst>
                                          <p:attrName>style.visibility</p:attrName>
                                        </p:attrNameLst>
                                      </p:cBhvr>
                                      <p:to>
                                        <p:strVal val="visible"/>
                                      </p:to>
                                    </p:set>
                                    <p:anim calcmode="lin" valueType="num">
                                      <p:cBhvr additive="base">
                                        <p:cTn id="24" dur="1000" fill="hold"/>
                                        <p:tgtEl>
                                          <p:spTgt spid="13"/>
                                        </p:tgtEl>
                                        <p:attrNameLst>
                                          <p:attrName>ppt_x</p:attrName>
                                        </p:attrNameLst>
                                      </p:cBhvr>
                                      <p:tavLst>
                                        <p:tav tm="0">
                                          <p:val>
                                            <p:strVal val="0-#ppt_w/2"/>
                                          </p:val>
                                        </p:tav>
                                        <p:tav tm="100000">
                                          <p:val>
                                            <p:strVal val="#ppt_x"/>
                                          </p:val>
                                        </p:tav>
                                      </p:tavLst>
                                    </p:anim>
                                    <p:anim calcmode="lin" valueType="num">
                                      <p:cBhvr additive="base">
                                        <p:cTn id="25" dur="1000" fill="hold"/>
                                        <p:tgtEl>
                                          <p:spTgt spid="13"/>
                                        </p:tgtEl>
                                        <p:attrNameLst>
                                          <p:attrName>ppt_y</p:attrName>
                                        </p:attrNameLst>
                                      </p:cBhvr>
                                      <p:tavLst>
                                        <p:tav tm="0">
                                          <p:val>
                                            <p:strVal val="#ppt_y"/>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53" presetClass="entr" presetSubtype="16" fill="hold" nodeType="clickEffect">
                                  <p:stCondLst>
                                    <p:cond delay="0"/>
                                  </p:stCondLst>
                                  <p:childTnLst>
                                    <p:set>
                                      <p:cBhvr>
                                        <p:cTn id="29" dur="1" fill="hold">
                                          <p:stCondLst>
                                            <p:cond delay="0"/>
                                          </p:stCondLst>
                                        </p:cTn>
                                        <p:tgtEl>
                                          <p:spTgt spid="15"/>
                                        </p:tgtEl>
                                        <p:attrNameLst>
                                          <p:attrName>style.visibility</p:attrName>
                                        </p:attrNameLst>
                                      </p:cBhvr>
                                      <p:to>
                                        <p:strVal val="visible"/>
                                      </p:to>
                                    </p:set>
                                    <p:anim calcmode="lin" valueType="num">
                                      <p:cBhvr>
                                        <p:cTn id="30" dur="1000" fill="hold"/>
                                        <p:tgtEl>
                                          <p:spTgt spid="15"/>
                                        </p:tgtEl>
                                        <p:attrNameLst>
                                          <p:attrName>ppt_w</p:attrName>
                                        </p:attrNameLst>
                                      </p:cBhvr>
                                      <p:tavLst>
                                        <p:tav tm="0">
                                          <p:val>
                                            <p:fltVal val="0"/>
                                          </p:val>
                                        </p:tav>
                                        <p:tav tm="100000">
                                          <p:val>
                                            <p:strVal val="#ppt_w"/>
                                          </p:val>
                                        </p:tav>
                                      </p:tavLst>
                                    </p:anim>
                                    <p:anim calcmode="lin" valueType="num">
                                      <p:cBhvr>
                                        <p:cTn id="31" dur="1000" fill="hold"/>
                                        <p:tgtEl>
                                          <p:spTgt spid="15"/>
                                        </p:tgtEl>
                                        <p:attrNameLst>
                                          <p:attrName>ppt_h</p:attrName>
                                        </p:attrNameLst>
                                      </p:cBhvr>
                                      <p:tavLst>
                                        <p:tav tm="0">
                                          <p:val>
                                            <p:fltVal val="0"/>
                                          </p:val>
                                        </p:tav>
                                        <p:tav tm="100000">
                                          <p:val>
                                            <p:strVal val="#ppt_h"/>
                                          </p:val>
                                        </p:tav>
                                      </p:tavLst>
                                    </p:anim>
                                    <p:animEffect transition="in" filter="fade">
                                      <p:cBhvr>
                                        <p:cTn id="32"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1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2F79DB1E-16FD-7448-A8C1-54D2D4068295}"/>
              </a:ext>
            </a:extLst>
          </p:cNvPr>
          <p:cNvSpPr/>
          <p:nvPr/>
        </p:nvSpPr>
        <p:spPr>
          <a:xfrm>
            <a:off x="0" y="-1"/>
            <a:ext cx="12192000" cy="1692000"/>
          </a:xfrm>
          <a:prstGeom prst="rect">
            <a:avLst/>
          </a:prstGeom>
          <a:blipFill dpi="0" rotWithShape="1">
            <a:blip r:embed="rId2">
              <a:alphaModFix amt="15000"/>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400" b="1" dirty="0">
                <a:solidFill>
                  <a:sysClr val="windowText" lastClr="000000"/>
                </a:solidFill>
                <a:latin typeface="Times New Roman" panose="02020603050405020304" pitchFamily="18" charset="0"/>
                <a:cs typeface="Times New Roman" panose="02020603050405020304" pitchFamily="18" charset="0"/>
              </a:rPr>
              <a:t>ITALIA «Buona fede» →  </a:t>
            </a:r>
            <a:r>
              <a:rPr lang="it-IT" sz="2400" dirty="0">
                <a:solidFill>
                  <a:sysClr val="windowText" lastClr="000000"/>
                </a:solidFill>
                <a:latin typeface="Times New Roman" panose="02020603050405020304" pitchFamily="18" charset="0"/>
                <a:cs typeface="Times New Roman" panose="02020603050405020304" pitchFamily="18" charset="0"/>
              </a:rPr>
              <a:t>il codice civile menziona molteplici volte l’espressione buona fede all’interno di almeno una dozzina di articoli, usando il termine indistintamente, per fare riferimento sia alla buona fede soggettiva, sia alla buona fede oggettiva</a:t>
            </a:r>
          </a:p>
          <a:p>
            <a:pPr algn="ctr"/>
            <a:endParaRPr lang="it-IT" dirty="0">
              <a:blipFill dpi="0" rotWithShape="1">
                <a:blip r:embed="rId3">
                  <a:extLst>
                    <a:ext uri="{28A0092B-C50C-407E-A947-70E740481C1C}">
                      <a14:useLocalDpi xmlns:a14="http://schemas.microsoft.com/office/drawing/2010/main" val="0"/>
                    </a:ext>
                  </a:extLst>
                </a:blip>
                <a:srcRect/>
                <a:stretch>
                  <a:fillRect/>
                </a:stretch>
              </a:blipFill>
            </a:endParaRPr>
          </a:p>
        </p:txBody>
      </p:sp>
      <p:sp>
        <p:nvSpPr>
          <p:cNvPr id="5" name="Rettangolo 4">
            <a:extLst>
              <a:ext uri="{FF2B5EF4-FFF2-40B4-BE49-F238E27FC236}">
                <a16:creationId xmlns:a16="http://schemas.microsoft.com/office/drawing/2014/main" id="{2EC8D3C0-3CE3-4C4D-900C-03DA24544D22}"/>
              </a:ext>
            </a:extLst>
          </p:cNvPr>
          <p:cNvSpPr/>
          <p:nvPr/>
        </p:nvSpPr>
        <p:spPr>
          <a:xfrm>
            <a:off x="0" y="1687477"/>
            <a:ext cx="12192000" cy="1570073"/>
          </a:xfrm>
          <a:prstGeom prst="rect">
            <a:avLst/>
          </a:prstGeom>
          <a:blipFill dpi="0" rotWithShape="1">
            <a:blip r:embed="rId4">
              <a:alphaModFix amt="15000"/>
              <a:extLst>
                <a:ext uri="{96DAC541-7B7A-43D3-8B79-37D633B846F1}">
                  <asvg:svgBlip xmlns:asvg="http://schemas.microsoft.com/office/drawing/2016/SVG/main" r:embed="rId5"/>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400" b="1" dirty="0">
                <a:solidFill>
                  <a:schemeClr val="tx1"/>
                </a:solidFill>
                <a:latin typeface="Times New Roman" panose="02020603050405020304" pitchFamily="18" charset="0"/>
                <a:cs typeface="Times New Roman" panose="02020603050405020304" pitchFamily="18" charset="0"/>
              </a:rPr>
              <a:t>FRANCIA «Bonne </a:t>
            </a:r>
            <a:r>
              <a:rPr lang="it-IT" sz="2400" b="1" dirty="0" err="1">
                <a:solidFill>
                  <a:schemeClr val="tx1"/>
                </a:solidFill>
                <a:latin typeface="Times New Roman" panose="02020603050405020304" pitchFamily="18" charset="0"/>
                <a:cs typeface="Times New Roman" panose="02020603050405020304" pitchFamily="18" charset="0"/>
              </a:rPr>
              <a:t>foi</a:t>
            </a:r>
            <a:r>
              <a:rPr lang="it-IT" sz="2400" b="1" dirty="0">
                <a:solidFill>
                  <a:schemeClr val="tx1"/>
                </a:solidFill>
                <a:latin typeface="Times New Roman" panose="02020603050405020304" pitchFamily="18" charset="0"/>
                <a:cs typeface="Times New Roman" panose="02020603050405020304" pitchFamily="18" charset="0"/>
              </a:rPr>
              <a:t>» → </a:t>
            </a:r>
            <a:r>
              <a:rPr lang="it-IT" sz="2400" dirty="0">
                <a:solidFill>
                  <a:schemeClr val="tx1"/>
                </a:solidFill>
                <a:latin typeface="Times New Roman" panose="02020603050405020304" pitchFamily="18" charset="0"/>
                <a:cs typeface="Times New Roman" panose="02020603050405020304" pitchFamily="18" charset="0"/>
              </a:rPr>
              <a:t>nel Code </a:t>
            </a:r>
            <a:r>
              <a:rPr lang="it-IT" sz="2400" dirty="0" err="1">
                <a:solidFill>
                  <a:schemeClr val="tx1"/>
                </a:solidFill>
                <a:latin typeface="Times New Roman" panose="02020603050405020304" pitchFamily="18" charset="0"/>
                <a:cs typeface="Times New Roman" panose="02020603050405020304" pitchFamily="18" charset="0"/>
              </a:rPr>
              <a:t>Civil</a:t>
            </a:r>
            <a:r>
              <a:rPr lang="it-IT" sz="2400" dirty="0">
                <a:solidFill>
                  <a:schemeClr val="tx1"/>
                </a:solidFill>
                <a:latin typeface="Times New Roman" panose="02020603050405020304" pitchFamily="18" charset="0"/>
                <a:cs typeface="Times New Roman" panose="02020603050405020304" pitchFamily="18" charset="0"/>
              </a:rPr>
              <a:t> si rinviene più volte il riferimento alla buona fede e così come accade nel nostro ordinamento, il legislatore usa indistintamente l’espressione, lasciando all’interprete il compito di individuarne natura significato</a:t>
            </a:r>
          </a:p>
          <a:p>
            <a:pPr algn="ctr"/>
            <a:endParaRPr lang="it-IT" dirty="0"/>
          </a:p>
        </p:txBody>
      </p:sp>
      <p:sp>
        <p:nvSpPr>
          <p:cNvPr id="6" name="Rettangolo 5">
            <a:extLst>
              <a:ext uri="{FF2B5EF4-FFF2-40B4-BE49-F238E27FC236}">
                <a16:creationId xmlns:a16="http://schemas.microsoft.com/office/drawing/2014/main" id="{014902D6-E723-8246-94F6-702A4CF97566}"/>
              </a:ext>
            </a:extLst>
          </p:cNvPr>
          <p:cNvSpPr/>
          <p:nvPr/>
        </p:nvSpPr>
        <p:spPr>
          <a:xfrm>
            <a:off x="0" y="3257550"/>
            <a:ext cx="12192000" cy="1786523"/>
          </a:xfrm>
          <a:prstGeom prst="rect">
            <a:avLst/>
          </a:prstGeom>
          <a:blipFill dpi="0" rotWithShape="1">
            <a:blip r:embed="rId6">
              <a:alphaModFix amt="15000"/>
              <a:extLst>
                <a:ext uri="{96DAC541-7B7A-43D3-8B79-37D633B846F1}">
                  <asvg:svgBlip xmlns:asvg="http://schemas.microsoft.com/office/drawing/2016/SVG/main" r:embed="rId7"/>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400" b="1" dirty="0">
                <a:solidFill>
                  <a:schemeClr val="tx1"/>
                </a:solidFill>
                <a:latin typeface="Times New Roman" panose="02020603050405020304" pitchFamily="18" charset="0"/>
                <a:cs typeface="Times New Roman" panose="02020603050405020304" pitchFamily="18" charset="0"/>
              </a:rPr>
              <a:t>GERMANIA «</a:t>
            </a:r>
            <a:r>
              <a:rPr lang="it-IT" sz="2400" b="1" dirty="0" err="1">
                <a:solidFill>
                  <a:schemeClr val="tx1"/>
                </a:solidFill>
                <a:latin typeface="Times New Roman" panose="02020603050405020304" pitchFamily="18" charset="0"/>
                <a:cs typeface="Times New Roman" panose="02020603050405020304" pitchFamily="18" charset="0"/>
              </a:rPr>
              <a:t>Guter</a:t>
            </a:r>
            <a:r>
              <a:rPr lang="it-IT" sz="2400" b="1" dirty="0">
                <a:solidFill>
                  <a:schemeClr val="tx1"/>
                </a:solidFill>
                <a:latin typeface="Times New Roman" panose="02020603050405020304" pitchFamily="18" charset="0"/>
                <a:cs typeface="Times New Roman" panose="02020603050405020304" pitchFamily="18" charset="0"/>
              </a:rPr>
              <a:t> </a:t>
            </a:r>
            <a:r>
              <a:rPr lang="it-IT" sz="2400" b="1" dirty="0" err="1">
                <a:solidFill>
                  <a:schemeClr val="tx1"/>
                </a:solidFill>
                <a:latin typeface="Times New Roman" panose="02020603050405020304" pitchFamily="18" charset="0"/>
                <a:cs typeface="Times New Roman" panose="02020603050405020304" pitchFamily="18" charset="0"/>
              </a:rPr>
              <a:t>glaube</a:t>
            </a:r>
            <a:r>
              <a:rPr lang="it-IT" sz="2400" b="1" dirty="0">
                <a:solidFill>
                  <a:schemeClr val="tx1"/>
                </a:solidFill>
                <a:latin typeface="Times New Roman" panose="02020603050405020304" pitchFamily="18" charset="0"/>
                <a:cs typeface="Times New Roman" panose="02020603050405020304" pitchFamily="18" charset="0"/>
              </a:rPr>
              <a:t>» , «Treu und </a:t>
            </a:r>
            <a:r>
              <a:rPr lang="it-IT" sz="2400" b="1" dirty="0" err="1">
                <a:solidFill>
                  <a:schemeClr val="tx1"/>
                </a:solidFill>
                <a:latin typeface="Times New Roman" panose="02020603050405020304" pitchFamily="18" charset="0"/>
                <a:cs typeface="Times New Roman" panose="02020603050405020304" pitchFamily="18" charset="0"/>
              </a:rPr>
              <a:t>glauben</a:t>
            </a:r>
            <a:r>
              <a:rPr lang="it-IT" sz="2400" b="1" dirty="0">
                <a:solidFill>
                  <a:schemeClr val="tx1"/>
                </a:solidFill>
                <a:latin typeface="Times New Roman" panose="02020603050405020304" pitchFamily="18" charset="0"/>
                <a:cs typeface="Times New Roman" panose="02020603050405020304" pitchFamily="18" charset="0"/>
              </a:rPr>
              <a:t>» </a:t>
            </a:r>
            <a:r>
              <a:rPr lang="it-IT" sz="2400" dirty="0">
                <a:solidFill>
                  <a:schemeClr val="tx1"/>
                </a:solidFill>
                <a:latin typeface="Times New Roman" panose="02020603050405020304" pitchFamily="18" charset="0"/>
                <a:cs typeface="Times New Roman" panose="02020603050405020304" pitchFamily="18" charset="0"/>
              </a:rPr>
              <a:t>→ nel BGB il concetto assume un enorme rilevanza, e benché non ce ne sia una definizione legislativa o un’interpretazione univoca, il legislatore tedesco distingue i due concetti con due termini diversi </a:t>
            </a:r>
          </a:p>
          <a:p>
            <a:pPr algn="ctr"/>
            <a:endParaRPr lang="it-IT" dirty="0">
              <a:blipFill dpi="0" rotWithShape="1">
                <a:blip r:embed="rId3">
                  <a:extLst>
                    <a:ext uri="{28A0092B-C50C-407E-A947-70E740481C1C}">
                      <a14:useLocalDpi xmlns:a14="http://schemas.microsoft.com/office/drawing/2010/main" val="0"/>
                    </a:ext>
                  </a:extLst>
                </a:blip>
                <a:srcRect/>
                <a:stretch>
                  <a:fillRect/>
                </a:stretch>
              </a:blipFill>
            </a:endParaRPr>
          </a:p>
        </p:txBody>
      </p:sp>
      <p:sp>
        <p:nvSpPr>
          <p:cNvPr id="7" name="Rettangolo 6">
            <a:extLst>
              <a:ext uri="{FF2B5EF4-FFF2-40B4-BE49-F238E27FC236}">
                <a16:creationId xmlns:a16="http://schemas.microsoft.com/office/drawing/2014/main" id="{95C556C5-7D85-7140-96DE-8B8A16B4C203}"/>
              </a:ext>
            </a:extLst>
          </p:cNvPr>
          <p:cNvSpPr/>
          <p:nvPr/>
        </p:nvSpPr>
        <p:spPr>
          <a:xfrm>
            <a:off x="0" y="5044072"/>
            <a:ext cx="12192000" cy="1813927"/>
          </a:xfrm>
          <a:prstGeom prst="rect">
            <a:avLst/>
          </a:prstGeom>
          <a:blipFill dpi="0" rotWithShape="1">
            <a:blip r:embed="rId8">
              <a:alphaModFix amt="15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400" b="1" dirty="0">
                <a:solidFill>
                  <a:schemeClr val="tx1"/>
                </a:solidFill>
                <a:latin typeface="Times New Roman" panose="02020603050405020304" pitchFamily="18" charset="0"/>
                <a:cs typeface="Times New Roman" panose="02020603050405020304" pitchFamily="18" charset="0"/>
              </a:rPr>
              <a:t>INGHILTERRA «</a:t>
            </a:r>
            <a:r>
              <a:rPr lang="it-IT" sz="2400" b="1" dirty="0" err="1">
                <a:solidFill>
                  <a:schemeClr val="tx1"/>
                </a:solidFill>
                <a:latin typeface="Times New Roman" panose="02020603050405020304" pitchFamily="18" charset="0"/>
                <a:cs typeface="Times New Roman" panose="02020603050405020304" pitchFamily="18" charset="0"/>
              </a:rPr>
              <a:t>Good</a:t>
            </a:r>
            <a:r>
              <a:rPr lang="it-IT" sz="2400" b="1" dirty="0">
                <a:solidFill>
                  <a:schemeClr val="tx1"/>
                </a:solidFill>
                <a:latin typeface="Times New Roman" panose="02020603050405020304" pitchFamily="18" charset="0"/>
                <a:cs typeface="Times New Roman" panose="02020603050405020304" pitchFamily="18" charset="0"/>
              </a:rPr>
              <a:t> </a:t>
            </a:r>
            <a:r>
              <a:rPr lang="it-IT" sz="2400" b="1" dirty="0" err="1">
                <a:solidFill>
                  <a:schemeClr val="tx1"/>
                </a:solidFill>
                <a:latin typeface="Times New Roman" panose="02020603050405020304" pitchFamily="18" charset="0"/>
                <a:cs typeface="Times New Roman" panose="02020603050405020304" pitchFamily="18" charset="0"/>
              </a:rPr>
              <a:t>faith</a:t>
            </a:r>
            <a:r>
              <a:rPr lang="it-IT" sz="2400" b="1" dirty="0">
                <a:solidFill>
                  <a:schemeClr val="tx1"/>
                </a:solidFill>
                <a:latin typeface="Times New Roman" panose="02020603050405020304" pitchFamily="18" charset="0"/>
                <a:cs typeface="Times New Roman" panose="02020603050405020304" pitchFamily="18" charset="0"/>
              </a:rPr>
              <a:t>» →</a:t>
            </a:r>
            <a:r>
              <a:rPr lang="it-IT" sz="2400" dirty="0">
                <a:solidFill>
                  <a:schemeClr val="tx1"/>
                </a:solidFill>
                <a:latin typeface="Times New Roman" panose="02020603050405020304" pitchFamily="18" charset="0"/>
                <a:cs typeface="Times New Roman" panose="02020603050405020304" pitchFamily="18" charset="0"/>
              </a:rPr>
              <a:t> anche nel common law il termine assume entrambe le accezioni ma, nel caso della “</a:t>
            </a:r>
            <a:r>
              <a:rPr lang="it-IT" sz="2400" dirty="0" err="1">
                <a:solidFill>
                  <a:schemeClr val="tx1"/>
                </a:solidFill>
                <a:latin typeface="Times New Roman" panose="02020603050405020304" pitchFamily="18" charset="0"/>
                <a:cs typeface="Times New Roman" panose="02020603050405020304" pitchFamily="18" charset="0"/>
              </a:rPr>
              <a:t>good</a:t>
            </a:r>
            <a:r>
              <a:rPr lang="it-IT" sz="2400" dirty="0">
                <a:solidFill>
                  <a:schemeClr val="tx1"/>
                </a:solidFill>
                <a:latin typeface="Times New Roman" panose="02020603050405020304" pitchFamily="18" charset="0"/>
                <a:cs typeface="Times New Roman" panose="02020603050405020304" pitchFamily="18" charset="0"/>
              </a:rPr>
              <a:t> </a:t>
            </a:r>
            <a:r>
              <a:rPr lang="it-IT" sz="2400" dirty="0" err="1">
                <a:solidFill>
                  <a:schemeClr val="tx1"/>
                </a:solidFill>
                <a:latin typeface="Times New Roman" panose="02020603050405020304" pitchFamily="18" charset="0"/>
                <a:cs typeface="Times New Roman" panose="02020603050405020304" pitchFamily="18" charset="0"/>
              </a:rPr>
              <a:t>faith</a:t>
            </a:r>
            <a:r>
              <a:rPr lang="it-IT" sz="2400" dirty="0">
                <a:solidFill>
                  <a:schemeClr val="tx1"/>
                </a:solidFill>
                <a:latin typeface="Times New Roman" panose="02020603050405020304" pitchFamily="18" charset="0"/>
                <a:cs typeface="Times New Roman" panose="02020603050405020304" pitchFamily="18" charset="0"/>
              </a:rPr>
              <a:t> oggettiva” è difficile rinvenire un generale criterio di valutazione del comportamento delle parti. Piuttosto il concetto si esprime nei diversi istituti di </a:t>
            </a:r>
            <a:r>
              <a:rPr lang="it-IT" sz="2400" dirty="0" err="1">
                <a:solidFill>
                  <a:schemeClr val="tx1"/>
                </a:solidFill>
                <a:latin typeface="Times New Roman" panose="02020603050405020304" pitchFamily="18" charset="0"/>
                <a:cs typeface="Times New Roman" panose="02020603050405020304" pitchFamily="18" charset="0"/>
              </a:rPr>
              <a:t>estoppel</a:t>
            </a:r>
            <a:r>
              <a:rPr lang="it-IT" sz="2400" dirty="0">
                <a:solidFill>
                  <a:schemeClr val="tx1"/>
                </a:solidFill>
                <a:latin typeface="Times New Roman" panose="02020603050405020304" pitchFamily="18" charset="0"/>
                <a:cs typeface="Times New Roman" panose="02020603050405020304" pitchFamily="18" charset="0"/>
              </a:rPr>
              <a:t> e </a:t>
            </a:r>
            <a:r>
              <a:rPr lang="it-IT" sz="2400" dirty="0" err="1">
                <a:solidFill>
                  <a:schemeClr val="tx1"/>
                </a:solidFill>
                <a:latin typeface="Times New Roman" panose="02020603050405020304" pitchFamily="18" charset="0"/>
                <a:cs typeface="Times New Roman" panose="02020603050405020304" pitchFamily="18" charset="0"/>
              </a:rPr>
              <a:t>misrepresentation</a:t>
            </a:r>
            <a:endParaRPr lang="it-IT" sz="2400" dirty="0">
              <a:solidFill>
                <a:schemeClr val="tx1"/>
              </a:solidFill>
              <a:latin typeface="Times New Roman" panose="02020603050405020304" pitchFamily="18" charset="0"/>
              <a:cs typeface="Times New Roman" panose="02020603050405020304" pitchFamily="18" charset="0"/>
            </a:endParaRPr>
          </a:p>
          <a:p>
            <a:pPr algn="ctr"/>
            <a:endParaRPr lang="it-IT" dirty="0"/>
          </a:p>
        </p:txBody>
      </p:sp>
    </p:spTree>
    <p:extLst>
      <p:ext uri="{BB962C8B-B14F-4D97-AF65-F5344CB8AC3E}">
        <p14:creationId xmlns:p14="http://schemas.microsoft.com/office/powerpoint/2010/main" val="1941181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D803EE7-71AA-FC42-8B65-7C4DCA737165}"/>
              </a:ext>
            </a:extLst>
          </p:cNvPr>
          <p:cNvSpPr>
            <a:spLocks noGrp="1"/>
          </p:cNvSpPr>
          <p:nvPr>
            <p:ph type="title"/>
          </p:nvPr>
        </p:nvSpPr>
        <p:spPr>
          <a:xfrm>
            <a:off x="5391396" y="278035"/>
            <a:ext cx="6690676" cy="1210133"/>
          </a:xfrm>
        </p:spPr>
        <p:txBody>
          <a:bodyPr vert="horz" lIns="91440" tIns="45720" rIns="91440" bIns="0" rtlCol="0" anchor="ctr">
            <a:noAutofit/>
          </a:bodyPr>
          <a:lstStyle/>
          <a:p>
            <a:pPr algn="ctr"/>
            <a:r>
              <a:rPr lang="it-IT" sz="3200" dirty="0">
                <a:latin typeface="Times New Roman" panose="02020603050405020304" pitchFamily="18" charset="0"/>
                <a:cs typeface="Times New Roman" panose="02020603050405020304" pitchFamily="18" charset="0"/>
              </a:rPr>
              <a:t>TERMINOLOGIA e ALTRE REGOLE - Sezione 3</a:t>
            </a:r>
            <a:endParaRPr lang="en-US" sz="3200" dirty="0">
              <a:latin typeface="Times New Roman" panose="02020603050405020304" pitchFamily="18" charset="0"/>
              <a:cs typeface="Times New Roman" panose="02020603050405020304" pitchFamily="18" charset="0"/>
            </a:endParaRPr>
          </a:p>
        </p:txBody>
      </p:sp>
      <p:sp>
        <p:nvSpPr>
          <p:cNvPr id="9" name="CasellaDiTesto 8">
            <a:extLst>
              <a:ext uri="{FF2B5EF4-FFF2-40B4-BE49-F238E27FC236}">
                <a16:creationId xmlns:a16="http://schemas.microsoft.com/office/drawing/2014/main" id="{7CCABAD8-D07C-F94D-9B12-6AE9B79C5825}"/>
              </a:ext>
            </a:extLst>
          </p:cNvPr>
          <p:cNvSpPr txBox="1"/>
          <p:nvPr/>
        </p:nvSpPr>
        <p:spPr>
          <a:xfrm>
            <a:off x="508939" y="2239593"/>
            <a:ext cx="5100742" cy="2585323"/>
          </a:xfrm>
          <a:prstGeom prst="rect">
            <a:avLst/>
          </a:prstGeom>
          <a:noFill/>
        </p:spPr>
        <p:txBody>
          <a:bodyPr wrap="square" rtlCol="0">
            <a:spAutoFit/>
          </a:bodyPr>
          <a:lstStyle/>
          <a:p>
            <a:r>
              <a:rPr lang="it-IT" sz="3200" b="1" dirty="0">
                <a:solidFill>
                  <a:srgbClr val="19436B"/>
                </a:solidFill>
                <a:latin typeface="Times" pitchFamily="2" charset="0"/>
              </a:rPr>
              <a:t>RAGIONEVOLEZZA</a:t>
            </a:r>
            <a:r>
              <a:rPr lang="it-IT" sz="2800" dirty="0">
                <a:latin typeface="Times" pitchFamily="2" charset="0"/>
              </a:rPr>
              <a:t>  criterio di buon senso e di equilibrio, rapportato alle circostanze reali della contrattazione</a:t>
            </a:r>
            <a:r>
              <a:rPr lang="it-IT" sz="2800" dirty="0">
                <a:effectLst/>
                <a:latin typeface="Times" pitchFamily="2" charset="0"/>
              </a:rPr>
              <a:t> </a:t>
            </a:r>
            <a:endParaRPr lang="it-IT" sz="2800" dirty="0">
              <a:latin typeface="Times" pitchFamily="2" charset="0"/>
            </a:endParaRPr>
          </a:p>
          <a:p>
            <a:endParaRPr lang="it-IT" dirty="0"/>
          </a:p>
        </p:txBody>
      </p:sp>
      <p:graphicFrame>
        <p:nvGraphicFramePr>
          <p:cNvPr id="11" name="Tabella 10">
            <a:extLst>
              <a:ext uri="{FF2B5EF4-FFF2-40B4-BE49-F238E27FC236}">
                <a16:creationId xmlns:a16="http://schemas.microsoft.com/office/drawing/2014/main" id="{C4FF43F3-AF27-7341-8DBE-A14774A4ECC1}"/>
              </a:ext>
            </a:extLst>
          </p:cNvPr>
          <p:cNvGraphicFramePr>
            <a:graphicFrameLocks noGrp="1"/>
          </p:cNvGraphicFramePr>
          <p:nvPr>
            <p:extLst>
              <p:ext uri="{D42A27DB-BD31-4B8C-83A1-F6EECF244321}">
                <p14:modId xmlns:p14="http://schemas.microsoft.com/office/powerpoint/2010/main" val="1800487182"/>
              </p:ext>
            </p:extLst>
          </p:nvPr>
        </p:nvGraphicFramePr>
        <p:xfrm>
          <a:off x="5391397" y="1488169"/>
          <a:ext cx="6690675" cy="4088172"/>
        </p:xfrm>
        <a:graphic>
          <a:graphicData uri="http://schemas.openxmlformats.org/drawingml/2006/table">
            <a:tbl>
              <a:tblPr firstRow="1" firstCol="1" bandRow="1">
                <a:tableStyleId>{5C22544A-7EE6-4342-B048-85BDC9FD1C3A}</a:tableStyleId>
              </a:tblPr>
              <a:tblGrid>
                <a:gridCol w="3370218">
                  <a:extLst>
                    <a:ext uri="{9D8B030D-6E8A-4147-A177-3AD203B41FA5}">
                      <a16:colId xmlns:a16="http://schemas.microsoft.com/office/drawing/2014/main" val="3349862353"/>
                    </a:ext>
                  </a:extLst>
                </a:gridCol>
                <a:gridCol w="3320457">
                  <a:extLst>
                    <a:ext uri="{9D8B030D-6E8A-4147-A177-3AD203B41FA5}">
                      <a16:colId xmlns:a16="http://schemas.microsoft.com/office/drawing/2014/main" val="4276227047"/>
                    </a:ext>
                  </a:extLst>
                </a:gridCol>
              </a:tblGrid>
              <a:tr h="4088172">
                <a:tc>
                  <a:txBody>
                    <a:bodyPr/>
                    <a:lstStyle/>
                    <a:p>
                      <a:pPr algn="l"/>
                      <a:r>
                        <a:rPr lang="en-US" sz="1800" b="1" i="1" dirty="0">
                          <a:solidFill>
                            <a:schemeClr val="tx1"/>
                          </a:solidFill>
                          <a:effectLst/>
                          <a:latin typeface="Times New Roman" panose="02020603050405020304" pitchFamily="18" charset="0"/>
                          <a:cs typeface="Times New Roman" panose="02020603050405020304" pitchFamily="18" charset="0"/>
                        </a:rPr>
                        <a:t>Article 1:302 - Reasonableness  </a:t>
                      </a:r>
                      <a:endParaRPr lang="it-IT" sz="1800" b="1" i="1" dirty="0">
                        <a:solidFill>
                          <a:schemeClr val="tx1"/>
                        </a:solidFill>
                        <a:effectLst/>
                        <a:latin typeface="Times New Roman" panose="02020603050405020304" pitchFamily="18" charset="0"/>
                        <a:cs typeface="Times New Roman" panose="02020603050405020304" pitchFamily="18" charset="0"/>
                      </a:endParaRPr>
                    </a:p>
                    <a:p>
                      <a:pPr algn="l"/>
                      <a:r>
                        <a:rPr lang="en-US" sz="1800" b="1" i="1" dirty="0">
                          <a:solidFill>
                            <a:schemeClr val="tx1"/>
                          </a:solidFill>
                          <a:effectLst/>
                          <a:latin typeface="Times New Roman" panose="02020603050405020304" pitchFamily="18" charset="0"/>
                          <a:cs typeface="Times New Roman" panose="02020603050405020304" pitchFamily="18" charset="0"/>
                        </a:rPr>
                        <a:t>Under these Principles reasonableness is to be judged by what persons acting in good faith and in the same situation as the parties would consider to be reasonable. In particular, in assessing what is reasonable the nature and purpose of the contract, the circumstances of the case, and the usages and practices of the trades or professions involved should be taken into account. </a:t>
                      </a:r>
                      <a:endParaRPr lang="it-IT" sz="1800" b="1" i="1" dirty="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rgbClr val="FEEECA"/>
                    </a:solidFill>
                  </a:tcPr>
                </a:tc>
                <a:tc>
                  <a:txBody>
                    <a:bodyPr/>
                    <a:lstStyle/>
                    <a:p>
                      <a:pPr algn="l"/>
                      <a:r>
                        <a:rPr lang="it-IT" sz="1800" b="1" dirty="0">
                          <a:solidFill>
                            <a:schemeClr val="tx1"/>
                          </a:solidFill>
                          <a:effectLst/>
                          <a:latin typeface="Times New Roman" panose="02020603050405020304" pitchFamily="18" charset="0"/>
                          <a:cs typeface="Times New Roman" panose="02020603050405020304" pitchFamily="18" charset="0"/>
                        </a:rPr>
                        <a:t>Art. 1:302 - Ragionevolezza</a:t>
                      </a:r>
                    </a:p>
                    <a:p>
                      <a:pPr algn="l"/>
                      <a:r>
                        <a:rPr lang="it-IT" sz="1800" b="1" dirty="0">
                          <a:solidFill>
                            <a:schemeClr val="tx1"/>
                          </a:solidFill>
                          <a:effectLst/>
                          <a:latin typeface="Times New Roman" panose="02020603050405020304" pitchFamily="18" charset="0"/>
                          <a:cs typeface="Times New Roman" panose="02020603050405020304" pitchFamily="18" charset="0"/>
                        </a:rPr>
                        <a:t>È da ritenersi per ragionevolezza </a:t>
                      </a:r>
                      <a:r>
                        <a:rPr lang="it-IT" sz="1800" b="1" dirty="0" err="1">
                          <a:solidFill>
                            <a:schemeClr val="tx1"/>
                          </a:solidFill>
                          <a:effectLst/>
                          <a:latin typeface="Times New Roman" panose="02020603050405020304" pitchFamily="18" charset="0"/>
                          <a:cs typeface="Times New Roman" panose="02020603050405020304" pitchFamily="18" charset="0"/>
                        </a:rPr>
                        <a:t>cio</a:t>
                      </a:r>
                      <a:r>
                        <a:rPr lang="it-IT" sz="1800" b="1" dirty="0">
                          <a:solidFill>
                            <a:schemeClr val="tx1"/>
                          </a:solidFill>
                          <a:effectLst/>
                          <a:latin typeface="Times New Roman" panose="02020603050405020304" pitchFamily="18" charset="0"/>
                          <a:cs typeface="Times New Roman" panose="02020603050405020304" pitchFamily="18" charset="0"/>
                        </a:rPr>
                        <a:t>̀ che chiunque, </a:t>
                      </a:r>
                      <a:r>
                        <a:rPr lang="it-IT" sz="1800" b="1" u="sng" dirty="0">
                          <a:solidFill>
                            <a:schemeClr val="tx1"/>
                          </a:solidFill>
                          <a:effectLst/>
                          <a:latin typeface="Times New Roman" panose="02020603050405020304" pitchFamily="18" charset="0"/>
                          <a:cs typeface="Times New Roman" panose="02020603050405020304" pitchFamily="18" charset="0"/>
                        </a:rPr>
                        <a:t>agendo in buona fede e nella stessa situazione delle parti, considererebbe come ragionevole</a:t>
                      </a:r>
                      <a:r>
                        <a:rPr lang="it-IT" sz="1800" b="1" dirty="0">
                          <a:solidFill>
                            <a:schemeClr val="tx1"/>
                          </a:solidFill>
                          <a:effectLst/>
                          <a:latin typeface="Times New Roman" panose="02020603050405020304" pitchFamily="18" charset="0"/>
                          <a:cs typeface="Times New Roman" panose="02020603050405020304" pitchFamily="18" charset="0"/>
                        </a:rPr>
                        <a:t>. Nella valutazione di </a:t>
                      </a:r>
                      <a:r>
                        <a:rPr lang="it-IT" sz="1800" b="1" dirty="0" err="1">
                          <a:solidFill>
                            <a:schemeClr val="tx1"/>
                          </a:solidFill>
                          <a:effectLst/>
                          <a:latin typeface="Times New Roman" panose="02020603050405020304" pitchFamily="18" charset="0"/>
                          <a:cs typeface="Times New Roman" panose="02020603050405020304" pitchFamily="18" charset="0"/>
                        </a:rPr>
                        <a:t>cio</a:t>
                      </a:r>
                      <a:r>
                        <a:rPr lang="it-IT" sz="1800" b="1" dirty="0">
                          <a:solidFill>
                            <a:schemeClr val="tx1"/>
                          </a:solidFill>
                          <a:effectLst/>
                          <a:latin typeface="Times New Roman" panose="02020603050405020304" pitchFamily="18" charset="0"/>
                          <a:cs typeface="Times New Roman" panose="02020603050405020304" pitchFamily="18" charset="0"/>
                        </a:rPr>
                        <a:t>̀ che è ragionevole dovrebbe tenersi conto, in particolare, della natura e dello scopo del contratto, delle circostanze del caso e degli usi, e pratiche dei traffici o delle professioni coinvolte. </a:t>
                      </a:r>
                      <a:endParaRPr lang="it-IT" sz="1800" b="1" dirty="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p>
                      <a:pPr algn="l"/>
                      <a:endParaRPr lang="it-IT" sz="1600" b="1" dirty="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rgbClr val="FEEECA"/>
                    </a:solidFill>
                  </a:tcPr>
                </a:tc>
                <a:extLst>
                  <a:ext uri="{0D108BD9-81ED-4DB2-BD59-A6C34878D82A}">
                    <a16:rowId xmlns:a16="http://schemas.microsoft.com/office/drawing/2014/main" val="3164872033"/>
                  </a:ext>
                </a:extLst>
              </a:tr>
            </a:tbl>
          </a:graphicData>
        </a:graphic>
      </p:graphicFrame>
    </p:spTree>
    <p:extLst>
      <p:ext uri="{BB962C8B-B14F-4D97-AF65-F5344CB8AC3E}">
        <p14:creationId xmlns:p14="http://schemas.microsoft.com/office/powerpoint/2010/main" val="503262246"/>
      </p:ext>
    </p:extLst>
  </p:cSld>
  <p:clrMapOvr>
    <a:masterClrMapping/>
  </p:clrMapOvr>
  <p:transition spd="slow">
    <p:wipe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1000" fill="hold"/>
                                        <p:tgtEl>
                                          <p:spTgt spid="2"/>
                                        </p:tgtEl>
                                        <p:attrNameLst>
                                          <p:attrName>ppt_x</p:attrName>
                                        </p:attrNameLst>
                                      </p:cBhvr>
                                      <p:tavLst>
                                        <p:tav tm="0">
                                          <p:val>
                                            <p:strVal val="1+#ppt_w/2"/>
                                          </p:val>
                                        </p:tav>
                                        <p:tav tm="100000">
                                          <p:val>
                                            <p:strVal val="#ppt_x"/>
                                          </p:val>
                                        </p:tav>
                                      </p:tavLst>
                                    </p:anim>
                                    <p:anim calcmode="lin" valueType="num">
                                      <p:cBhvr additive="base">
                                        <p:cTn id="14" dur="1000" fill="hold"/>
                                        <p:tgtEl>
                                          <p:spTgt spid="2"/>
                                        </p:tgtEl>
                                        <p:attrNameLst>
                                          <p:attrName>ppt_y</p:attrName>
                                        </p:attrNameLst>
                                      </p:cBhvr>
                                      <p:tavLst>
                                        <p:tav tm="0">
                                          <p:val>
                                            <p:strVal val="#ppt_y"/>
                                          </p:val>
                                        </p:tav>
                                        <p:tav tm="100000">
                                          <p:val>
                                            <p:strVal val="#ppt_y"/>
                                          </p:val>
                                        </p:tav>
                                      </p:tavLst>
                                    </p:anim>
                                  </p:childTnLst>
                                </p:cTn>
                              </p:par>
                              <p:par>
                                <p:cTn id="15" presetID="53" presetClass="entr" presetSubtype="16"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p:cTn id="17" dur="1000" fill="hold"/>
                                        <p:tgtEl>
                                          <p:spTgt spid="11"/>
                                        </p:tgtEl>
                                        <p:attrNameLst>
                                          <p:attrName>ppt_w</p:attrName>
                                        </p:attrNameLst>
                                      </p:cBhvr>
                                      <p:tavLst>
                                        <p:tav tm="0">
                                          <p:val>
                                            <p:fltVal val="0"/>
                                          </p:val>
                                        </p:tav>
                                        <p:tav tm="100000">
                                          <p:val>
                                            <p:strVal val="#ppt_w"/>
                                          </p:val>
                                        </p:tav>
                                      </p:tavLst>
                                    </p:anim>
                                    <p:anim calcmode="lin" valueType="num">
                                      <p:cBhvr>
                                        <p:cTn id="18" dur="1000" fill="hold"/>
                                        <p:tgtEl>
                                          <p:spTgt spid="11"/>
                                        </p:tgtEl>
                                        <p:attrNameLst>
                                          <p:attrName>ppt_h</p:attrName>
                                        </p:attrNameLst>
                                      </p:cBhvr>
                                      <p:tavLst>
                                        <p:tav tm="0">
                                          <p:val>
                                            <p:fltVal val="0"/>
                                          </p:val>
                                        </p:tav>
                                        <p:tav tm="100000">
                                          <p:val>
                                            <p:strVal val="#ppt_h"/>
                                          </p:val>
                                        </p:tav>
                                      </p:tavLst>
                                    </p:anim>
                                    <p:animEffect transition="in" filter="fade">
                                      <p:cBhvr>
                                        <p:cTn id="19"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sellaDiTesto 3">
            <a:extLst>
              <a:ext uri="{FF2B5EF4-FFF2-40B4-BE49-F238E27FC236}">
                <a16:creationId xmlns:a16="http://schemas.microsoft.com/office/drawing/2014/main" id="{240F1F74-983F-3343-ABF9-6CA5F95335D9}"/>
              </a:ext>
            </a:extLst>
          </p:cNvPr>
          <p:cNvSpPr txBox="1"/>
          <p:nvPr/>
        </p:nvSpPr>
        <p:spPr>
          <a:xfrm>
            <a:off x="1569928" y="1893714"/>
            <a:ext cx="10622072" cy="584775"/>
          </a:xfrm>
          <a:prstGeom prst="rect">
            <a:avLst/>
          </a:prstGeom>
          <a:noFill/>
        </p:spPr>
        <p:txBody>
          <a:bodyPr wrap="square" rtlCol="0">
            <a:spAutoFit/>
          </a:bodyPr>
          <a:lstStyle/>
          <a:p>
            <a:pPr marL="457200" indent="-457200">
              <a:buClr>
                <a:srgbClr val="19436B"/>
              </a:buClr>
              <a:buFont typeface="Wingdings" pitchFamily="2" charset="2"/>
              <a:buChar char="Ø"/>
            </a:pPr>
            <a:r>
              <a:rPr lang="it-IT" sz="3200" dirty="0">
                <a:latin typeface="Times New Roman" panose="02020603050405020304" pitchFamily="18" charset="0"/>
                <a:cs typeface="Times New Roman" panose="02020603050405020304" pitchFamily="18" charset="0"/>
              </a:rPr>
              <a:t>valutare le modalità di esecuzione dei contratti</a:t>
            </a:r>
            <a:r>
              <a:rPr lang="it-IT" sz="3200" dirty="0">
                <a:effectLst/>
                <a:latin typeface="Times New Roman" panose="02020603050405020304" pitchFamily="18" charset="0"/>
                <a:cs typeface="Times New Roman" panose="02020603050405020304" pitchFamily="18" charset="0"/>
              </a:rPr>
              <a:t> </a:t>
            </a:r>
            <a:endParaRPr lang="it-IT" sz="3200" dirty="0">
              <a:latin typeface="Times New Roman" panose="02020603050405020304" pitchFamily="18" charset="0"/>
              <a:cs typeface="Times New Roman" panose="02020603050405020304" pitchFamily="18" charset="0"/>
            </a:endParaRPr>
          </a:p>
        </p:txBody>
      </p:sp>
      <p:sp>
        <p:nvSpPr>
          <p:cNvPr id="5" name="CasellaDiTesto 4">
            <a:extLst>
              <a:ext uri="{FF2B5EF4-FFF2-40B4-BE49-F238E27FC236}">
                <a16:creationId xmlns:a16="http://schemas.microsoft.com/office/drawing/2014/main" id="{A0A7DEA7-050C-864B-A99F-9BD1B1548044}"/>
              </a:ext>
            </a:extLst>
          </p:cNvPr>
          <p:cNvSpPr txBox="1"/>
          <p:nvPr/>
        </p:nvSpPr>
        <p:spPr>
          <a:xfrm>
            <a:off x="1569928" y="3964053"/>
            <a:ext cx="8430017" cy="584775"/>
          </a:xfrm>
          <a:prstGeom prst="rect">
            <a:avLst/>
          </a:prstGeom>
          <a:noFill/>
        </p:spPr>
        <p:txBody>
          <a:bodyPr wrap="square" rtlCol="0" anchor="ctr">
            <a:spAutoFit/>
          </a:bodyPr>
          <a:lstStyle/>
          <a:p>
            <a:pPr marL="457200" indent="-457200">
              <a:buClr>
                <a:srgbClr val="19436B"/>
              </a:buClr>
              <a:buFont typeface="Wingdings" pitchFamily="2" charset="2"/>
              <a:buChar char="Ø"/>
            </a:pPr>
            <a:r>
              <a:rPr lang="it-IT" sz="3200" dirty="0">
                <a:latin typeface="Times New Roman" panose="02020603050405020304" pitchFamily="18" charset="0"/>
                <a:cs typeface="Times New Roman" panose="02020603050405020304" pitchFamily="18" charset="0"/>
              </a:rPr>
              <a:t>ricostruire ed attuare l'intenzione contrattuale</a:t>
            </a:r>
            <a:r>
              <a:rPr lang="it-IT" sz="3200" dirty="0">
                <a:effectLst/>
                <a:latin typeface="Times New Roman" panose="02020603050405020304" pitchFamily="18" charset="0"/>
                <a:cs typeface="Times New Roman" panose="02020603050405020304" pitchFamily="18" charset="0"/>
              </a:rPr>
              <a:t> </a:t>
            </a:r>
            <a:endParaRPr lang="it-IT" sz="3200" dirty="0">
              <a:latin typeface="Times New Roman" panose="02020603050405020304" pitchFamily="18" charset="0"/>
              <a:cs typeface="Times New Roman" panose="02020603050405020304" pitchFamily="18" charset="0"/>
            </a:endParaRPr>
          </a:p>
        </p:txBody>
      </p:sp>
      <p:sp>
        <p:nvSpPr>
          <p:cNvPr id="6" name="CasellaDiTesto 5">
            <a:extLst>
              <a:ext uri="{FF2B5EF4-FFF2-40B4-BE49-F238E27FC236}">
                <a16:creationId xmlns:a16="http://schemas.microsoft.com/office/drawing/2014/main" id="{90663521-558A-A44F-92EE-879CA4273B19}"/>
              </a:ext>
            </a:extLst>
          </p:cNvPr>
          <p:cNvSpPr txBox="1"/>
          <p:nvPr/>
        </p:nvSpPr>
        <p:spPr>
          <a:xfrm>
            <a:off x="1569928" y="4654166"/>
            <a:ext cx="8089726" cy="584775"/>
          </a:xfrm>
          <a:prstGeom prst="rect">
            <a:avLst/>
          </a:prstGeom>
          <a:noFill/>
        </p:spPr>
        <p:txBody>
          <a:bodyPr wrap="square" rtlCol="0" anchor="ctr">
            <a:spAutoFit/>
          </a:bodyPr>
          <a:lstStyle/>
          <a:p>
            <a:pPr marL="457200" indent="-457200">
              <a:buClr>
                <a:srgbClr val="19436B"/>
              </a:buClr>
              <a:buFont typeface="Wingdings" pitchFamily="2" charset="2"/>
              <a:buChar char="Ø"/>
            </a:pPr>
            <a:r>
              <a:rPr lang="it-IT" sz="3200" dirty="0">
                <a:latin typeface="Times New Roman" panose="02020603050405020304" pitchFamily="18" charset="0"/>
                <a:cs typeface="Times New Roman" panose="02020603050405020304" pitchFamily="18" charset="0"/>
              </a:rPr>
              <a:t> integrare l'assetto contrattuale di interessi</a:t>
            </a:r>
          </a:p>
        </p:txBody>
      </p:sp>
      <p:sp>
        <p:nvSpPr>
          <p:cNvPr id="7" name="CasellaDiTesto 6">
            <a:extLst>
              <a:ext uri="{FF2B5EF4-FFF2-40B4-BE49-F238E27FC236}">
                <a16:creationId xmlns:a16="http://schemas.microsoft.com/office/drawing/2014/main" id="{575ED276-02D4-734B-8AA0-C32326E78D50}"/>
              </a:ext>
            </a:extLst>
          </p:cNvPr>
          <p:cNvSpPr txBox="1"/>
          <p:nvPr/>
        </p:nvSpPr>
        <p:spPr>
          <a:xfrm>
            <a:off x="1569928" y="3273940"/>
            <a:ext cx="9575104" cy="584775"/>
          </a:xfrm>
          <a:prstGeom prst="rect">
            <a:avLst/>
          </a:prstGeom>
          <a:noFill/>
        </p:spPr>
        <p:txBody>
          <a:bodyPr wrap="square" rtlCol="0" anchor="ctr">
            <a:spAutoFit/>
          </a:bodyPr>
          <a:lstStyle/>
          <a:p>
            <a:pPr marL="457200" indent="-457200">
              <a:buClr>
                <a:srgbClr val="19436B"/>
              </a:buClr>
              <a:buFont typeface="Wingdings" pitchFamily="2" charset="2"/>
              <a:buChar char="Ø"/>
            </a:pPr>
            <a:r>
              <a:rPr lang="it-IT" sz="3200" dirty="0">
                <a:latin typeface="Times New Roman" panose="02020603050405020304" pitchFamily="18" charset="0"/>
                <a:cs typeface="Times New Roman" panose="02020603050405020304" pitchFamily="18" charset="0"/>
              </a:rPr>
              <a:t>valutare l’adempimento delle obbligazioni contrattuali</a:t>
            </a:r>
          </a:p>
        </p:txBody>
      </p:sp>
      <p:sp>
        <p:nvSpPr>
          <p:cNvPr id="8" name="CasellaDiTesto 7">
            <a:extLst>
              <a:ext uri="{FF2B5EF4-FFF2-40B4-BE49-F238E27FC236}">
                <a16:creationId xmlns:a16="http://schemas.microsoft.com/office/drawing/2014/main" id="{783724BF-384E-ED4F-BAC0-1BD3AC67C4A4}"/>
              </a:ext>
            </a:extLst>
          </p:cNvPr>
          <p:cNvSpPr txBox="1"/>
          <p:nvPr/>
        </p:nvSpPr>
        <p:spPr>
          <a:xfrm>
            <a:off x="1569928" y="2583827"/>
            <a:ext cx="7951939" cy="584775"/>
          </a:xfrm>
          <a:prstGeom prst="rect">
            <a:avLst/>
          </a:prstGeom>
          <a:noFill/>
        </p:spPr>
        <p:txBody>
          <a:bodyPr wrap="square" rtlCol="0">
            <a:spAutoFit/>
          </a:bodyPr>
          <a:lstStyle/>
          <a:p>
            <a:pPr marL="457200" indent="-457200">
              <a:buClr>
                <a:srgbClr val="19436B"/>
              </a:buClr>
              <a:buFont typeface="Wingdings" pitchFamily="2" charset="2"/>
              <a:buChar char="Ø"/>
            </a:pPr>
            <a:r>
              <a:rPr lang="it-IT" sz="3200" dirty="0">
                <a:latin typeface="Times New Roman" panose="02020603050405020304" pitchFamily="18" charset="0"/>
                <a:cs typeface="Times New Roman" panose="02020603050405020304" pitchFamily="18" charset="0"/>
              </a:rPr>
              <a:t>salvaguardare il vincolo sinallagmatico</a:t>
            </a:r>
          </a:p>
        </p:txBody>
      </p:sp>
      <p:sp>
        <p:nvSpPr>
          <p:cNvPr id="2" name="CasellaDiTesto 1">
            <a:extLst>
              <a:ext uri="{FF2B5EF4-FFF2-40B4-BE49-F238E27FC236}">
                <a16:creationId xmlns:a16="http://schemas.microsoft.com/office/drawing/2014/main" id="{B8B13AF5-77CB-0B48-8E88-AF362CC78D20}"/>
              </a:ext>
            </a:extLst>
          </p:cNvPr>
          <p:cNvSpPr txBox="1"/>
          <p:nvPr/>
        </p:nvSpPr>
        <p:spPr>
          <a:xfrm>
            <a:off x="1569928" y="708774"/>
            <a:ext cx="8089726" cy="984885"/>
          </a:xfrm>
          <a:prstGeom prst="rect">
            <a:avLst/>
          </a:prstGeom>
          <a:noFill/>
        </p:spPr>
        <p:txBody>
          <a:bodyPr wrap="square" rtlCol="0">
            <a:spAutoFit/>
          </a:bodyPr>
          <a:lstStyle/>
          <a:p>
            <a:r>
              <a:rPr lang="it-IT" sz="4000" b="1" dirty="0">
                <a:solidFill>
                  <a:srgbClr val="19436B"/>
                </a:solidFill>
                <a:latin typeface="Times New Roman" panose="02020603050405020304" pitchFamily="18" charset="0"/>
                <a:cs typeface="Times New Roman" panose="02020603050405020304" pitchFamily="18" charset="0"/>
              </a:rPr>
              <a:t>I principi base come PARAMETRO</a:t>
            </a:r>
            <a:endParaRPr lang="it-IT" b="1" dirty="0">
              <a:solidFill>
                <a:srgbClr val="19436B"/>
              </a:solidFill>
              <a:latin typeface="Times New Roman" panose="02020603050405020304" pitchFamily="18" charset="0"/>
              <a:cs typeface="Times New Roman" panose="02020603050405020304" pitchFamily="18" charset="0"/>
            </a:endParaRPr>
          </a:p>
          <a:p>
            <a:endParaRPr lang="it-IT" dirty="0"/>
          </a:p>
        </p:txBody>
      </p:sp>
    </p:spTree>
    <p:extLst>
      <p:ext uri="{BB962C8B-B14F-4D97-AF65-F5344CB8AC3E}">
        <p14:creationId xmlns:p14="http://schemas.microsoft.com/office/powerpoint/2010/main" val="2343280274"/>
      </p:ext>
    </p:extLst>
  </p:cSld>
  <p:clrMapOvr>
    <a:masterClrMapping/>
  </p:clrMapOvr>
  <p:transition spd="slow">
    <p:wipe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750" fill="hold"/>
                                        <p:tgtEl>
                                          <p:spTgt spid="4"/>
                                        </p:tgtEl>
                                        <p:attrNameLst>
                                          <p:attrName>ppt_x</p:attrName>
                                        </p:attrNameLst>
                                      </p:cBhvr>
                                      <p:tavLst>
                                        <p:tav tm="0">
                                          <p:val>
                                            <p:strVal val="0-#ppt_w/2"/>
                                          </p:val>
                                        </p:tav>
                                        <p:tav tm="100000">
                                          <p:val>
                                            <p:strVal val="#ppt_x"/>
                                          </p:val>
                                        </p:tav>
                                      </p:tavLst>
                                    </p:anim>
                                    <p:anim calcmode="lin" valueType="num">
                                      <p:cBhvr additive="base">
                                        <p:cTn id="8" dur="75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750" fill="hold"/>
                                        <p:tgtEl>
                                          <p:spTgt spid="8"/>
                                        </p:tgtEl>
                                        <p:attrNameLst>
                                          <p:attrName>ppt_x</p:attrName>
                                        </p:attrNameLst>
                                      </p:cBhvr>
                                      <p:tavLst>
                                        <p:tav tm="0">
                                          <p:val>
                                            <p:strVal val="0-#ppt_w/2"/>
                                          </p:val>
                                        </p:tav>
                                        <p:tav tm="100000">
                                          <p:val>
                                            <p:strVal val="#ppt_x"/>
                                          </p:val>
                                        </p:tav>
                                      </p:tavLst>
                                    </p:anim>
                                    <p:anim calcmode="lin" valueType="num">
                                      <p:cBhvr additive="base">
                                        <p:cTn id="14" dur="75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750" fill="hold"/>
                                        <p:tgtEl>
                                          <p:spTgt spid="7"/>
                                        </p:tgtEl>
                                        <p:attrNameLst>
                                          <p:attrName>ppt_x</p:attrName>
                                        </p:attrNameLst>
                                      </p:cBhvr>
                                      <p:tavLst>
                                        <p:tav tm="0">
                                          <p:val>
                                            <p:strVal val="0-#ppt_w/2"/>
                                          </p:val>
                                        </p:tav>
                                        <p:tav tm="100000">
                                          <p:val>
                                            <p:strVal val="#ppt_x"/>
                                          </p:val>
                                        </p:tav>
                                      </p:tavLst>
                                    </p:anim>
                                    <p:anim calcmode="lin" valueType="num">
                                      <p:cBhvr additive="base">
                                        <p:cTn id="20" dur="75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5"/>
                                        </p:tgtEl>
                                        <p:attrNameLst>
                                          <p:attrName>style.visibility</p:attrName>
                                        </p:attrNameLst>
                                      </p:cBhvr>
                                      <p:to>
                                        <p:strVal val="visible"/>
                                      </p:to>
                                    </p:set>
                                    <p:anim calcmode="lin" valueType="num">
                                      <p:cBhvr additive="base">
                                        <p:cTn id="25" dur="750" fill="hold"/>
                                        <p:tgtEl>
                                          <p:spTgt spid="5"/>
                                        </p:tgtEl>
                                        <p:attrNameLst>
                                          <p:attrName>ppt_x</p:attrName>
                                        </p:attrNameLst>
                                      </p:cBhvr>
                                      <p:tavLst>
                                        <p:tav tm="0">
                                          <p:val>
                                            <p:strVal val="0-#ppt_w/2"/>
                                          </p:val>
                                        </p:tav>
                                        <p:tav tm="100000">
                                          <p:val>
                                            <p:strVal val="#ppt_x"/>
                                          </p:val>
                                        </p:tav>
                                      </p:tavLst>
                                    </p:anim>
                                    <p:anim calcmode="lin" valueType="num">
                                      <p:cBhvr additive="base">
                                        <p:cTn id="26" dur="75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6"/>
                                        </p:tgtEl>
                                        <p:attrNameLst>
                                          <p:attrName>style.visibility</p:attrName>
                                        </p:attrNameLst>
                                      </p:cBhvr>
                                      <p:to>
                                        <p:strVal val="visible"/>
                                      </p:to>
                                    </p:set>
                                    <p:anim calcmode="lin" valueType="num">
                                      <p:cBhvr additive="base">
                                        <p:cTn id="31" dur="750" fill="hold"/>
                                        <p:tgtEl>
                                          <p:spTgt spid="6"/>
                                        </p:tgtEl>
                                        <p:attrNameLst>
                                          <p:attrName>ppt_x</p:attrName>
                                        </p:attrNameLst>
                                      </p:cBhvr>
                                      <p:tavLst>
                                        <p:tav tm="0">
                                          <p:val>
                                            <p:strVal val="0-#ppt_w/2"/>
                                          </p:val>
                                        </p:tav>
                                        <p:tav tm="100000">
                                          <p:val>
                                            <p:strVal val="#ppt_x"/>
                                          </p:val>
                                        </p:tav>
                                      </p:tavLst>
                                    </p:anim>
                                    <p:anim calcmode="lin" valueType="num">
                                      <p:cBhvr additive="base">
                                        <p:cTn id="32" dur="75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la 2">
            <a:extLst>
              <a:ext uri="{FF2B5EF4-FFF2-40B4-BE49-F238E27FC236}">
                <a16:creationId xmlns:a16="http://schemas.microsoft.com/office/drawing/2014/main" id="{1058E7E5-8FC4-C947-8F44-1901BD7FF363}"/>
              </a:ext>
            </a:extLst>
          </p:cNvPr>
          <p:cNvGraphicFramePr>
            <a:graphicFrameLocks noGrp="1"/>
          </p:cNvGraphicFramePr>
          <p:nvPr/>
        </p:nvGraphicFramePr>
        <p:xfrm>
          <a:off x="231910" y="1514475"/>
          <a:ext cx="11728174" cy="4419600"/>
        </p:xfrm>
        <a:graphic>
          <a:graphicData uri="http://schemas.openxmlformats.org/drawingml/2006/table">
            <a:tbl>
              <a:tblPr firstRow="1" firstCol="1" bandRow="1">
                <a:tableStyleId>{ED083AE6-46FA-4A59-8FB0-9F97EB10719F}</a:tableStyleId>
              </a:tblPr>
              <a:tblGrid>
                <a:gridCol w="4095700">
                  <a:extLst>
                    <a:ext uri="{9D8B030D-6E8A-4147-A177-3AD203B41FA5}">
                      <a16:colId xmlns:a16="http://schemas.microsoft.com/office/drawing/2014/main" val="3146241104"/>
                    </a:ext>
                  </a:extLst>
                </a:gridCol>
                <a:gridCol w="4269752">
                  <a:extLst>
                    <a:ext uri="{9D8B030D-6E8A-4147-A177-3AD203B41FA5}">
                      <a16:colId xmlns:a16="http://schemas.microsoft.com/office/drawing/2014/main" val="404048048"/>
                    </a:ext>
                  </a:extLst>
                </a:gridCol>
                <a:gridCol w="3362722">
                  <a:extLst>
                    <a:ext uri="{9D8B030D-6E8A-4147-A177-3AD203B41FA5}">
                      <a16:colId xmlns:a16="http://schemas.microsoft.com/office/drawing/2014/main" val="2382024296"/>
                    </a:ext>
                  </a:extLst>
                </a:gridCol>
              </a:tblGrid>
              <a:tr h="1687373">
                <a:tc>
                  <a:txBody>
                    <a:bodyPr/>
                    <a:lstStyle/>
                    <a:p>
                      <a:pPr algn="l"/>
                      <a:r>
                        <a:rPr lang="it-IT" sz="1600" b="1" dirty="0">
                          <a:solidFill>
                            <a:schemeClr val="tx1"/>
                          </a:solidFill>
                          <a:effectLst/>
                          <a:latin typeface="Times New Roman" panose="02020603050405020304" pitchFamily="18" charset="0"/>
                          <a:cs typeface="Times New Roman" panose="02020603050405020304" pitchFamily="18" charset="0"/>
                        </a:rPr>
                        <a:t>Art.1:106 - Interpretazione e analogia</a:t>
                      </a:r>
                    </a:p>
                    <a:p>
                      <a:pPr algn="l"/>
                      <a:r>
                        <a:rPr lang="it-IT" sz="1600" b="0" dirty="0">
                          <a:solidFill>
                            <a:schemeClr val="tx1"/>
                          </a:solidFill>
                          <a:effectLst/>
                          <a:latin typeface="Times New Roman" panose="02020603050405020304" pitchFamily="18" charset="0"/>
                          <a:cs typeface="Times New Roman" panose="02020603050405020304" pitchFamily="18" charset="0"/>
                        </a:rPr>
                        <a:t>(1) I Principi devono essere interpretati, anche evolutivamente, in maniera conforme al loro scopo. </a:t>
                      </a:r>
                      <a:r>
                        <a:rPr lang="it-IT" sz="1600" b="0" u="sng" dirty="0">
                          <a:solidFill>
                            <a:schemeClr val="tx1"/>
                          </a:solidFill>
                          <a:effectLst/>
                          <a:latin typeface="Times New Roman" panose="02020603050405020304" pitchFamily="18" charset="0"/>
                          <a:cs typeface="Times New Roman" panose="02020603050405020304" pitchFamily="18" charset="0"/>
                        </a:rPr>
                        <a:t>Particolare attenzione deve essere data all’esigenza di promuovere la buona fede e la correttezza</a:t>
                      </a:r>
                      <a:r>
                        <a:rPr lang="it-IT" sz="1600" b="0" dirty="0">
                          <a:solidFill>
                            <a:schemeClr val="tx1"/>
                          </a:solidFill>
                          <a:effectLst/>
                          <a:latin typeface="Times New Roman" panose="02020603050405020304" pitchFamily="18" charset="0"/>
                          <a:cs typeface="Times New Roman" panose="02020603050405020304" pitchFamily="18" charset="0"/>
                        </a:rPr>
                        <a:t>, la certezza delle relazioni contrattuali e l’uniformità di applicazione</a:t>
                      </a:r>
                    </a:p>
                  </a:txBody>
                  <a:tcPr marL="66829" marR="66829" marT="0" marB="0">
                    <a:lnL w="12700" cmpd="sng">
                      <a:noFill/>
                    </a:lnL>
                    <a:lnR w="12700" cmpd="sng">
                      <a:noFill/>
                    </a:lnR>
                    <a:lnT w="12700" cmpd="sng">
                      <a:noFill/>
                    </a:lnT>
                    <a:lnB w="25400" cmpd="sng">
                      <a:noFill/>
                    </a:lnB>
                    <a:lnTlToBr w="12700" cmpd="sng">
                      <a:noFill/>
                      <a:prstDash val="solid"/>
                    </a:lnTlToBr>
                    <a:lnBlToTr w="12700" cmpd="sng">
                      <a:noFill/>
                      <a:prstDash val="solid"/>
                    </a:lnBlToTr>
                  </a:tcPr>
                </a:tc>
                <a:tc>
                  <a:txBody>
                    <a:bodyPr/>
                    <a:lstStyle/>
                    <a:p>
                      <a:pPr algn="l"/>
                      <a:r>
                        <a:rPr lang="it-IT" sz="1600" b="1" dirty="0">
                          <a:solidFill>
                            <a:schemeClr val="tx1"/>
                          </a:solidFill>
                          <a:effectLst/>
                          <a:latin typeface="Times New Roman" panose="02020603050405020304" pitchFamily="18" charset="0"/>
                          <a:cs typeface="Times New Roman" panose="02020603050405020304" pitchFamily="18" charset="0"/>
                        </a:rPr>
                        <a:t>Art. 5:101- Regole generali di interpretazione</a:t>
                      </a:r>
                    </a:p>
                    <a:p>
                      <a:pPr algn="l"/>
                      <a:r>
                        <a:rPr lang="it-IT" sz="1600" b="0" dirty="0">
                          <a:solidFill>
                            <a:schemeClr val="tx1"/>
                          </a:solidFill>
                          <a:effectLst/>
                          <a:latin typeface="Times New Roman" panose="02020603050405020304" pitchFamily="18" charset="0"/>
                          <a:cs typeface="Times New Roman" panose="02020603050405020304" pitchFamily="18" charset="0"/>
                        </a:rPr>
                        <a:t>(3) Quando una intenzione secondo i paragrafi 1 e 2 non può essere accertata, il contratto deve essere interpretato secondo il significato che persone </a:t>
                      </a:r>
                      <a:r>
                        <a:rPr lang="it-IT" sz="1600" b="0" u="sng" dirty="0">
                          <a:solidFill>
                            <a:schemeClr val="tx1"/>
                          </a:solidFill>
                          <a:effectLst/>
                          <a:latin typeface="Times New Roman" panose="02020603050405020304" pitchFamily="18" charset="0"/>
                          <a:cs typeface="Times New Roman" panose="02020603050405020304" pitchFamily="18" charset="0"/>
                        </a:rPr>
                        <a:t>ragionevoli</a:t>
                      </a:r>
                      <a:r>
                        <a:rPr lang="it-IT" sz="1600" b="0" dirty="0">
                          <a:solidFill>
                            <a:schemeClr val="tx1"/>
                          </a:solidFill>
                          <a:effectLst/>
                          <a:latin typeface="Times New Roman" panose="02020603050405020304" pitchFamily="18" charset="0"/>
                          <a:cs typeface="Times New Roman" panose="02020603050405020304" pitchFamily="18" charset="0"/>
                        </a:rPr>
                        <a:t> e con le stesse caratteristiche delle parti darebbero ad esso nelle stesse circostanze.</a:t>
                      </a:r>
                    </a:p>
                    <a:p>
                      <a:pPr algn="l">
                        <a:spcBef>
                          <a:spcPts val="600"/>
                        </a:spcBef>
                      </a:pPr>
                      <a:endParaRPr lang="en-US" sz="1600" b="0" i="1" dirty="0">
                        <a:solidFill>
                          <a:schemeClr val="tx1"/>
                        </a:solidFill>
                        <a:effectLst/>
                        <a:latin typeface="Times New Roman" panose="02020603050405020304" pitchFamily="18" charset="0"/>
                        <a:cs typeface="Times New Roman" panose="02020603050405020304" pitchFamily="18" charset="0"/>
                      </a:endParaRPr>
                    </a:p>
                  </a:txBody>
                  <a:tcPr marL="66829" marR="66829" marT="0" marB="0">
                    <a:lnL w="12700" cmpd="sng">
                      <a:noFill/>
                    </a:lnL>
                    <a:lnR w="12700" cmpd="sng">
                      <a:noFill/>
                    </a:lnR>
                    <a:lnT w="12700" cmpd="sng">
                      <a:noFill/>
                    </a:lnT>
                    <a:lnB w="25400" cmpd="sng">
                      <a:noFill/>
                    </a:lnB>
                    <a:lnTlToBr w="12700" cmpd="sng">
                      <a:noFill/>
                      <a:prstDash val="solid"/>
                    </a:lnTlToBr>
                    <a:lnBlToTr w="12700" cmpd="sng">
                      <a:noFill/>
                      <a:prstDash val="solid"/>
                    </a:lnBlToTr>
                  </a:tcPr>
                </a:tc>
                <a:tc>
                  <a:txBody>
                    <a:bodyPr/>
                    <a:lstStyle/>
                    <a:p>
                      <a:pPr algn="ctr"/>
                      <a:r>
                        <a:rPr lang="it-IT" sz="1600" b="1" dirty="0">
                          <a:solidFill>
                            <a:schemeClr val="tx1"/>
                          </a:solidFill>
                          <a:effectLst/>
                          <a:latin typeface="Times New Roman" panose="02020603050405020304" pitchFamily="18" charset="0"/>
                          <a:cs typeface="Times New Roman" panose="02020603050405020304" pitchFamily="18" charset="0"/>
                        </a:rPr>
                        <a:t>Art. 5:102- Circostanze rilevanti</a:t>
                      </a:r>
                    </a:p>
                    <a:p>
                      <a:pPr algn="l"/>
                      <a:r>
                        <a:rPr lang="it-IT" sz="1600" b="0" dirty="0">
                          <a:solidFill>
                            <a:schemeClr val="tx1"/>
                          </a:solidFill>
                          <a:effectLst/>
                          <a:latin typeface="Times New Roman" panose="02020603050405020304" pitchFamily="18" charset="0"/>
                          <a:cs typeface="Times New Roman" panose="02020603050405020304" pitchFamily="18" charset="0"/>
                        </a:rPr>
                        <a:t>Nell’interpretare il contratto si deve avere riguardo, in particolare, a: </a:t>
                      </a:r>
                    </a:p>
                    <a:p>
                      <a:pPr algn="l"/>
                      <a:r>
                        <a:rPr lang="it-IT" sz="1600" b="0" dirty="0">
                          <a:solidFill>
                            <a:schemeClr val="tx1"/>
                          </a:solidFill>
                          <a:effectLst/>
                          <a:latin typeface="Times New Roman" panose="02020603050405020304" pitchFamily="18" charset="0"/>
                          <a:cs typeface="Times New Roman" panose="02020603050405020304" pitchFamily="18" charset="0"/>
                        </a:rPr>
                        <a:t>(…)</a:t>
                      </a:r>
                    </a:p>
                    <a:p>
                      <a:pPr algn="l"/>
                      <a:r>
                        <a:rPr lang="it-IT" sz="1600" b="0" dirty="0">
                          <a:solidFill>
                            <a:schemeClr val="tx1"/>
                          </a:solidFill>
                          <a:effectLst/>
                          <a:latin typeface="Times New Roman" panose="02020603050405020304" pitchFamily="18" charset="0"/>
                          <a:cs typeface="Times New Roman" panose="02020603050405020304" pitchFamily="18" charset="0"/>
                        </a:rPr>
                        <a:t>(g) </a:t>
                      </a:r>
                      <a:r>
                        <a:rPr lang="it-IT" sz="1600" b="0" u="sng" dirty="0">
                          <a:solidFill>
                            <a:schemeClr val="tx1"/>
                          </a:solidFill>
                          <a:effectLst/>
                          <a:latin typeface="Times New Roman" panose="02020603050405020304" pitchFamily="18" charset="0"/>
                          <a:cs typeface="Times New Roman" panose="02020603050405020304" pitchFamily="18" charset="0"/>
                        </a:rPr>
                        <a:t>buona fede e correttezza</a:t>
                      </a:r>
                      <a:r>
                        <a:rPr lang="it-IT" sz="1600" b="0" dirty="0">
                          <a:solidFill>
                            <a:schemeClr val="tx1"/>
                          </a:solidFill>
                          <a:effectLst/>
                          <a:latin typeface="Times New Roman" panose="02020603050405020304" pitchFamily="18" charset="0"/>
                          <a:cs typeface="Times New Roman" panose="02020603050405020304" pitchFamily="18" charset="0"/>
                        </a:rPr>
                        <a:t>.</a:t>
                      </a:r>
                    </a:p>
                    <a:p>
                      <a:pPr algn="l">
                        <a:spcBef>
                          <a:spcPts val="600"/>
                        </a:spcBef>
                      </a:pPr>
                      <a:endParaRPr lang="en-US" sz="1600" b="0" i="1" dirty="0">
                        <a:solidFill>
                          <a:schemeClr val="tx1"/>
                        </a:solidFill>
                        <a:effectLst/>
                        <a:latin typeface="Times New Roman" panose="02020603050405020304" pitchFamily="18" charset="0"/>
                        <a:cs typeface="Times New Roman" panose="02020603050405020304" pitchFamily="18" charset="0"/>
                      </a:endParaRPr>
                    </a:p>
                  </a:txBody>
                  <a:tcPr marL="66829" marR="66829" marT="0" marB="0">
                    <a:lnL w="12700" cmpd="sng">
                      <a:noFill/>
                    </a:lnL>
                    <a:lnR w="12700" cmpd="sng">
                      <a:noFill/>
                    </a:lnR>
                    <a:lnT w="12700" cmpd="sng">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3626149037"/>
                  </a:ext>
                </a:extLst>
              </a:tr>
              <a:tr h="2427427">
                <a:tc>
                  <a:txBody>
                    <a:bodyPr/>
                    <a:lstStyle/>
                    <a:p>
                      <a:pPr algn="l">
                        <a:spcBef>
                          <a:spcPts val="600"/>
                        </a:spcBef>
                      </a:pPr>
                      <a:endParaRPr lang="en-US" sz="800" b="0" i="1" dirty="0">
                        <a:solidFill>
                          <a:schemeClr val="tx1"/>
                        </a:solidFill>
                        <a:effectLst/>
                        <a:latin typeface="Times New Roman" panose="02020603050405020304" pitchFamily="18" charset="0"/>
                        <a:cs typeface="Times New Roman" panose="02020603050405020304" pitchFamily="18" charset="0"/>
                      </a:endParaRPr>
                    </a:p>
                    <a:p>
                      <a:pPr algn="l">
                        <a:spcBef>
                          <a:spcPts val="600"/>
                        </a:spcBef>
                      </a:pPr>
                      <a:r>
                        <a:rPr lang="en-US" sz="1600" b="1" i="1" dirty="0">
                          <a:solidFill>
                            <a:schemeClr val="tx1"/>
                          </a:solidFill>
                          <a:effectLst/>
                          <a:latin typeface="Times New Roman" panose="02020603050405020304" pitchFamily="18" charset="0"/>
                          <a:cs typeface="Times New Roman" panose="02020603050405020304" pitchFamily="18" charset="0"/>
                        </a:rPr>
                        <a:t>Article 1:106: Interpretation and Supplementation</a:t>
                      </a:r>
                      <a:endParaRPr lang="it-IT" sz="1600" b="1" i="1" dirty="0">
                        <a:solidFill>
                          <a:schemeClr val="tx1"/>
                        </a:solidFill>
                        <a:effectLst/>
                        <a:latin typeface="Times New Roman" panose="02020603050405020304" pitchFamily="18" charset="0"/>
                        <a:cs typeface="Times New Roman" panose="02020603050405020304" pitchFamily="18" charset="0"/>
                      </a:endParaRPr>
                    </a:p>
                    <a:p>
                      <a:pPr algn="l"/>
                      <a:r>
                        <a:rPr lang="en-US" sz="1600" b="1" i="1" dirty="0">
                          <a:solidFill>
                            <a:schemeClr val="tx1"/>
                          </a:solidFill>
                          <a:effectLst/>
                          <a:latin typeface="Times New Roman" panose="02020603050405020304" pitchFamily="18" charset="0"/>
                          <a:cs typeface="Times New Roman" panose="02020603050405020304" pitchFamily="18" charset="0"/>
                        </a:rPr>
                        <a:t>(1) These Principles should be interpreted and develop ed in accordance with their purposes. In particular, regard should be had to the need to promote good faith and fair dealing, certainty in contractual relationships and uniformity of application.</a:t>
                      </a:r>
                      <a:endParaRPr lang="it-IT" sz="1600" b="1" i="1" dirty="0">
                        <a:solidFill>
                          <a:schemeClr val="tx1"/>
                        </a:solidFill>
                        <a:effectLst/>
                        <a:latin typeface="Times New Roman" panose="02020603050405020304" pitchFamily="18" charset="0"/>
                        <a:cs typeface="Times New Roman" panose="02020603050405020304" pitchFamily="18" charset="0"/>
                      </a:endParaRPr>
                    </a:p>
                    <a:p>
                      <a:pPr algn="l"/>
                      <a:r>
                        <a:rPr lang="en-US" sz="1600" b="0" dirty="0">
                          <a:solidFill>
                            <a:schemeClr val="tx1"/>
                          </a:solidFill>
                          <a:effectLst/>
                          <a:latin typeface="Times New Roman" panose="02020603050405020304" pitchFamily="18" charset="0"/>
                          <a:cs typeface="Times New Roman" panose="02020603050405020304" pitchFamily="18" charset="0"/>
                        </a:rPr>
                        <a:t> </a:t>
                      </a:r>
                      <a:endParaRPr lang="it-IT" sz="1600" b="0" dirty="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p>
                      <a:pPr algn="l"/>
                      <a:endParaRPr lang="it-IT" sz="1600" b="0" dirty="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6829" marR="66829" marT="0" marB="0">
                    <a:lnL w="12700" cmpd="sng">
                      <a:noFill/>
                    </a:lnL>
                    <a:lnR w="12700" cmpd="sng">
                      <a:noFill/>
                    </a:lnR>
                    <a:lnT w="25400" cmpd="sng">
                      <a:noFill/>
                    </a:lnT>
                    <a:lnB w="12700" cmpd="sng">
                      <a:noFill/>
                    </a:lnB>
                    <a:lnTlToBr w="12700" cmpd="sng">
                      <a:noFill/>
                      <a:prstDash val="solid"/>
                    </a:lnTlToBr>
                    <a:lnBlToTr w="12700" cmpd="sng">
                      <a:noFill/>
                      <a:prstDash val="solid"/>
                    </a:lnBlToTr>
                  </a:tcPr>
                </a:tc>
                <a:tc>
                  <a:txBody>
                    <a:bodyPr/>
                    <a:lstStyle/>
                    <a:p>
                      <a:pPr algn="l">
                        <a:spcBef>
                          <a:spcPts val="600"/>
                        </a:spcBef>
                      </a:pPr>
                      <a:endParaRPr lang="en-US" sz="600" b="0" i="1" dirty="0">
                        <a:solidFill>
                          <a:schemeClr val="tx1"/>
                        </a:solidFill>
                        <a:effectLst/>
                        <a:latin typeface="Times New Roman" panose="02020603050405020304" pitchFamily="18" charset="0"/>
                        <a:cs typeface="Times New Roman" panose="02020603050405020304" pitchFamily="18" charset="0"/>
                      </a:endParaRPr>
                    </a:p>
                    <a:p>
                      <a:pPr algn="l">
                        <a:spcBef>
                          <a:spcPts val="600"/>
                        </a:spcBef>
                      </a:pPr>
                      <a:r>
                        <a:rPr lang="en-US" sz="1600" b="1" i="1" dirty="0">
                          <a:solidFill>
                            <a:schemeClr val="tx1"/>
                          </a:solidFill>
                          <a:effectLst/>
                          <a:latin typeface="Times New Roman" panose="02020603050405020304" pitchFamily="18" charset="0"/>
                          <a:cs typeface="Times New Roman" panose="02020603050405020304" pitchFamily="18" charset="0"/>
                        </a:rPr>
                        <a:t>Article 5:101 - General Rules of Interpretation </a:t>
                      </a:r>
                      <a:endParaRPr lang="it-IT" sz="1600" b="1" i="1" dirty="0">
                        <a:solidFill>
                          <a:schemeClr val="tx1"/>
                        </a:solidFill>
                        <a:effectLst/>
                        <a:latin typeface="Times New Roman" panose="02020603050405020304" pitchFamily="18" charset="0"/>
                        <a:cs typeface="Times New Roman" panose="02020603050405020304" pitchFamily="18" charset="0"/>
                      </a:endParaRPr>
                    </a:p>
                    <a:p>
                      <a:pPr algn="l"/>
                      <a:r>
                        <a:rPr lang="en-US" sz="1600" b="1" i="1" dirty="0">
                          <a:solidFill>
                            <a:schemeClr val="tx1"/>
                          </a:solidFill>
                          <a:effectLst/>
                          <a:latin typeface="Times New Roman" panose="02020603050405020304" pitchFamily="18" charset="0"/>
                          <a:cs typeface="Times New Roman" panose="02020603050405020304" pitchFamily="18" charset="0"/>
                        </a:rPr>
                        <a:t>(3) If an intention cannot be established according to (1) or (2), the contract is to be interpreted according to the meaning that reasonable persons of the same kind as the parties would give to it in the same circumstances. </a:t>
                      </a:r>
                      <a:endParaRPr lang="it-IT" sz="1600" b="1" i="1" dirty="0">
                        <a:solidFill>
                          <a:schemeClr val="tx1"/>
                        </a:solidFill>
                        <a:effectLst/>
                        <a:latin typeface="Times New Roman" panose="02020603050405020304" pitchFamily="18" charset="0"/>
                        <a:cs typeface="Times New Roman" panose="02020603050405020304" pitchFamily="18" charset="0"/>
                      </a:endParaRPr>
                    </a:p>
                    <a:p>
                      <a:pPr algn="l"/>
                      <a:r>
                        <a:rPr lang="en-US" sz="1600" b="0" i="1" dirty="0">
                          <a:solidFill>
                            <a:schemeClr val="tx1"/>
                          </a:solidFill>
                          <a:effectLst/>
                          <a:latin typeface="Times New Roman" panose="02020603050405020304" pitchFamily="18" charset="0"/>
                          <a:cs typeface="Times New Roman" panose="02020603050405020304" pitchFamily="18" charset="0"/>
                        </a:rPr>
                        <a:t> </a:t>
                      </a:r>
                      <a:endParaRPr lang="it-IT" sz="1600" b="0" i="1" dirty="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p>
                      <a:pPr algn="l"/>
                      <a:endParaRPr lang="it-IT" sz="1600" b="0" i="1" dirty="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6829" marR="66829" marT="0" marB="0">
                    <a:lnL w="12700" cmpd="sng">
                      <a:noFill/>
                    </a:lnL>
                    <a:lnR w="12700" cmpd="sng">
                      <a:noFill/>
                    </a:lnR>
                    <a:lnT w="25400" cmpd="sng">
                      <a:noFill/>
                    </a:lnT>
                    <a:lnB w="12700" cmpd="sng">
                      <a:noFill/>
                    </a:lnB>
                    <a:lnTlToBr w="12700" cmpd="sng">
                      <a:noFill/>
                      <a:prstDash val="solid"/>
                    </a:lnTlToBr>
                    <a:lnBlToTr w="12700" cmpd="sng">
                      <a:noFill/>
                      <a:prstDash val="solid"/>
                    </a:lnBlToTr>
                  </a:tcPr>
                </a:tc>
                <a:tc>
                  <a:txBody>
                    <a:bodyPr/>
                    <a:lstStyle/>
                    <a:p>
                      <a:pPr algn="l">
                        <a:spcBef>
                          <a:spcPts val="600"/>
                        </a:spcBef>
                      </a:pPr>
                      <a:endParaRPr lang="en-US" sz="800" b="0" i="1" dirty="0">
                        <a:solidFill>
                          <a:schemeClr val="tx1"/>
                        </a:solidFill>
                        <a:effectLst/>
                        <a:latin typeface="Times New Roman" panose="02020603050405020304" pitchFamily="18" charset="0"/>
                        <a:cs typeface="Times New Roman" panose="02020603050405020304" pitchFamily="18" charset="0"/>
                      </a:endParaRPr>
                    </a:p>
                    <a:p>
                      <a:pPr algn="l">
                        <a:spcBef>
                          <a:spcPts val="600"/>
                        </a:spcBef>
                      </a:pPr>
                      <a:r>
                        <a:rPr lang="en-US" sz="1600" b="1" i="1" dirty="0">
                          <a:solidFill>
                            <a:schemeClr val="tx1"/>
                          </a:solidFill>
                          <a:effectLst/>
                          <a:latin typeface="Times New Roman" panose="02020603050405020304" pitchFamily="18" charset="0"/>
                          <a:cs typeface="Times New Roman" panose="02020603050405020304" pitchFamily="18" charset="0"/>
                        </a:rPr>
                        <a:t>Article 5:102 - Relevant Circumstances </a:t>
                      </a:r>
                      <a:endParaRPr lang="it-IT" sz="1600" b="1" i="1" dirty="0">
                        <a:solidFill>
                          <a:schemeClr val="tx1"/>
                        </a:solidFill>
                        <a:effectLst/>
                        <a:latin typeface="Times New Roman" panose="02020603050405020304" pitchFamily="18" charset="0"/>
                        <a:cs typeface="Times New Roman" panose="02020603050405020304" pitchFamily="18" charset="0"/>
                      </a:endParaRPr>
                    </a:p>
                    <a:p>
                      <a:pPr algn="l"/>
                      <a:r>
                        <a:rPr lang="en-US" sz="1600" b="1" i="1" dirty="0">
                          <a:solidFill>
                            <a:schemeClr val="tx1"/>
                          </a:solidFill>
                          <a:effectLst/>
                          <a:latin typeface="Times New Roman" panose="02020603050405020304" pitchFamily="18" charset="0"/>
                          <a:cs typeface="Times New Roman" panose="02020603050405020304" pitchFamily="18" charset="0"/>
                        </a:rPr>
                        <a:t>In interpreting the contract, regard shall be had, in particular, to (…) </a:t>
                      </a:r>
                      <a:r>
                        <a:rPr lang="it-IT" sz="1600" b="1" i="1" dirty="0">
                          <a:solidFill>
                            <a:schemeClr val="tx1"/>
                          </a:solidFill>
                          <a:effectLst/>
                          <a:latin typeface="Times New Roman" panose="02020603050405020304" pitchFamily="18" charset="0"/>
                          <a:cs typeface="Times New Roman" panose="02020603050405020304" pitchFamily="18" charset="0"/>
                        </a:rPr>
                        <a:t>(g) </a:t>
                      </a:r>
                      <a:r>
                        <a:rPr lang="it-IT" sz="1600" b="1" i="1" dirty="0" err="1">
                          <a:solidFill>
                            <a:schemeClr val="tx1"/>
                          </a:solidFill>
                          <a:effectLst/>
                          <a:latin typeface="Times New Roman" panose="02020603050405020304" pitchFamily="18" charset="0"/>
                          <a:cs typeface="Times New Roman" panose="02020603050405020304" pitchFamily="18" charset="0"/>
                        </a:rPr>
                        <a:t>good</a:t>
                      </a:r>
                      <a:r>
                        <a:rPr lang="it-IT" sz="1600" b="1" i="1" dirty="0">
                          <a:solidFill>
                            <a:schemeClr val="tx1"/>
                          </a:solidFill>
                          <a:effectLst/>
                          <a:latin typeface="Times New Roman" panose="02020603050405020304" pitchFamily="18" charset="0"/>
                          <a:cs typeface="Times New Roman" panose="02020603050405020304" pitchFamily="18" charset="0"/>
                        </a:rPr>
                        <a:t> </a:t>
                      </a:r>
                      <a:r>
                        <a:rPr lang="it-IT" sz="1600" b="1" i="1" dirty="0" err="1">
                          <a:solidFill>
                            <a:schemeClr val="tx1"/>
                          </a:solidFill>
                          <a:effectLst/>
                          <a:latin typeface="Times New Roman" panose="02020603050405020304" pitchFamily="18" charset="0"/>
                          <a:cs typeface="Times New Roman" panose="02020603050405020304" pitchFamily="18" charset="0"/>
                        </a:rPr>
                        <a:t>faith</a:t>
                      </a:r>
                      <a:r>
                        <a:rPr lang="it-IT" sz="1600" b="1" i="1" dirty="0">
                          <a:solidFill>
                            <a:schemeClr val="tx1"/>
                          </a:solidFill>
                          <a:effectLst/>
                          <a:latin typeface="Times New Roman" panose="02020603050405020304" pitchFamily="18" charset="0"/>
                          <a:cs typeface="Times New Roman" panose="02020603050405020304" pitchFamily="18" charset="0"/>
                        </a:rPr>
                        <a:t> and fair </a:t>
                      </a:r>
                      <a:r>
                        <a:rPr lang="it-IT" sz="1600" b="1" i="1" dirty="0" err="1">
                          <a:solidFill>
                            <a:schemeClr val="tx1"/>
                          </a:solidFill>
                          <a:effectLst/>
                          <a:latin typeface="Times New Roman" panose="02020603050405020304" pitchFamily="18" charset="0"/>
                          <a:cs typeface="Times New Roman" panose="02020603050405020304" pitchFamily="18" charset="0"/>
                        </a:rPr>
                        <a:t>dealing</a:t>
                      </a:r>
                      <a:r>
                        <a:rPr lang="it-IT" sz="1600" b="1" i="1" dirty="0">
                          <a:solidFill>
                            <a:schemeClr val="tx1"/>
                          </a:solidFill>
                          <a:effectLst/>
                          <a:latin typeface="Times New Roman" panose="02020603050405020304" pitchFamily="18" charset="0"/>
                          <a:cs typeface="Times New Roman" panose="02020603050405020304" pitchFamily="18" charset="0"/>
                        </a:rPr>
                        <a:t>.</a:t>
                      </a:r>
                    </a:p>
                    <a:p>
                      <a:pPr algn="l"/>
                      <a:r>
                        <a:rPr lang="en-US" sz="1600" b="1" dirty="0">
                          <a:solidFill>
                            <a:schemeClr val="tx1"/>
                          </a:solidFill>
                          <a:effectLst/>
                          <a:latin typeface="Times New Roman" panose="02020603050405020304" pitchFamily="18" charset="0"/>
                          <a:cs typeface="Times New Roman" panose="02020603050405020304" pitchFamily="18" charset="0"/>
                        </a:rPr>
                        <a:t> </a:t>
                      </a:r>
                      <a:endParaRPr lang="it-IT" sz="1600" b="1" dirty="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p>
                      <a:pPr algn="l"/>
                      <a:endParaRPr lang="it-IT" sz="1600" b="0" dirty="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6829" marR="66829" marT="0" marB="0">
                    <a:lnL w="12700" cmpd="sng">
                      <a:noFill/>
                    </a:lnL>
                    <a:lnR w="12700" cmpd="sng">
                      <a:noFill/>
                    </a:lnR>
                    <a:lnT w="254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150003801"/>
                  </a:ext>
                </a:extLst>
              </a:tr>
            </a:tbl>
          </a:graphicData>
        </a:graphic>
      </p:graphicFrame>
      <p:sp>
        <p:nvSpPr>
          <p:cNvPr id="2" name="CasellaDiTesto 1">
            <a:extLst>
              <a:ext uri="{FF2B5EF4-FFF2-40B4-BE49-F238E27FC236}">
                <a16:creationId xmlns:a16="http://schemas.microsoft.com/office/drawing/2014/main" id="{00F88F4A-1E4B-5440-B336-39259CCBE650}"/>
              </a:ext>
            </a:extLst>
          </p:cNvPr>
          <p:cNvSpPr txBox="1"/>
          <p:nvPr/>
        </p:nvSpPr>
        <p:spPr>
          <a:xfrm>
            <a:off x="618312" y="529590"/>
            <a:ext cx="10955371" cy="984885"/>
          </a:xfrm>
          <a:prstGeom prst="rect">
            <a:avLst/>
          </a:prstGeom>
          <a:noFill/>
        </p:spPr>
        <p:txBody>
          <a:bodyPr wrap="none" rtlCol="0">
            <a:spAutoFit/>
          </a:bodyPr>
          <a:lstStyle/>
          <a:p>
            <a:r>
              <a:rPr lang="it-IT" sz="4000" b="1" dirty="0">
                <a:solidFill>
                  <a:srgbClr val="19436B"/>
                </a:solidFill>
                <a:latin typeface="Times New Roman" panose="02020603050405020304" pitchFamily="18" charset="0"/>
                <a:cs typeface="Times New Roman" panose="02020603050405020304" pitchFamily="18" charset="0"/>
              </a:rPr>
              <a:t>I principi come CRITERIO INTERPRETATIVO</a:t>
            </a:r>
          </a:p>
          <a:p>
            <a:endParaRPr lang="it-IT" dirty="0"/>
          </a:p>
        </p:txBody>
      </p:sp>
    </p:spTree>
    <p:extLst>
      <p:ext uri="{BB962C8B-B14F-4D97-AF65-F5344CB8AC3E}">
        <p14:creationId xmlns:p14="http://schemas.microsoft.com/office/powerpoint/2010/main" val="1343880830"/>
      </p:ext>
    </p:extLst>
  </p:cSld>
  <p:clrMapOvr>
    <a:masterClrMapping/>
  </p:clrMapOvr>
  <p:transition spd="slow">
    <p:wipe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396</TotalTime>
  <Words>2074</Words>
  <Application>Microsoft Macintosh PowerPoint</Application>
  <PresentationFormat>Widescreen</PresentationFormat>
  <Paragraphs>198</Paragraphs>
  <Slides>20</Slides>
  <Notes>1</Notes>
  <HiddenSlides>0</HiddenSlides>
  <MMClips>0</MMClips>
  <ScaleCrop>false</ScaleCrop>
  <HeadingPairs>
    <vt:vector size="6" baseType="variant">
      <vt:variant>
        <vt:lpstr>Caratteri utilizzati</vt:lpstr>
      </vt:variant>
      <vt:variant>
        <vt:i4>7</vt:i4>
      </vt:variant>
      <vt:variant>
        <vt:lpstr>Tema</vt:lpstr>
      </vt:variant>
      <vt:variant>
        <vt:i4>1</vt:i4>
      </vt:variant>
      <vt:variant>
        <vt:lpstr>Titoli diapositive</vt:lpstr>
      </vt:variant>
      <vt:variant>
        <vt:i4>20</vt:i4>
      </vt:variant>
    </vt:vector>
  </HeadingPairs>
  <TitlesOfParts>
    <vt:vector size="28" baseType="lpstr">
      <vt:lpstr>Arial</vt:lpstr>
      <vt:lpstr>Avenir Next LT Pro</vt:lpstr>
      <vt:lpstr>Calibri</vt:lpstr>
      <vt:lpstr>Calibri Light</vt:lpstr>
      <vt:lpstr>Times</vt:lpstr>
      <vt:lpstr>Times New Roman</vt:lpstr>
      <vt:lpstr>Wingdings</vt:lpstr>
      <vt:lpstr>Tema di Office</vt:lpstr>
      <vt:lpstr>PRINCIPLES OF EUROPEAN CONTRACT LAW</vt:lpstr>
      <vt:lpstr>Presentazione standard di PowerPoint</vt:lpstr>
      <vt:lpstr>Presentazione standard di PowerPoint</vt:lpstr>
      <vt:lpstr>OPERATIVITÀ</vt:lpstr>
      <vt:lpstr>Presentazione standard di PowerPoint</vt:lpstr>
      <vt:lpstr>Presentazione standard di PowerPoint</vt:lpstr>
      <vt:lpstr>TERMINOLOGIA e ALTRE REGOLE - Sezione 3</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INCIPLES OF EUROPEAN CONTRACT LAW</dc:title>
  <dc:creator>SOMMER VERONICA [GI0103267]</dc:creator>
  <cp:lastModifiedBy>SOMMER VERONICA [GI0103267]</cp:lastModifiedBy>
  <cp:revision>127</cp:revision>
  <dcterms:created xsi:type="dcterms:W3CDTF">2020-11-21T15:15:06Z</dcterms:created>
  <dcterms:modified xsi:type="dcterms:W3CDTF">2020-11-25T09:33:20Z</dcterms:modified>
</cp:coreProperties>
</file>